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52" r:id="rId2"/>
  </p:sldMasterIdLst>
  <p:notesMasterIdLst>
    <p:notesMasterId r:id="rId13"/>
  </p:notesMasterIdLst>
  <p:handoutMasterIdLst>
    <p:handoutMasterId r:id="rId14"/>
  </p:handoutMasterIdLst>
  <p:sldIdLst>
    <p:sldId id="580" r:id="rId3"/>
    <p:sldId id="548" r:id="rId4"/>
    <p:sldId id="549" r:id="rId5"/>
    <p:sldId id="585" r:id="rId6"/>
    <p:sldId id="587" r:id="rId7"/>
    <p:sldId id="588" r:id="rId8"/>
    <p:sldId id="589" r:id="rId9"/>
    <p:sldId id="590" r:id="rId10"/>
    <p:sldId id="591" r:id="rId11"/>
    <p:sldId id="406" r:id="rId12"/>
  </p:sldIdLst>
  <p:sldSz cx="9144000" cy="5715000" type="screen16x10"/>
  <p:notesSz cx="6797675" cy="9926638"/>
  <p:defaultTextStyle>
    <a:defPPr>
      <a:defRPr lang="de-DE"/>
    </a:defPPr>
    <a:lvl1pPr algn="ctr" rtl="0" fontAlgn="base">
      <a:lnSpc>
        <a:spcPct val="120000"/>
      </a:lnSpc>
      <a:spcBef>
        <a:spcPct val="20000"/>
      </a:spcBef>
      <a:spcAft>
        <a:spcPct val="20000"/>
      </a:spcAft>
      <a:defRPr sz="1484" kern="1200">
        <a:solidFill>
          <a:schemeClr val="tx1"/>
        </a:solidFill>
        <a:latin typeface="Arial" charset="0"/>
        <a:ea typeface="+mn-ea"/>
        <a:cs typeface="+mn-cs"/>
      </a:defRPr>
    </a:lvl1pPr>
    <a:lvl2pPr marL="424365" algn="ctr" rtl="0" fontAlgn="base">
      <a:lnSpc>
        <a:spcPct val="120000"/>
      </a:lnSpc>
      <a:spcBef>
        <a:spcPct val="20000"/>
      </a:spcBef>
      <a:spcAft>
        <a:spcPct val="20000"/>
      </a:spcAft>
      <a:defRPr sz="1484" kern="1200">
        <a:solidFill>
          <a:schemeClr val="tx1"/>
        </a:solidFill>
        <a:latin typeface="Arial" charset="0"/>
        <a:ea typeface="+mn-ea"/>
        <a:cs typeface="+mn-cs"/>
      </a:defRPr>
    </a:lvl2pPr>
    <a:lvl3pPr marL="848729" algn="ctr" rtl="0" fontAlgn="base">
      <a:lnSpc>
        <a:spcPct val="120000"/>
      </a:lnSpc>
      <a:spcBef>
        <a:spcPct val="20000"/>
      </a:spcBef>
      <a:spcAft>
        <a:spcPct val="20000"/>
      </a:spcAft>
      <a:defRPr sz="1484" kern="1200">
        <a:solidFill>
          <a:schemeClr val="tx1"/>
        </a:solidFill>
        <a:latin typeface="Arial" charset="0"/>
        <a:ea typeface="+mn-ea"/>
        <a:cs typeface="+mn-cs"/>
      </a:defRPr>
    </a:lvl3pPr>
    <a:lvl4pPr marL="1273093" algn="ctr" rtl="0" fontAlgn="base">
      <a:lnSpc>
        <a:spcPct val="120000"/>
      </a:lnSpc>
      <a:spcBef>
        <a:spcPct val="20000"/>
      </a:spcBef>
      <a:spcAft>
        <a:spcPct val="20000"/>
      </a:spcAft>
      <a:defRPr sz="1484" kern="1200">
        <a:solidFill>
          <a:schemeClr val="tx1"/>
        </a:solidFill>
        <a:latin typeface="Arial" charset="0"/>
        <a:ea typeface="+mn-ea"/>
        <a:cs typeface="+mn-cs"/>
      </a:defRPr>
    </a:lvl4pPr>
    <a:lvl5pPr marL="1697458" algn="ctr" rtl="0" fontAlgn="base">
      <a:lnSpc>
        <a:spcPct val="120000"/>
      </a:lnSpc>
      <a:spcBef>
        <a:spcPct val="20000"/>
      </a:spcBef>
      <a:spcAft>
        <a:spcPct val="20000"/>
      </a:spcAft>
      <a:defRPr sz="1484" kern="1200">
        <a:solidFill>
          <a:schemeClr val="tx1"/>
        </a:solidFill>
        <a:latin typeface="Arial" charset="0"/>
        <a:ea typeface="+mn-ea"/>
        <a:cs typeface="+mn-cs"/>
      </a:defRPr>
    </a:lvl5pPr>
    <a:lvl6pPr marL="2121822" algn="l" defTabSz="848729" rtl="0" eaLnBrk="1" latinLnBrk="0" hangingPunct="1">
      <a:defRPr sz="1484" kern="1200">
        <a:solidFill>
          <a:schemeClr val="tx1"/>
        </a:solidFill>
        <a:latin typeface="Arial" charset="0"/>
        <a:ea typeface="+mn-ea"/>
        <a:cs typeface="+mn-cs"/>
      </a:defRPr>
    </a:lvl6pPr>
    <a:lvl7pPr marL="2546187" algn="l" defTabSz="848729" rtl="0" eaLnBrk="1" latinLnBrk="0" hangingPunct="1">
      <a:defRPr sz="1484" kern="1200">
        <a:solidFill>
          <a:schemeClr val="tx1"/>
        </a:solidFill>
        <a:latin typeface="Arial" charset="0"/>
        <a:ea typeface="+mn-ea"/>
        <a:cs typeface="+mn-cs"/>
      </a:defRPr>
    </a:lvl7pPr>
    <a:lvl8pPr marL="2970551" algn="l" defTabSz="848729" rtl="0" eaLnBrk="1" latinLnBrk="0" hangingPunct="1">
      <a:defRPr sz="1484" kern="1200">
        <a:solidFill>
          <a:schemeClr val="tx1"/>
        </a:solidFill>
        <a:latin typeface="Arial" charset="0"/>
        <a:ea typeface="+mn-ea"/>
        <a:cs typeface="+mn-cs"/>
      </a:defRPr>
    </a:lvl8pPr>
    <a:lvl9pPr marL="3394915" algn="l" defTabSz="848729" rtl="0" eaLnBrk="1" latinLnBrk="0" hangingPunct="1">
      <a:defRPr sz="1484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1573" userDrawn="1">
          <p15:clr>
            <a:srgbClr val="A4A3A4"/>
          </p15:clr>
        </p15:guide>
        <p15:guide id="5" orient="horz" pos="2594" userDrawn="1">
          <p15:clr>
            <a:srgbClr val="A4A3A4"/>
          </p15:clr>
        </p15:guide>
        <p15:guide id="6" pos="3424" userDrawn="1">
          <p15:clr>
            <a:srgbClr val="A4A3A4"/>
          </p15:clr>
        </p15:guide>
        <p15:guide id="7" userDrawn="1">
          <p15:clr>
            <a:srgbClr val="A4A3A4"/>
          </p15:clr>
        </p15:guide>
        <p15:guide id="8" orient="horz" pos="2895" userDrawn="1">
          <p15:clr>
            <a:srgbClr val="A4A3A4"/>
          </p15:clr>
        </p15:guide>
        <p15:guide id="9" pos="22" userDrawn="1">
          <p15:clr>
            <a:srgbClr val="A4A3A4"/>
          </p15:clr>
        </p15:guide>
        <p15:guide id="10" pos="3696" userDrawn="1">
          <p15:clr>
            <a:srgbClr val="A4A3A4"/>
          </p15:clr>
        </p15:guide>
        <p15:guide id="11" pos="5491" userDrawn="1">
          <p15:clr>
            <a:srgbClr val="A4A3A4"/>
          </p15:clr>
        </p15:guide>
        <p15:guide id="12" pos="57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reesen, Anne" initials="DA" lastIdx="1" clrIdx="0">
    <p:extLst/>
  </p:cmAuthor>
  <p:cmAuthor id="2" name="Nina Friedmann" initials="NF" lastIdx="25" clrIdx="1"/>
  <p:cmAuthor id="3" name="Robert Steiman" initials="RS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CC"/>
    <a:srgbClr val="3A3A3A"/>
    <a:srgbClr val="E7344E"/>
    <a:srgbClr val="FFFFFF"/>
    <a:srgbClr val="F7A724"/>
    <a:srgbClr val="FF962D"/>
    <a:srgbClr val="FF7F00"/>
    <a:srgbClr val="FF9933"/>
    <a:srgbClr val="FF0000"/>
    <a:srgbClr val="00A3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180" autoAdjust="0"/>
    <p:restoredTop sz="95402" autoAdjust="0"/>
  </p:normalViewPr>
  <p:slideViewPr>
    <p:cSldViewPr snapToObjects="1">
      <p:cViewPr varScale="1">
        <p:scale>
          <a:sx n="101" d="100"/>
          <a:sy n="101" d="100"/>
        </p:scale>
        <p:origin x="547" y="72"/>
      </p:cViewPr>
      <p:guideLst>
        <p:guide orient="horz" pos="1573"/>
        <p:guide orient="horz" pos="2594"/>
        <p:guide pos="3424"/>
        <p:guide/>
        <p:guide orient="horz" pos="2895"/>
        <p:guide pos="22"/>
        <p:guide pos="3696"/>
        <p:guide pos="5491"/>
        <p:guide pos="57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125" d="100"/>
          <a:sy n="125" d="100"/>
        </p:scale>
        <p:origin x="-2952" y="-72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8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2"/>
            <a:ext cx="2946065" cy="49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1" tIns="45365" rIns="90731" bIns="45365" numCol="1" anchor="t" anchorCtr="0" compatLnSpc="1">
            <a:prstTxWarp prst="textNoShape">
              <a:avLst/>
            </a:prstTxWarp>
          </a:bodyPr>
          <a:lstStyle>
            <a:lvl1pPr algn="l" defTabSz="90727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100"/>
            </a:lvl1pPr>
          </a:lstStyle>
          <a:p>
            <a:endParaRPr lang="de-DE"/>
          </a:p>
        </p:txBody>
      </p:sp>
      <p:sp>
        <p:nvSpPr>
          <p:cNvPr id="2068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092" y="2"/>
            <a:ext cx="2946065" cy="49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1" tIns="45365" rIns="90731" bIns="45365" numCol="1" anchor="t" anchorCtr="0" compatLnSpc="1">
            <a:prstTxWarp prst="textNoShape">
              <a:avLst/>
            </a:prstTxWarp>
          </a:bodyPr>
          <a:lstStyle>
            <a:lvl1pPr algn="r" defTabSz="90727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100"/>
            </a:lvl1pPr>
          </a:lstStyle>
          <a:p>
            <a:endParaRPr lang="de-DE"/>
          </a:p>
        </p:txBody>
      </p:sp>
      <p:sp>
        <p:nvSpPr>
          <p:cNvPr id="20685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427766"/>
            <a:ext cx="2946065" cy="497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1" tIns="45365" rIns="90731" bIns="45365" numCol="1" anchor="b" anchorCtr="0" compatLnSpc="1">
            <a:prstTxWarp prst="textNoShape">
              <a:avLst/>
            </a:prstTxWarp>
          </a:bodyPr>
          <a:lstStyle>
            <a:lvl1pPr algn="l" defTabSz="90727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100"/>
            </a:lvl1pPr>
          </a:lstStyle>
          <a:p>
            <a:endParaRPr lang="de-DE"/>
          </a:p>
        </p:txBody>
      </p:sp>
      <p:sp>
        <p:nvSpPr>
          <p:cNvPr id="2068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092" y="9427766"/>
            <a:ext cx="2946065" cy="497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1" tIns="45365" rIns="90731" bIns="45365" numCol="1" anchor="b" anchorCtr="0" compatLnSpc="1">
            <a:prstTxWarp prst="textNoShape">
              <a:avLst/>
            </a:prstTxWarp>
          </a:bodyPr>
          <a:lstStyle>
            <a:lvl1pPr algn="r" defTabSz="90727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100"/>
            </a:lvl1pPr>
          </a:lstStyle>
          <a:p>
            <a:fld id="{2226C7BE-F821-41BF-B457-2CA846BAA8C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95163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2"/>
            <a:ext cx="2946065" cy="495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693" tIns="47846" rIns="95693" bIns="47846" numCol="1" anchor="t" anchorCtr="0" compatLnSpc="1">
            <a:prstTxWarp prst="textNoShape">
              <a:avLst/>
            </a:prstTxWarp>
          </a:bodyPr>
          <a:lstStyle>
            <a:lvl1pPr algn="l" defTabSz="95590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/>
            </a:lvl1pPr>
          </a:lstStyle>
          <a:p>
            <a:endParaRPr 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612" y="2"/>
            <a:ext cx="2946064" cy="495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693" tIns="47846" rIns="95693" bIns="47846" numCol="1" anchor="t" anchorCtr="0" compatLnSpc="1">
            <a:prstTxWarp prst="textNoShape">
              <a:avLst/>
            </a:prstTxWarp>
          </a:bodyPr>
          <a:lstStyle>
            <a:lvl1pPr algn="r" defTabSz="95590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/>
            </a:lvl1pPr>
          </a:lstStyle>
          <a:p>
            <a:endParaRPr lang="de-DE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2275" y="746125"/>
            <a:ext cx="5953125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8586" y="4714652"/>
            <a:ext cx="4980505" cy="4465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693" tIns="47846" rIns="95693" bIns="478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30846"/>
            <a:ext cx="2946065" cy="495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693" tIns="47846" rIns="95693" bIns="47846" numCol="1" anchor="b" anchorCtr="0" compatLnSpc="1">
            <a:prstTxWarp prst="textNoShape">
              <a:avLst/>
            </a:prstTxWarp>
          </a:bodyPr>
          <a:lstStyle>
            <a:lvl1pPr algn="l" defTabSz="95590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/>
            </a:lvl1pPr>
          </a:lstStyle>
          <a:p>
            <a:endParaRPr lang="de-DE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612" y="9430846"/>
            <a:ext cx="2946064" cy="495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693" tIns="47846" rIns="95693" bIns="47846" numCol="1" anchor="b" anchorCtr="0" compatLnSpc="1">
            <a:prstTxWarp prst="textNoShape">
              <a:avLst/>
            </a:prstTxWarp>
          </a:bodyPr>
          <a:lstStyle>
            <a:lvl1pPr algn="r" defTabSz="95590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/>
            </a:lvl1pPr>
          </a:lstStyle>
          <a:p>
            <a:fld id="{04584ECB-0ADA-4CF5-806F-996E847E4E19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47242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59137" indent="-159137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114" kern="1200">
        <a:solidFill>
          <a:schemeClr val="tx1"/>
        </a:solidFill>
        <a:latin typeface="Arial" charset="0"/>
        <a:ea typeface="+mn-ea"/>
        <a:cs typeface="+mn-cs"/>
      </a:defRPr>
    </a:lvl1pPr>
    <a:lvl2pPr marL="333008" indent="-159137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tabLst/>
      <a:defRPr sz="1114" kern="1200">
        <a:solidFill>
          <a:schemeClr val="tx1"/>
        </a:solidFill>
        <a:latin typeface="Arial" charset="0"/>
        <a:ea typeface="+mn-ea"/>
        <a:cs typeface="+mn-cs"/>
      </a:defRPr>
    </a:lvl2pPr>
    <a:lvl3pPr marL="502460" indent="-159137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114" kern="1200">
        <a:solidFill>
          <a:schemeClr val="tx1"/>
        </a:solidFill>
        <a:latin typeface="Arial" charset="0"/>
        <a:ea typeface="+mn-ea"/>
        <a:cs typeface="+mn-cs"/>
      </a:defRPr>
    </a:lvl3pPr>
    <a:lvl4pPr marL="664543" indent="-159137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114" kern="1200">
        <a:solidFill>
          <a:schemeClr val="tx1"/>
        </a:solidFill>
        <a:latin typeface="Arial" charset="0"/>
        <a:ea typeface="+mn-ea"/>
        <a:cs typeface="+mn-cs"/>
      </a:defRPr>
    </a:lvl4pPr>
    <a:lvl5pPr marL="833994" indent="-159137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114" kern="1200">
        <a:solidFill>
          <a:schemeClr val="tx1"/>
        </a:solidFill>
        <a:latin typeface="Arial" charset="0"/>
        <a:ea typeface="+mn-ea"/>
        <a:cs typeface="+mn-cs"/>
      </a:defRPr>
    </a:lvl5pPr>
    <a:lvl6pPr marL="2121822" algn="l" defTabSz="848729" rtl="0" eaLnBrk="1" latinLnBrk="0" hangingPunct="1">
      <a:defRPr sz="1114" kern="1200">
        <a:solidFill>
          <a:schemeClr val="tx1"/>
        </a:solidFill>
        <a:latin typeface="+mn-lt"/>
        <a:ea typeface="+mn-ea"/>
        <a:cs typeface="+mn-cs"/>
      </a:defRPr>
    </a:lvl6pPr>
    <a:lvl7pPr marL="2546187" algn="l" defTabSz="848729" rtl="0" eaLnBrk="1" latinLnBrk="0" hangingPunct="1">
      <a:defRPr sz="1114" kern="1200">
        <a:solidFill>
          <a:schemeClr val="tx1"/>
        </a:solidFill>
        <a:latin typeface="+mn-lt"/>
        <a:ea typeface="+mn-ea"/>
        <a:cs typeface="+mn-cs"/>
      </a:defRPr>
    </a:lvl7pPr>
    <a:lvl8pPr marL="2970551" algn="l" defTabSz="848729" rtl="0" eaLnBrk="1" latinLnBrk="0" hangingPunct="1">
      <a:defRPr sz="1114" kern="1200">
        <a:solidFill>
          <a:schemeClr val="tx1"/>
        </a:solidFill>
        <a:latin typeface="+mn-lt"/>
        <a:ea typeface="+mn-ea"/>
        <a:cs typeface="+mn-cs"/>
      </a:defRPr>
    </a:lvl8pPr>
    <a:lvl9pPr marL="3394915" algn="l" defTabSz="848729" rtl="0" eaLnBrk="1" latinLnBrk="0" hangingPunct="1">
      <a:defRPr sz="111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84ECB-0ADA-4CF5-806F-996E847E4E19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7974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746125"/>
            <a:ext cx="59531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84ECB-0ADA-4CF5-806F-996E847E4E19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09697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58775" y="746125"/>
            <a:ext cx="5951538" cy="3721100"/>
          </a:xfrm>
          <a:ln/>
        </p:spPr>
      </p:sp>
      <p:sp>
        <p:nvSpPr>
          <p:cNvPr id="54275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  <p:sp>
        <p:nvSpPr>
          <p:cNvPr id="54276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61912"/>
            <a:fld id="{172F5026-057E-4F52-8A5E-734B3C1CD44B}" type="slidenum">
              <a:rPr lang="de-DE" smtClean="0"/>
              <a:pPr defTabSz="961912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17434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584ECB-0ADA-4CF5-806F-996E847E4E19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13569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746125"/>
            <a:ext cx="5953125" cy="3721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62CCA8-8A8D-4780-AA8E-25D5A89177FE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6992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ternal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8"/>
          <p:cNvSpPr>
            <a:spLocks noGrp="1"/>
          </p:cNvSpPr>
          <p:nvPr>
            <p:ph type="pic" sz="quarter" idx="13"/>
          </p:nvPr>
        </p:nvSpPr>
        <p:spPr>
          <a:xfrm>
            <a:off x="2" y="1"/>
            <a:ext cx="9142411" cy="5713677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381650"/>
            <a:ext cx="9142412" cy="2153501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33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304406" y="0"/>
            <a:ext cx="1475744" cy="707836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33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65580" name="Rectangle 1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4320" y="3443203"/>
            <a:ext cx="5582630" cy="1070752"/>
          </a:xfrm>
          <a:ln/>
        </p:spPr>
        <p:txBody>
          <a:bodyPr/>
          <a:lstStyle>
            <a:lvl1pPr>
              <a:spcBef>
                <a:spcPct val="50000"/>
              </a:spcBef>
              <a:spcAft>
                <a:spcPct val="50000"/>
              </a:spcAft>
              <a:defRPr sz="2666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 / Title</a:t>
            </a:r>
          </a:p>
        </p:txBody>
      </p:sp>
      <p:sp>
        <p:nvSpPr>
          <p:cNvPr id="365581" name="Rectangle 1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464320" y="4816123"/>
            <a:ext cx="5582630" cy="209951"/>
          </a:xfrm>
        </p:spPr>
        <p:txBody>
          <a:bodyPr rIns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333"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Ort, Datum / Place, Dat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64320" y="4597936"/>
            <a:ext cx="5582630" cy="2099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lang="de-DE" sz="1333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50000"/>
              </a:spcAft>
              <a:tabLst>
                <a:tab pos="6471024" algn="r"/>
              </a:tabLst>
            </a:pPr>
            <a:r>
              <a:rPr lang="de-DE" dirty="0"/>
              <a:t>Autor / Abteilung / </a:t>
            </a:r>
            <a:r>
              <a:rPr lang="de-DE" dirty="0" err="1"/>
              <a:t>Author’s</a:t>
            </a:r>
            <a:r>
              <a:rPr lang="de-DE" dirty="0"/>
              <a:t> name / Department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slide with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P. </a:t>
            </a:r>
            <a:fld id="{9A91CF33-22B2-4FA6-9824-0C88EAAACB53}" type="slidenum">
              <a:rPr lang="de-DE" smtClean="0"/>
              <a:pPr/>
              <a:t>‹Nr.›</a:t>
            </a:fld>
            <a:r>
              <a:rPr lang="de-DE" dirty="0"/>
              <a:t>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12668" y="1597713"/>
            <a:ext cx="8315470" cy="539875"/>
          </a:xfr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de-DE" dirty="0"/>
              <a:t>Titel/Title</a:t>
            </a:r>
          </a:p>
        </p:txBody>
      </p:sp>
      <p:cxnSp>
        <p:nvCxnSpPr>
          <p:cNvPr id="17" name="Gerade Verbindung 16"/>
          <p:cNvCxnSpPr/>
          <p:nvPr userDrawn="1"/>
        </p:nvCxnSpPr>
        <p:spPr bwMode="auto">
          <a:xfrm rot="10800000" flipH="1" flipV="1">
            <a:off x="519762" y="2794522"/>
            <a:ext cx="1603945" cy="62978"/>
          </a:xfrm>
          <a:prstGeom prst="line">
            <a:avLst/>
          </a:prstGeom>
          <a:solidFill>
            <a:srgbClr val="E3E4E4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18"/>
          <p:cNvCxnSpPr/>
          <p:nvPr userDrawn="1"/>
        </p:nvCxnSpPr>
        <p:spPr bwMode="auto">
          <a:xfrm>
            <a:off x="702296" y="2857501"/>
            <a:ext cx="1421412" cy="1323"/>
          </a:xfrm>
          <a:prstGeom prst="line">
            <a:avLst/>
          </a:prstGeom>
          <a:solidFill>
            <a:srgbClr val="E3E4E4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extplatzhalt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612489" y="5197218"/>
            <a:ext cx="2159625" cy="107975"/>
          </a:xfrm>
        </p:spPr>
        <p:txBody>
          <a:bodyPr/>
          <a:lstStyle>
            <a:lvl1pPr>
              <a:defRPr sz="666" b="0"/>
            </a:lvl1pPr>
          </a:lstStyle>
          <a:p>
            <a:pPr lvl="0"/>
            <a:r>
              <a:rPr lang="de-DE" dirty="0"/>
              <a:t>Source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footnote</a:t>
            </a:r>
            <a:endParaRPr lang="de-DE" dirty="0"/>
          </a:p>
        </p:txBody>
      </p:sp>
      <p:sp>
        <p:nvSpPr>
          <p:cNvPr id="15" name="Tabellenplatzhalter 14"/>
          <p:cNvSpPr>
            <a:spLocks noGrp="1"/>
          </p:cNvSpPr>
          <p:nvPr>
            <p:ph type="tbl" sz="quarter" idx="18" hasCustomPrompt="1"/>
          </p:nvPr>
        </p:nvSpPr>
        <p:spPr>
          <a:xfrm>
            <a:off x="612488" y="2138505"/>
            <a:ext cx="7921630" cy="314929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abelle durch Klicken auf das Symbol hinzufüg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/ Title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983091-0DB6-4B6F-9201-B8A539B6DA75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6"/>
          </p:nvPr>
        </p:nvSpPr>
        <p:spPr>
          <a:xfrm>
            <a:off x="2" y="1"/>
            <a:ext cx="9142411" cy="5713677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295030" y="396103"/>
            <a:ext cx="5392197" cy="3959183"/>
          </a:xfrm>
          <a:custGeom>
            <a:avLst/>
            <a:gdLst>
              <a:gd name="connsiteX0" fmla="*/ 508752 w 5393133"/>
              <a:gd name="connsiteY0" fmla="*/ 5 h 4752120"/>
              <a:gd name="connsiteX1" fmla="*/ 634442 w 5393133"/>
              <a:gd name="connsiteY1" fmla="*/ 9301 h 4752120"/>
              <a:gd name="connsiteX2" fmla="*/ 3129236 w 5393133"/>
              <a:gd name="connsiteY2" fmla="*/ 468816 h 4752120"/>
              <a:gd name="connsiteX3" fmla="*/ 4940452 w 5393133"/>
              <a:gd name="connsiteY3" fmla="*/ 804635 h 4752120"/>
              <a:gd name="connsiteX4" fmla="*/ 5369187 w 5393133"/>
              <a:gd name="connsiteY4" fmla="*/ 1206871 h 4752120"/>
              <a:gd name="connsiteX5" fmla="*/ 5198299 w 5393133"/>
              <a:gd name="connsiteY5" fmla="*/ 1766934 h 4752120"/>
              <a:gd name="connsiteX6" fmla="*/ 3797650 w 5393133"/>
              <a:gd name="connsiteY6" fmla="*/ 2963370 h 4752120"/>
              <a:gd name="connsiteX7" fmla="*/ 1866852 w 5393133"/>
              <a:gd name="connsiteY7" fmla="*/ 4608718 h 4752120"/>
              <a:gd name="connsiteX8" fmla="*/ 1647334 w 5393133"/>
              <a:gd name="connsiteY8" fmla="*/ 4732888 h 4752120"/>
              <a:gd name="connsiteX9" fmla="*/ 1126312 w 5393133"/>
              <a:gd name="connsiteY9" fmla="*/ 4579842 h 4752120"/>
              <a:gd name="connsiteX10" fmla="*/ 998071 w 5393133"/>
              <a:gd name="connsiteY10" fmla="*/ 4355647 h 4752120"/>
              <a:gd name="connsiteX11" fmla="*/ 991678 w 5393133"/>
              <a:gd name="connsiteY11" fmla="*/ 4331788 h 4752120"/>
              <a:gd name="connsiteX12" fmla="*/ 17115 w 5393133"/>
              <a:gd name="connsiteY12" fmla="*/ 694669 h 4752120"/>
              <a:gd name="connsiteX13" fmla="*/ 14984 w 5393133"/>
              <a:gd name="connsiteY13" fmla="*/ 686717 h 4752120"/>
              <a:gd name="connsiteX14" fmla="*/ 0 w 5393133"/>
              <a:gd name="connsiteY14" fmla="*/ 615137 h 4752120"/>
              <a:gd name="connsiteX15" fmla="*/ 0 w 5393133"/>
              <a:gd name="connsiteY15" fmla="*/ 478966 h 4752120"/>
              <a:gd name="connsiteX16" fmla="*/ 7553 w 5393133"/>
              <a:gd name="connsiteY16" fmla="*/ 404578 h 4752120"/>
              <a:gd name="connsiteX17" fmla="*/ 382960 w 5393133"/>
              <a:gd name="connsiteY17" fmla="*/ 14177 h 4752120"/>
              <a:gd name="connsiteX18" fmla="*/ 508752 w 5393133"/>
              <a:gd name="connsiteY18" fmla="*/ 5 h 4752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393133" h="4752120">
                <a:moveTo>
                  <a:pt x="508752" y="5"/>
                </a:moveTo>
                <a:cubicBezTo>
                  <a:pt x="553089" y="-155"/>
                  <a:pt x="597409" y="3597"/>
                  <a:pt x="634442" y="9301"/>
                </a:cubicBezTo>
                <a:cubicBezTo>
                  <a:pt x="634442" y="9301"/>
                  <a:pt x="685175" y="18437"/>
                  <a:pt x="3129236" y="468816"/>
                </a:cubicBezTo>
                <a:cubicBezTo>
                  <a:pt x="4886358" y="793558"/>
                  <a:pt x="4940452" y="804635"/>
                  <a:pt x="4940452" y="804635"/>
                </a:cubicBezTo>
                <a:cubicBezTo>
                  <a:pt x="5157019" y="860258"/>
                  <a:pt x="5301706" y="955029"/>
                  <a:pt x="5369187" y="1206871"/>
                </a:cubicBezTo>
                <a:cubicBezTo>
                  <a:pt x="5435957" y="1456061"/>
                  <a:pt x="5358040" y="1610480"/>
                  <a:pt x="5198299" y="1766934"/>
                </a:cubicBezTo>
                <a:cubicBezTo>
                  <a:pt x="5198299" y="1766934"/>
                  <a:pt x="5156991" y="1803574"/>
                  <a:pt x="3797650" y="2963370"/>
                </a:cubicBezTo>
                <a:cubicBezTo>
                  <a:pt x="1906931" y="4578090"/>
                  <a:pt x="1866852" y="4608718"/>
                  <a:pt x="1866852" y="4608718"/>
                </a:cubicBezTo>
                <a:cubicBezTo>
                  <a:pt x="1808414" y="4655631"/>
                  <a:pt x="1720826" y="4710354"/>
                  <a:pt x="1647334" y="4732888"/>
                </a:cubicBezTo>
                <a:cubicBezTo>
                  <a:pt x="1448580" y="4786143"/>
                  <a:pt x="1256574" y="4726781"/>
                  <a:pt x="1126312" y="4579842"/>
                </a:cubicBezTo>
                <a:cubicBezTo>
                  <a:pt x="1070032" y="4518207"/>
                  <a:pt x="1026812" y="4441708"/>
                  <a:pt x="998071" y="4355647"/>
                </a:cubicBezTo>
                <a:cubicBezTo>
                  <a:pt x="998071" y="4355647"/>
                  <a:pt x="998071" y="4355647"/>
                  <a:pt x="991678" y="4331788"/>
                </a:cubicBezTo>
                <a:cubicBezTo>
                  <a:pt x="991678" y="4331788"/>
                  <a:pt x="991678" y="4331788"/>
                  <a:pt x="17115" y="694669"/>
                </a:cubicBezTo>
                <a:cubicBezTo>
                  <a:pt x="16405" y="692018"/>
                  <a:pt x="15695" y="689368"/>
                  <a:pt x="14984" y="686717"/>
                </a:cubicBezTo>
                <a:lnTo>
                  <a:pt x="0" y="615137"/>
                </a:lnTo>
                <a:lnTo>
                  <a:pt x="0" y="478966"/>
                </a:lnTo>
                <a:lnTo>
                  <a:pt x="7553" y="404578"/>
                </a:lnTo>
                <a:cubicBezTo>
                  <a:pt x="46895" y="212195"/>
                  <a:pt x="183495" y="64782"/>
                  <a:pt x="382960" y="14177"/>
                </a:cubicBezTo>
                <a:cubicBezTo>
                  <a:pt x="420061" y="4236"/>
                  <a:pt x="464415" y="165"/>
                  <a:pt x="508752" y="5"/>
                </a:cubicBezTo>
                <a:close/>
              </a:path>
            </a:pathLst>
          </a:custGeom>
          <a:solidFill>
            <a:schemeClr val="accent5">
              <a:lumMod val="75000"/>
              <a:alpha val="75000"/>
            </a:schemeClr>
          </a:solidFill>
        </p:spPr>
        <p:txBody>
          <a:bodyPr wrap="square" lIns="972000" rIns="720000" anchor="ctr">
            <a:noAutofit/>
          </a:bodyPr>
          <a:lstStyle>
            <a:lvl1pPr marL="0" indent="0">
              <a:spcAft>
                <a:spcPts val="0"/>
              </a:spcAft>
              <a:buNone/>
              <a:defRPr sz="2749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apitel / Chapter</a:t>
            </a:r>
          </a:p>
        </p:txBody>
      </p:sp>
    </p:spTree>
    <p:extLst>
      <p:ext uri="{BB962C8B-B14F-4D97-AF65-F5344CB8AC3E}">
        <p14:creationId xmlns:p14="http://schemas.microsoft.com/office/powerpoint/2010/main" val="162630828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983091-0DB6-4B6F-9201-B8A539B6DA75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6"/>
          </p:nvPr>
        </p:nvSpPr>
        <p:spPr>
          <a:xfrm>
            <a:off x="2" y="1"/>
            <a:ext cx="9142411" cy="5713677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295030" y="396103"/>
            <a:ext cx="5392197" cy="3959183"/>
          </a:xfrm>
          <a:custGeom>
            <a:avLst/>
            <a:gdLst>
              <a:gd name="connsiteX0" fmla="*/ 508752 w 5393133"/>
              <a:gd name="connsiteY0" fmla="*/ 5 h 4752120"/>
              <a:gd name="connsiteX1" fmla="*/ 634442 w 5393133"/>
              <a:gd name="connsiteY1" fmla="*/ 9301 h 4752120"/>
              <a:gd name="connsiteX2" fmla="*/ 3129236 w 5393133"/>
              <a:gd name="connsiteY2" fmla="*/ 468816 h 4752120"/>
              <a:gd name="connsiteX3" fmla="*/ 4940452 w 5393133"/>
              <a:gd name="connsiteY3" fmla="*/ 804635 h 4752120"/>
              <a:gd name="connsiteX4" fmla="*/ 5369187 w 5393133"/>
              <a:gd name="connsiteY4" fmla="*/ 1206871 h 4752120"/>
              <a:gd name="connsiteX5" fmla="*/ 5198299 w 5393133"/>
              <a:gd name="connsiteY5" fmla="*/ 1766934 h 4752120"/>
              <a:gd name="connsiteX6" fmla="*/ 3797650 w 5393133"/>
              <a:gd name="connsiteY6" fmla="*/ 2963370 h 4752120"/>
              <a:gd name="connsiteX7" fmla="*/ 1866852 w 5393133"/>
              <a:gd name="connsiteY7" fmla="*/ 4608718 h 4752120"/>
              <a:gd name="connsiteX8" fmla="*/ 1647334 w 5393133"/>
              <a:gd name="connsiteY8" fmla="*/ 4732888 h 4752120"/>
              <a:gd name="connsiteX9" fmla="*/ 1126312 w 5393133"/>
              <a:gd name="connsiteY9" fmla="*/ 4579842 h 4752120"/>
              <a:gd name="connsiteX10" fmla="*/ 998071 w 5393133"/>
              <a:gd name="connsiteY10" fmla="*/ 4355647 h 4752120"/>
              <a:gd name="connsiteX11" fmla="*/ 991678 w 5393133"/>
              <a:gd name="connsiteY11" fmla="*/ 4331788 h 4752120"/>
              <a:gd name="connsiteX12" fmla="*/ 17115 w 5393133"/>
              <a:gd name="connsiteY12" fmla="*/ 694669 h 4752120"/>
              <a:gd name="connsiteX13" fmla="*/ 14984 w 5393133"/>
              <a:gd name="connsiteY13" fmla="*/ 686717 h 4752120"/>
              <a:gd name="connsiteX14" fmla="*/ 0 w 5393133"/>
              <a:gd name="connsiteY14" fmla="*/ 615137 h 4752120"/>
              <a:gd name="connsiteX15" fmla="*/ 0 w 5393133"/>
              <a:gd name="connsiteY15" fmla="*/ 478966 h 4752120"/>
              <a:gd name="connsiteX16" fmla="*/ 7553 w 5393133"/>
              <a:gd name="connsiteY16" fmla="*/ 404578 h 4752120"/>
              <a:gd name="connsiteX17" fmla="*/ 382960 w 5393133"/>
              <a:gd name="connsiteY17" fmla="*/ 14177 h 4752120"/>
              <a:gd name="connsiteX18" fmla="*/ 508752 w 5393133"/>
              <a:gd name="connsiteY18" fmla="*/ 5 h 4752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393133" h="4752120">
                <a:moveTo>
                  <a:pt x="508752" y="5"/>
                </a:moveTo>
                <a:cubicBezTo>
                  <a:pt x="553089" y="-155"/>
                  <a:pt x="597409" y="3597"/>
                  <a:pt x="634442" y="9301"/>
                </a:cubicBezTo>
                <a:cubicBezTo>
                  <a:pt x="634442" y="9301"/>
                  <a:pt x="685175" y="18437"/>
                  <a:pt x="3129236" y="468816"/>
                </a:cubicBezTo>
                <a:cubicBezTo>
                  <a:pt x="4886358" y="793558"/>
                  <a:pt x="4940452" y="804635"/>
                  <a:pt x="4940452" y="804635"/>
                </a:cubicBezTo>
                <a:cubicBezTo>
                  <a:pt x="5157019" y="860258"/>
                  <a:pt x="5301706" y="955029"/>
                  <a:pt x="5369187" y="1206871"/>
                </a:cubicBezTo>
                <a:cubicBezTo>
                  <a:pt x="5435957" y="1456061"/>
                  <a:pt x="5358040" y="1610480"/>
                  <a:pt x="5198299" y="1766934"/>
                </a:cubicBezTo>
                <a:cubicBezTo>
                  <a:pt x="5198299" y="1766934"/>
                  <a:pt x="5156991" y="1803574"/>
                  <a:pt x="3797650" y="2963370"/>
                </a:cubicBezTo>
                <a:cubicBezTo>
                  <a:pt x="1906931" y="4578090"/>
                  <a:pt x="1866852" y="4608718"/>
                  <a:pt x="1866852" y="4608718"/>
                </a:cubicBezTo>
                <a:cubicBezTo>
                  <a:pt x="1808414" y="4655631"/>
                  <a:pt x="1720826" y="4710354"/>
                  <a:pt x="1647334" y="4732888"/>
                </a:cubicBezTo>
                <a:cubicBezTo>
                  <a:pt x="1448580" y="4786143"/>
                  <a:pt x="1256574" y="4726781"/>
                  <a:pt x="1126312" y="4579842"/>
                </a:cubicBezTo>
                <a:cubicBezTo>
                  <a:pt x="1070032" y="4518207"/>
                  <a:pt x="1026812" y="4441708"/>
                  <a:pt x="998071" y="4355647"/>
                </a:cubicBezTo>
                <a:cubicBezTo>
                  <a:pt x="998071" y="4355647"/>
                  <a:pt x="998071" y="4355647"/>
                  <a:pt x="991678" y="4331788"/>
                </a:cubicBezTo>
                <a:cubicBezTo>
                  <a:pt x="991678" y="4331788"/>
                  <a:pt x="991678" y="4331788"/>
                  <a:pt x="17115" y="694669"/>
                </a:cubicBezTo>
                <a:cubicBezTo>
                  <a:pt x="16405" y="692018"/>
                  <a:pt x="15695" y="689368"/>
                  <a:pt x="14984" y="686717"/>
                </a:cubicBezTo>
                <a:lnTo>
                  <a:pt x="0" y="615137"/>
                </a:lnTo>
                <a:lnTo>
                  <a:pt x="0" y="478966"/>
                </a:lnTo>
                <a:lnTo>
                  <a:pt x="7553" y="404578"/>
                </a:lnTo>
                <a:cubicBezTo>
                  <a:pt x="46895" y="212195"/>
                  <a:pt x="183495" y="64782"/>
                  <a:pt x="382960" y="14177"/>
                </a:cubicBezTo>
                <a:cubicBezTo>
                  <a:pt x="420061" y="4236"/>
                  <a:pt x="464415" y="165"/>
                  <a:pt x="508752" y="5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</p:spPr>
        <p:txBody>
          <a:bodyPr wrap="square" lIns="972000" rIns="720000" anchor="ctr">
            <a:noAutofit/>
          </a:bodyPr>
          <a:lstStyle>
            <a:lvl1pPr marL="0" indent="0">
              <a:spcAft>
                <a:spcPts val="0"/>
              </a:spcAft>
              <a:buNone/>
              <a:defRPr sz="2749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Kapitel / Chapter</a:t>
            </a:r>
          </a:p>
        </p:txBody>
      </p:sp>
    </p:spTree>
    <p:extLst>
      <p:ext uri="{BB962C8B-B14F-4D97-AF65-F5344CB8AC3E}">
        <p14:creationId xmlns:p14="http://schemas.microsoft.com/office/powerpoint/2010/main" val="2693611846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without A+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 bwMode="gray">
          <a:xfrm>
            <a:off x="1" y="0"/>
            <a:ext cx="1367407" cy="1207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37" dirty="0" err="1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31509" y="489545"/>
            <a:ext cx="174217" cy="21377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2670" y="467893"/>
            <a:ext cx="8313781" cy="857801"/>
          </a:xfrm>
        </p:spPr>
        <p:txBody>
          <a:bodyPr anchor="t"/>
          <a:lstStyle>
            <a:lvl1pPr>
              <a:defRPr/>
            </a:lvl1pPr>
          </a:lstStyle>
          <a:p>
            <a:r>
              <a:rPr lang="de-DE" dirty="0"/>
              <a:t>Titel / Title</a:t>
            </a:r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11894" y="1958547"/>
            <a:ext cx="7922224" cy="3329229"/>
          </a:xfrm>
        </p:spPr>
        <p:txBody>
          <a:bodyPr/>
          <a:lstStyle>
            <a:lvl1pPr marL="179860" indent="-179860">
              <a:buClr>
                <a:schemeClr val="accent6"/>
              </a:buClr>
              <a:buFont typeface="Wingdings 2" panose="05020102010507070707" pitchFamily="18" charset="2"/>
              <a:buChar char=""/>
              <a:defRPr b="0" baseline="0"/>
            </a:lvl1pPr>
            <a:lvl2pPr marL="190442" indent="-189120">
              <a:buClr>
                <a:schemeClr val="accent6"/>
              </a:buClr>
              <a:buFont typeface="Wingdings 2" panose="05020102010507070707" pitchFamily="18" charset="2"/>
              <a:buChar char=""/>
              <a:defRPr/>
            </a:lvl2pPr>
            <a:lvl3pPr>
              <a:defRPr/>
            </a:lvl3pPr>
            <a:lvl4pPr marL="581903" indent="-190442">
              <a:buClr>
                <a:schemeClr val="accent6"/>
              </a:buClr>
              <a:buFont typeface="Wingdings 2" panose="05020102010507070707" pitchFamily="18" charset="2"/>
              <a:buChar char=""/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masterformate durch Klicken bearbeiten /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 /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/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/>
              <a:t>Vierte Ebene / </a:t>
            </a:r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/>
              <a:t>Fünfte Ebene / </a:t>
            </a:r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1894" y="1597715"/>
            <a:ext cx="7922224" cy="30878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Textmasterformate durch Klicken bearbeiten /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us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2983091-0DB6-4B6F-9201-B8A539B6DA75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273964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 bwMode="gray">
          <a:xfrm>
            <a:off x="1" y="0"/>
            <a:ext cx="1367407" cy="1207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37" dirty="0" err="1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31509" y="489545"/>
            <a:ext cx="174217" cy="213770"/>
          </a:xfrm>
          <a:prstGeom prst="rect">
            <a:avLst/>
          </a:prstGeom>
        </p:spPr>
      </p:pic>
      <p:sp>
        <p:nvSpPr>
          <p:cNvPr id="9" name="Freeform 5"/>
          <p:cNvSpPr>
            <a:spLocks/>
          </p:cNvSpPr>
          <p:nvPr userDrawn="1"/>
        </p:nvSpPr>
        <p:spPr bwMode="auto">
          <a:xfrm rot="21065969">
            <a:off x="1715331" y="-129639"/>
            <a:ext cx="6540007" cy="5288245"/>
          </a:xfrm>
          <a:custGeom>
            <a:avLst/>
            <a:gdLst>
              <a:gd name="T0" fmla="*/ 282 w 1836"/>
              <a:gd name="T1" fmla="*/ 1758 h 1781"/>
              <a:gd name="T2" fmla="*/ 282 w 1836"/>
              <a:gd name="T3" fmla="*/ 1758 h 1781"/>
              <a:gd name="T4" fmla="*/ 1117 w 1836"/>
              <a:gd name="T5" fmla="*/ 1361 h 1781"/>
              <a:gd name="T6" fmla="*/ 1723 w 1836"/>
              <a:gd name="T7" fmla="*/ 1072 h 1781"/>
              <a:gd name="T8" fmla="*/ 1836 w 1836"/>
              <a:gd name="T9" fmla="*/ 891 h 1781"/>
              <a:gd name="T10" fmla="*/ 1723 w 1836"/>
              <a:gd name="T11" fmla="*/ 709 h 1781"/>
              <a:gd name="T12" fmla="*/ 1117 w 1836"/>
              <a:gd name="T13" fmla="*/ 420 h 1781"/>
              <a:gd name="T14" fmla="*/ 282 w 1836"/>
              <a:gd name="T15" fmla="*/ 23 h 1781"/>
              <a:gd name="T16" fmla="*/ 282 w 1836"/>
              <a:gd name="T17" fmla="*/ 23 h 1781"/>
              <a:gd name="T18" fmla="*/ 193 w 1836"/>
              <a:gd name="T19" fmla="*/ 1 h 1781"/>
              <a:gd name="T20" fmla="*/ 24 w 1836"/>
              <a:gd name="T21" fmla="*/ 103 h 1781"/>
              <a:gd name="T22" fmla="*/ 0 w 1836"/>
              <a:gd name="T23" fmla="*/ 203 h 1781"/>
              <a:gd name="T24" fmla="*/ 0 w 1836"/>
              <a:gd name="T25" fmla="*/ 206 h 1781"/>
              <a:gd name="T26" fmla="*/ 0 w 1836"/>
              <a:gd name="T27" fmla="*/ 206 h 1781"/>
              <a:gd name="T28" fmla="*/ 0 w 1836"/>
              <a:gd name="T29" fmla="*/ 1578 h 1781"/>
              <a:gd name="T30" fmla="*/ 0 w 1836"/>
              <a:gd name="T31" fmla="*/ 1578 h 1781"/>
              <a:gd name="T32" fmla="*/ 0 w 1836"/>
              <a:gd name="T33" fmla="*/ 1587 h 1781"/>
              <a:gd name="T34" fmla="*/ 0 w 1836"/>
              <a:gd name="T35" fmla="*/ 1587 h 1781"/>
              <a:gd name="T36" fmla="*/ 24 w 1836"/>
              <a:gd name="T37" fmla="*/ 1678 h 1781"/>
              <a:gd name="T38" fmla="*/ 193 w 1836"/>
              <a:gd name="T39" fmla="*/ 1781 h 1781"/>
              <a:gd name="T40" fmla="*/ 282 w 1836"/>
              <a:gd name="T41" fmla="*/ 1758 h 1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836" h="1781">
                <a:moveTo>
                  <a:pt x="282" y="1758"/>
                </a:moveTo>
                <a:cubicBezTo>
                  <a:pt x="282" y="1758"/>
                  <a:pt x="282" y="1758"/>
                  <a:pt x="282" y="1758"/>
                </a:cubicBezTo>
                <a:cubicBezTo>
                  <a:pt x="282" y="1758"/>
                  <a:pt x="299" y="1751"/>
                  <a:pt x="1117" y="1361"/>
                </a:cubicBezTo>
                <a:cubicBezTo>
                  <a:pt x="1705" y="1081"/>
                  <a:pt x="1723" y="1072"/>
                  <a:pt x="1723" y="1072"/>
                </a:cubicBezTo>
                <a:cubicBezTo>
                  <a:pt x="1794" y="1032"/>
                  <a:pt x="1836" y="985"/>
                  <a:pt x="1836" y="891"/>
                </a:cubicBezTo>
                <a:cubicBezTo>
                  <a:pt x="1836" y="796"/>
                  <a:pt x="1794" y="749"/>
                  <a:pt x="1723" y="709"/>
                </a:cubicBezTo>
                <a:cubicBezTo>
                  <a:pt x="1723" y="709"/>
                  <a:pt x="1705" y="700"/>
                  <a:pt x="1117" y="420"/>
                </a:cubicBezTo>
                <a:cubicBezTo>
                  <a:pt x="299" y="31"/>
                  <a:pt x="282" y="23"/>
                  <a:pt x="282" y="23"/>
                </a:cubicBezTo>
                <a:cubicBezTo>
                  <a:pt x="282" y="23"/>
                  <a:pt x="282" y="23"/>
                  <a:pt x="282" y="23"/>
                </a:cubicBezTo>
                <a:cubicBezTo>
                  <a:pt x="257" y="12"/>
                  <a:pt x="221" y="1"/>
                  <a:pt x="193" y="1"/>
                </a:cubicBezTo>
                <a:cubicBezTo>
                  <a:pt x="118" y="0"/>
                  <a:pt x="56" y="39"/>
                  <a:pt x="24" y="103"/>
                </a:cubicBezTo>
                <a:cubicBezTo>
                  <a:pt x="8" y="133"/>
                  <a:pt x="0" y="166"/>
                  <a:pt x="0" y="203"/>
                </a:cubicBezTo>
                <a:cubicBezTo>
                  <a:pt x="0" y="204"/>
                  <a:pt x="0" y="205"/>
                  <a:pt x="0" y="206"/>
                </a:cubicBezTo>
                <a:cubicBezTo>
                  <a:pt x="0" y="206"/>
                  <a:pt x="0" y="206"/>
                  <a:pt x="0" y="206"/>
                </a:cubicBezTo>
                <a:cubicBezTo>
                  <a:pt x="0" y="1578"/>
                  <a:pt x="0" y="1578"/>
                  <a:pt x="0" y="1578"/>
                </a:cubicBezTo>
                <a:cubicBezTo>
                  <a:pt x="0" y="1578"/>
                  <a:pt x="0" y="1578"/>
                  <a:pt x="0" y="1578"/>
                </a:cubicBezTo>
                <a:cubicBezTo>
                  <a:pt x="0" y="1587"/>
                  <a:pt x="0" y="1587"/>
                  <a:pt x="0" y="1587"/>
                </a:cubicBezTo>
                <a:cubicBezTo>
                  <a:pt x="0" y="1587"/>
                  <a:pt x="0" y="1587"/>
                  <a:pt x="0" y="1587"/>
                </a:cubicBezTo>
                <a:cubicBezTo>
                  <a:pt x="2" y="1620"/>
                  <a:pt x="10" y="1651"/>
                  <a:pt x="24" y="1678"/>
                </a:cubicBezTo>
                <a:cubicBezTo>
                  <a:pt x="56" y="1742"/>
                  <a:pt x="118" y="1781"/>
                  <a:pt x="193" y="1781"/>
                </a:cubicBezTo>
                <a:cubicBezTo>
                  <a:pt x="221" y="1780"/>
                  <a:pt x="257" y="1769"/>
                  <a:pt x="282" y="1758"/>
                </a:cubicBezTo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  <a:extLst/>
        </p:spPr>
        <p:txBody>
          <a:bodyPr vert="horz" wrap="square" lIns="76182" tIns="38091" rIns="76182" bIns="38091" numCol="1" anchor="t" anchorCtr="0" compatLnSpc="1">
            <a:prstTxWarp prst="textNoShape">
              <a:avLst/>
            </a:prstTxWarp>
          </a:bodyPr>
          <a:lstStyle/>
          <a:p>
            <a:endParaRPr lang="de-DE" sz="1237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2670" y="467893"/>
            <a:ext cx="8313781" cy="857801"/>
          </a:xfrm>
        </p:spPr>
        <p:txBody>
          <a:bodyPr anchor="t"/>
          <a:lstStyle>
            <a:lvl1pPr>
              <a:defRPr/>
            </a:lvl1pPr>
          </a:lstStyle>
          <a:p>
            <a:r>
              <a:rPr lang="de-DE" dirty="0"/>
              <a:t>Titel / Title</a:t>
            </a:r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11894" y="1958547"/>
            <a:ext cx="7922224" cy="3329229"/>
          </a:xfrm>
        </p:spPr>
        <p:txBody>
          <a:bodyPr/>
          <a:lstStyle>
            <a:lvl1pPr marL="179860" indent="-179860">
              <a:buClr>
                <a:schemeClr val="accent6"/>
              </a:buClr>
              <a:buFont typeface="Wingdings 2" panose="05020102010507070707" pitchFamily="18" charset="2"/>
              <a:buChar char=""/>
              <a:defRPr b="0" baseline="0"/>
            </a:lvl1pPr>
            <a:lvl2pPr marL="190442" indent="-189120">
              <a:buClr>
                <a:schemeClr val="accent6"/>
              </a:buClr>
              <a:buFont typeface="Wingdings 2" panose="05020102010507070707" pitchFamily="18" charset="2"/>
              <a:buChar char=""/>
              <a:defRPr/>
            </a:lvl2pPr>
            <a:lvl3pPr>
              <a:defRPr/>
            </a:lvl3pPr>
            <a:lvl4pPr marL="581903" indent="-190442">
              <a:buClr>
                <a:schemeClr val="accent6"/>
              </a:buClr>
              <a:buFont typeface="Wingdings 2" panose="05020102010507070707" pitchFamily="18" charset="2"/>
              <a:buChar char=""/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masterformate durch Klicken bearbeiten /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 /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/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/>
              <a:t>Vierte Ebene / </a:t>
            </a:r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/>
              <a:t>Fünfte Ebene / </a:t>
            </a:r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1894" y="1597715"/>
            <a:ext cx="7922224" cy="30878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Textmasterformate durch Klicken bearbeiten /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us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2983091-0DB6-4B6F-9201-B8A539B6DA75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9871291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8"/>
          <p:cNvSpPr>
            <a:spLocks noGrp="1"/>
          </p:cNvSpPr>
          <p:nvPr>
            <p:ph type="pic" sz="quarter" idx="13"/>
          </p:nvPr>
        </p:nvSpPr>
        <p:spPr>
          <a:xfrm>
            <a:off x="2" y="1"/>
            <a:ext cx="9142411" cy="5713677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381650"/>
            <a:ext cx="9142412" cy="2153501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33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304406" y="0"/>
            <a:ext cx="1475744" cy="707836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33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65580" name="Rectangle 1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64320" y="3587169"/>
            <a:ext cx="5582630" cy="1562638"/>
          </a:xfrm>
          <a:ln/>
        </p:spPr>
        <p:txBody>
          <a:bodyPr anchor="t"/>
          <a:lstStyle>
            <a:lvl1pPr>
              <a:spcBef>
                <a:spcPct val="50000"/>
              </a:spcBef>
              <a:spcAft>
                <a:spcPct val="50000"/>
              </a:spcAft>
              <a:defRPr sz="3332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 / Title</a:t>
            </a:r>
          </a:p>
        </p:txBody>
      </p:sp>
    </p:spTree>
    <p:extLst>
      <p:ext uri="{BB962C8B-B14F-4D97-AF65-F5344CB8AC3E}">
        <p14:creationId xmlns:p14="http://schemas.microsoft.com/office/powerpoint/2010/main" val="326587641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69442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55081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935304"/>
            <a:ext cx="7772400" cy="1989667"/>
          </a:xfrm>
        </p:spPr>
        <p:txBody>
          <a:bodyPr anchor="b"/>
          <a:lstStyle>
            <a:lvl1pPr algn="ctr">
              <a:defRPr sz="4999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2" y="3001700"/>
            <a:ext cx="6858000" cy="1379801"/>
          </a:xfrm>
        </p:spPr>
        <p:txBody>
          <a:bodyPr/>
          <a:lstStyle>
            <a:lvl1pPr marL="0" indent="0" algn="ctr">
              <a:buNone/>
              <a:defRPr sz="1999"/>
            </a:lvl1pPr>
            <a:lvl2pPr marL="380957" indent="0" algn="ctr">
              <a:buNone/>
              <a:defRPr sz="1666"/>
            </a:lvl2pPr>
            <a:lvl3pPr marL="761916" indent="0" algn="ctr">
              <a:buNone/>
              <a:defRPr sz="1500"/>
            </a:lvl3pPr>
            <a:lvl4pPr marL="1142873" indent="0" algn="ctr">
              <a:buNone/>
              <a:defRPr sz="1333"/>
            </a:lvl4pPr>
            <a:lvl5pPr marL="1523832" indent="0" algn="ctr">
              <a:buNone/>
              <a:defRPr sz="1333"/>
            </a:lvl5pPr>
            <a:lvl6pPr marL="1904790" indent="0" algn="ctr">
              <a:buNone/>
              <a:defRPr sz="1333"/>
            </a:lvl6pPr>
            <a:lvl7pPr marL="2285748" indent="0" algn="ctr">
              <a:buNone/>
              <a:defRPr sz="1333"/>
            </a:lvl7pPr>
            <a:lvl8pPr marL="2666706" indent="0" algn="ctr">
              <a:buNone/>
              <a:defRPr sz="1333"/>
            </a:lvl8pPr>
            <a:lvl9pPr marL="3047665" indent="0" algn="ctr">
              <a:buNone/>
              <a:defRPr sz="1333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2654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5191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ternal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8"/>
          <p:cNvSpPr>
            <a:spLocks noGrp="1"/>
          </p:cNvSpPr>
          <p:nvPr>
            <p:ph type="pic" sz="quarter" idx="13"/>
          </p:nvPr>
        </p:nvSpPr>
        <p:spPr>
          <a:xfrm>
            <a:off x="2" y="1"/>
            <a:ext cx="9142411" cy="5713677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516083"/>
            <a:ext cx="9142412" cy="401906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33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7304406" y="0"/>
            <a:ext cx="1475744" cy="707836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33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65580" name="Rectangle 1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2425979" y="3032299"/>
            <a:ext cx="6104540" cy="1385679"/>
          </a:xfrm>
          <a:ln/>
        </p:spPr>
        <p:txBody>
          <a:bodyPr anchor="t"/>
          <a:lstStyle>
            <a:lvl1pPr>
              <a:spcBef>
                <a:spcPct val="50000"/>
              </a:spcBef>
              <a:spcAft>
                <a:spcPct val="50000"/>
              </a:spcAft>
              <a:defRPr sz="2666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 / Title</a:t>
            </a:r>
          </a:p>
        </p:txBody>
      </p:sp>
      <p:sp>
        <p:nvSpPr>
          <p:cNvPr id="365581" name="Rectangle 1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2425979" y="4676722"/>
            <a:ext cx="6104540" cy="209951"/>
          </a:xfrm>
        </p:spPr>
        <p:txBody>
          <a:bodyPr rIns="0"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333"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Ort, Datum / Place, Dat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425979" y="4456968"/>
            <a:ext cx="6104540" cy="209951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lang="de-DE" sz="1333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50000"/>
              </a:spcAft>
              <a:tabLst>
                <a:tab pos="6471024" algn="r"/>
              </a:tabLst>
            </a:pPr>
            <a:r>
              <a:rPr lang="de-DE" dirty="0"/>
              <a:t>Autor / Abteilung / </a:t>
            </a:r>
            <a:r>
              <a:rPr lang="de-DE" dirty="0" err="1"/>
              <a:t>Author’s</a:t>
            </a:r>
            <a:r>
              <a:rPr lang="de-DE" dirty="0"/>
              <a:t> name / Department</a:t>
            </a:r>
          </a:p>
        </p:txBody>
      </p:sp>
    </p:spTree>
    <p:extLst>
      <p:ext uri="{BB962C8B-B14F-4D97-AF65-F5344CB8AC3E}">
        <p14:creationId xmlns:p14="http://schemas.microsoft.com/office/powerpoint/2010/main" val="113814492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4"/>
            <a:ext cx="7886700" cy="2377281"/>
          </a:xfrm>
        </p:spPr>
        <p:txBody>
          <a:bodyPr anchor="b"/>
          <a:lstStyle>
            <a:lvl1pPr>
              <a:defRPr sz="4999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999">
                <a:solidFill>
                  <a:schemeClr val="tx1"/>
                </a:solidFill>
              </a:defRPr>
            </a:lvl1pPr>
            <a:lvl2pPr marL="380957" indent="0">
              <a:buNone/>
              <a:defRPr sz="1666">
                <a:solidFill>
                  <a:schemeClr val="tx1">
                    <a:tint val="75000"/>
                  </a:schemeClr>
                </a:solidFill>
              </a:defRPr>
            </a:lvl2pPr>
            <a:lvl3pPr marL="76191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142873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4pPr>
            <a:lvl5pPr marL="1523832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5pPr>
            <a:lvl6pPr marL="190479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6pPr>
            <a:lvl7pPr marL="2285748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7pPr>
            <a:lvl8pPr marL="2666706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8pPr>
            <a:lvl9pPr marL="3047665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1115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5"/>
            <a:ext cx="3886200" cy="362611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2" y="1521355"/>
            <a:ext cx="3886200" cy="362611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7171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2"/>
            <a:ext cx="7886700" cy="110463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4"/>
          </a:xfrm>
        </p:spPr>
        <p:txBody>
          <a:bodyPr anchor="b"/>
          <a:lstStyle>
            <a:lvl1pPr marL="0" indent="0">
              <a:buNone/>
              <a:defRPr sz="1999" b="1"/>
            </a:lvl1pPr>
            <a:lvl2pPr marL="380957" indent="0">
              <a:buNone/>
              <a:defRPr sz="1666" b="1"/>
            </a:lvl2pPr>
            <a:lvl3pPr marL="761916" indent="0">
              <a:buNone/>
              <a:defRPr sz="1500" b="1"/>
            </a:lvl3pPr>
            <a:lvl4pPr marL="1142873" indent="0">
              <a:buNone/>
              <a:defRPr sz="1333" b="1"/>
            </a:lvl4pPr>
            <a:lvl5pPr marL="1523832" indent="0">
              <a:buNone/>
              <a:defRPr sz="1333" b="1"/>
            </a:lvl5pPr>
            <a:lvl6pPr marL="1904790" indent="0">
              <a:buNone/>
              <a:defRPr sz="1333" b="1"/>
            </a:lvl6pPr>
            <a:lvl7pPr marL="2285748" indent="0">
              <a:buNone/>
              <a:defRPr sz="1333" b="1"/>
            </a:lvl7pPr>
            <a:lvl8pPr marL="2666706" indent="0">
              <a:buNone/>
              <a:defRPr sz="1333" b="1"/>
            </a:lvl8pPr>
            <a:lvl9pPr marL="3047665" indent="0">
              <a:buNone/>
              <a:defRPr sz="1333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4"/>
            <a:ext cx="3868340" cy="307049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4"/>
          </a:xfrm>
        </p:spPr>
        <p:txBody>
          <a:bodyPr anchor="b"/>
          <a:lstStyle>
            <a:lvl1pPr marL="0" indent="0">
              <a:buNone/>
              <a:defRPr sz="1999" b="1"/>
            </a:lvl1pPr>
            <a:lvl2pPr marL="380957" indent="0">
              <a:buNone/>
              <a:defRPr sz="1666" b="1"/>
            </a:lvl2pPr>
            <a:lvl3pPr marL="761916" indent="0">
              <a:buNone/>
              <a:defRPr sz="1500" b="1"/>
            </a:lvl3pPr>
            <a:lvl4pPr marL="1142873" indent="0">
              <a:buNone/>
              <a:defRPr sz="1333" b="1"/>
            </a:lvl4pPr>
            <a:lvl5pPr marL="1523832" indent="0">
              <a:buNone/>
              <a:defRPr sz="1333" b="1"/>
            </a:lvl5pPr>
            <a:lvl6pPr marL="1904790" indent="0">
              <a:buNone/>
              <a:defRPr sz="1333" b="1"/>
            </a:lvl6pPr>
            <a:lvl7pPr marL="2285748" indent="0">
              <a:buNone/>
              <a:defRPr sz="1333" b="1"/>
            </a:lvl7pPr>
            <a:lvl8pPr marL="2666706" indent="0">
              <a:buNone/>
              <a:defRPr sz="1333" b="1"/>
            </a:lvl8pPr>
            <a:lvl9pPr marL="3047665" indent="0">
              <a:buNone/>
              <a:defRPr sz="1333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4"/>
            <a:ext cx="3887391" cy="307049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7370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27900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14577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81002"/>
            <a:ext cx="2949178" cy="1333500"/>
          </a:xfrm>
        </p:spPr>
        <p:txBody>
          <a:bodyPr anchor="b"/>
          <a:lstStyle>
            <a:lvl1pPr>
              <a:defRPr sz="2667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822856"/>
            <a:ext cx="4629150" cy="4061355"/>
          </a:xfrm>
        </p:spPr>
        <p:txBody>
          <a:bodyPr/>
          <a:lstStyle>
            <a:lvl1pPr>
              <a:defRPr sz="2667"/>
            </a:lvl1pPr>
            <a:lvl2pPr>
              <a:defRPr sz="2334"/>
            </a:lvl2pPr>
            <a:lvl3pPr>
              <a:defRPr sz="1999"/>
            </a:lvl3pPr>
            <a:lvl4pPr>
              <a:defRPr sz="1666"/>
            </a:lvl4pPr>
            <a:lvl5pPr>
              <a:defRPr sz="1666"/>
            </a:lvl5pPr>
            <a:lvl6pPr>
              <a:defRPr sz="1666"/>
            </a:lvl6pPr>
            <a:lvl7pPr>
              <a:defRPr sz="1666"/>
            </a:lvl7pPr>
            <a:lvl8pPr>
              <a:defRPr sz="1666"/>
            </a:lvl8pPr>
            <a:lvl9pPr>
              <a:defRPr sz="1666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714501"/>
            <a:ext cx="2949178" cy="3176324"/>
          </a:xfrm>
        </p:spPr>
        <p:txBody>
          <a:bodyPr/>
          <a:lstStyle>
            <a:lvl1pPr marL="0" indent="0">
              <a:buNone/>
              <a:defRPr sz="1333"/>
            </a:lvl1pPr>
            <a:lvl2pPr marL="380957" indent="0">
              <a:buNone/>
              <a:defRPr sz="1166"/>
            </a:lvl2pPr>
            <a:lvl3pPr marL="761916" indent="0">
              <a:buNone/>
              <a:defRPr sz="1000"/>
            </a:lvl3pPr>
            <a:lvl4pPr marL="1142873" indent="0">
              <a:buNone/>
              <a:defRPr sz="833"/>
            </a:lvl4pPr>
            <a:lvl5pPr marL="1523832" indent="0">
              <a:buNone/>
              <a:defRPr sz="833"/>
            </a:lvl5pPr>
            <a:lvl6pPr marL="1904790" indent="0">
              <a:buNone/>
              <a:defRPr sz="833"/>
            </a:lvl6pPr>
            <a:lvl7pPr marL="2285748" indent="0">
              <a:buNone/>
              <a:defRPr sz="833"/>
            </a:lvl7pPr>
            <a:lvl8pPr marL="2666706" indent="0">
              <a:buNone/>
              <a:defRPr sz="833"/>
            </a:lvl8pPr>
            <a:lvl9pPr marL="3047665" indent="0">
              <a:buNone/>
              <a:defRPr sz="833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6667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81002"/>
            <a:ext cx="2949178" cy="1333500"/>
          </a:xfrm>
        </p:spPr>
        <p:txBody>
          <a:bodyPr anchor="b"/>
          <a:lstStyle>
            <a:lvl1pPr>
              <a:defRPr sz="2667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822856"/>
            <a:ext cx="4629150" cy="4061355"/>
          </a:xfrm>
        </p:spPr>
        <p:txBody>
          <a:bodyPr anchor="t"/>
          <a:lstStyle>
            <a:lvl1pPr marL="0" indent="0">
              <a:buNone/>
              <a:defRPr sz="2667"/>
            </a:lvl1pPr>
            <a:lvl2pPr marL="380957" indent="0">
              <a:buNone/>
              <a:defRPr sz="2334"/>
            </a:lvl2pPr>
            <a:lvl3pPr marL="761916" indent="0">
              <a:buNone/>
              <a:defRPr sz="1999"/>
            </a:lvl3pPr>
            <a:lvl4pPr marL="1142873" indent="0">
              <a:buNone/>
              <a:defRPr sz="1666"/>
            </a:lvl4pPr>
            <a:lvl5pPr marL="1523832" indent="0">
              <a:buNone/>
              <a:defRPr sz="1666"/>
            </a:lvl5pPr>
            <a:lvl6pPr marL="1904790" indent="0">
              <a:buNone/>
              <a:defRPr sz="1666"/>
            </a:lvl6pPr>
            <a:lvl7pPr marL="2285748" indent="0">
              <a:buNone/>
              <a:defRPr sz="1666"/>
            </a:lvl7pPr>
            <a:lvl8pPr marL="2666706" indent="0">
              <a:buNone/>
              <a:defRPr sz="1666"/>
            </a:lvl8pPr>
            <a:lvl9pPr marL="3047665" indent="0">
              <a:buNone/>
              <a:defRPr sz="1666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714501"/>
            <a:ext cx="2949178" cy="3176324"/>
          </a:xfrm>
        </p:spPr>
        <p:txBody>
          <a:bodyPr/>
          <a:lstStyle>
            <a:lvl1pPr marL="0" indent="0">
              <a:buNone/>
              <a:defRPr sz="1333"/>
            </a:lvl1pPr>
            <a:lvl2pPr marL="380957" indent="0">
              <a:buNone/>
              <a:defRPr sz="1166"/>
            </a:lvl2pPr>
            <a:lvl3pPr marL="761916" indent="0">
              <a:buNone/>
              <a:defRPr sz="1000"/>
            </a:lvl3pPr>
            <a:lvl4pPr marL="1142873" indent="0">
              <a:buNone/>
              <a:defRPr sz="833"/>
            </a:lvl4pPr>
            <a:lvl5pPr marL="1523832" indent="0">
              <a:buNone/>
              <a:defRPr sz="833"/>
            </a:lvl5pPr>
            <a:lvl6pPr marL="1904790" indent="0">
              <a:buNone/>
              <a:defRPr sz="833"/>
            </a:lvl6pPr>
            <a:lvl7pPr marL="2285748" indent="0">
              <a:buNone/>
              <a:defRPr sz="833"/>
            </a:lvl7pPr>
            <a:lvl8pPr marL="2666706" indent="0">
              <a:buNone/>
              <a:defRPr sz="833"/>
            </a:lvl8pPr>
            <a:lvl9pPr marL="3047665" indent="0">
              <a:buNone/>
              <a:defRPr sz="833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8361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9060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7" y="304271"/>
            <a:ext cx="1971675" cy="4843199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04271"/>
            <a:ext cx="5800725" cy="4843199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60828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8"/>
          <p:cNvSpPr>
            <a:spLocks noGrp="1"/>
          </p:cNvSpPr>
          <p:nvPr>
            <p:ph type="pic" sz="quarter" idx="13"/>
          </p:nvPr>
        </p:nvSpPr>
        <p:spPr>
          <a:xfrm>
            <a:off x="2" y="0"/>
            <a:ext cx="9143999" cy="5715000"/>
          </a:xfrm>
          <a:prstGeom prst="rect">
            <a:avLst/>
          </a:prstGeom>
          <a:noFill/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0" y="1516434"/>
            <a:ext cx="9144000" cy="4020000"/>
          </a:xfrm>
          <a:prstGeom prst="rect">
            <a:avLst/>
          </a:prstGeom>
          <a:blipFill dpi="0" rotWithShape="1">
            <a:blip r:embed="rId2" cstate="print">
              <a:extLst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33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26574" y="3032418"/>
            <a:ext cx="6106240" cy="1386815"/>
          </a:xfrm>
          <a:prstGeom prst="rect">
            <a:avLst/>
          </a:prstGeom>
        </p:spPr>
        <p:txBody>
          <a:bodyPr anchor="t"/>
          <a:lstStyle>
            <a:lvl1pPr algn="l">
              <a:defRPr sz="2667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26574" y="4456697"/>
            <a:ext cx="6106240" cy="53511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333">
                <a:solidFill>
                  <a:schemeClr val="tx1"/>
                </a:solidFill>
              </a:defRPr>
            </a:lvl1pPr>
            <a:lvl2pPr marL="380957" indent="0" algn="ctr">
              <a:buNone/>
              <a:defRPr sz="1666"/>
            </a:lvl2pPr>
            <a:lvl3pPr marL="761916" indent="0" algn="ctr">
              <a:buNone/>
              <a:defRPr sz="1500"/>
            </a:lvl3pPr>
            <a:lvl4pPr marL="1142873" indent="0" algn="ctr">
              <a:buNone/>
              <a:defRPr sz="1333"/>
            </a:lvl4pPr>
            <a:lvl5pPr marL="1523832" indent="0" algn="ctr">
              <a:buNone/>
              <a:defRPr sz="1333"/>
            </a:lvl5pPr>
            <a:lvl6pPr marL="1904790" indent="0" algn="ctr">
              <a:buNone/>
              <a:defRPr sz="1333"/>
            </a:lvl6pPr>
            <a:lvl7pPr marL="2285748" indent="0" algn="ctr">
              <a:buNone/>
              <a:defRPr sz="1333"/>
            </a:lvl7pPr>
            <a:lvl8pPr marL="2666706" indent="0" algn="ctr">
              <a:buNone/>
              <a:defRPr sz="1333"/>
            </a:lvl8pPr>
            <a:lvl9pPr marL="3047665" indent="0" algn="ctr">
              <a:buNone/>
              <a:defRPr sz="1333"/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7305675" y="1"/>
            <a:ext cx="1476000" cy="708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33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324316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/>
          <p:cNvSpPr/>
          <p:nvPr userDrawn="1"/>
        </p:nvSpPr>
        <p:spPr bwMode="gray">
          <a:xfrm>
            <a:off x="0" y="2"/>
            <a:ext cx="9142412" cy="1596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37"/>
          </a:p>
        </p:txBody>
      </p:sp>
      <p:sp>
        <p:nvSpPr>
          <p:cNvPr id="58" name="Rechteck 57"/>
          <p:cNvSpPr/>
          <p:nvPr userDrawn="1"/>
        </p:nvSpPr>
        <p:spPr>
          <a:xfrm>
            <a:off x="2" y="768172"/>
            <a:ext cx="9142411" cy="139996"/>
          </a:xfrm>
          <a:prstGeom prst="rect">
            <a:avLst/>
          </a:prstGeom>
          <a:gradFill>
            <a:gsLst>
              <a:gs pos="0">
                <a:srgbClr val="DCDCDC"/>
              </a:gs>
              <a:gs pos="100000">
                <a:schemeClr val="bg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37"/>
          </a:p>
        </p:txBody>
      </p:sp>
      <p:sp>
        <p:nvSpPr>
          <p:cNvPr id="29" name="Rechteck 2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908168"/>
            <a:ext cx="9142412" cy="4378306"/>
          </a:xfrm>
          <a:prstGeom prst="rect">
            <a:avLst/>
          </a:prstGeom>
          <a:gradFill rotWithShape="1">
            <a:gsLst>
              <a:gs pos="0">
                <a:srgbClr val="E8E8E8"/>
              </a:gs>
              <a:gs pos="100000">
                <a:srgbClr val="FAFAFA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979" tIns="89979" rIns="89979" bIns="89979"/>
          <a:lstStyle/>
          <a:p>
            <a:pPr>
              <a:defRPr/>
            </a:pPr>
            <a:endParaRPr lang="en-US" sz="1000" b="1" dirty="0">
              <a:latin typeface="Arial"/>
              <a:ea typeface="+mn-ea"/>
              <a:cs typeface="Arial"/>
            </a:endParaRPr>
          </a:p>
        </p:txBody>
      </p:sp>
      <p:sp>
        <p:nvSpPr>
          <p:cNvPr id="30" name="Textplatzhalter 27"/>
          <p:cNvSpPr>
            <a:spLocks noGrp="1"/>
          </p:cNvSpPr>
          <p:nvPr>
            <p:ph type="body" sz="quarter" idx="13" hasCustomPrompt="1"/>
          </p:nvPr>
        </p:nvSpPr>
        <p:spPr>
          <a:xfrm>
            <a:off x="1599925" y="1604277"/>
            <a:ext cx="518069" cy="677846"/>
          </a:xfrm>
        </p:spPr>
        <p:txBody>
          <a:bodyPr anchor="ctr"/>
          <a:lstStyle>
            <a:lvl1pPr marL="0" indent="0">
              <a:spcAft>
                <a:spcPts val="0"/>
              </a:spcAft>
              <a:buNone/>
              <a:defRPr sz="3749" b="1"/>
            </a:lvl1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31" name="Textplatzhalt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2231320" y="1604277"/>
            <a:ext cx="5925427" cy="677846"/>
          </a:xfrm>
        </p:spPr>
        <p:txBody>
          <a:bodyPr anchor="ctr"/>
          <a:lstStyle>
            <a:lvl1pPr marL="0" indent="0">
              <a:spcAft>
                <a:spcPts val="0"/>
              </a:spcAft>
              <a:buNone/>
              <a:defRPr sz="1500" b="1"/>
            </a:lvl1pPr>
          </a:lstStyle>
          <a:p>
            <a:pPr lvl="0"/>
            <a:r>
              <a:rPr lang="de-DE" b="1" dirty="0">
                <a:latin typeface="+mn-lt"/>
                <a:cs typeface="Arial"/>
              </a:rPr>
              <a:t>Titel / Title </a:t>
            </a:r>
            <a:endParaRPr lang="de-DE" dirty="0"/>
          </a:p>
        </p:txBody>
      </p:sp>
      <p:sp>
        <p:nvSpPr>
          <p:cNvPr id="32" name="Textplatzhalt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1599925" y="2274402"/>
            <a:ext cx="518069" cy="705447"/>
          </a:xfrm>
        </p:spPr>
        <p:txBody>
          <a:bodyPr anchor="ctr"/>
          <a:lstStyle>
            <a:lvl1pPr marL="0" indent="0">
              <a:spcAft>
                <a:spcPts val="0"/>
              </a:spcAft>
              <a:buNone/>
              <a:defRPr sz="3749" b="1"/>
            </a:lvl1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34" name="Textplatzhalter 27"/>
          <p:cNvSpPr>
            <a:spLocks noGrp="1"/>
          </p:cNvSpPr>
          <p:nvPr>
            <p:ph type="body" sz="quarter" idx="16" hasCustomPrompt="1"/>
          </p:nvPr>
        </p:nvSpPr>
        <p:spPr>
          <a:xfrm>
            <a:off x="2231320" y="2274402"/>
            <a:ext cx="5925427" cy="705447"/>
          </a:xfrm>
        </p:spPr>
        <p:txBody>
          <a:bodyPr anchor="ctr"/>
          <a:lstStyle>
            <a:lvl1pPr marL="0" indent="0">
              <a:spcAft>
                <a:spcPts val="0"/>
              </a:spcAft>
              <a:buNone/>
              <a:defRPr sz="1500" b="1"/>
            </a:lvl1pPr>
          </a:lstStyle>
          <a:p>
            <a:pPr lvl="0"/>
            <a:r>
              <a:rPr lang="de-DE" b="1" dirty="0">
                <a:latin typeface="+mn-lt"/>
                <a:cs typeface="Arial"/>
              </a:rPr>
              <a:t>Titel / Title </a:t>
            </a:r>
            <a:endParaRPr lang="de-DE" dirty="0"/>
          </a:p>
        </p:txBody>
      </p:sp>
      <p:sp>
        <p:nvSpPr>
          <p:cNvPr id="44" name="Textplatzhalter 27"/>
          <p:cNvSpPr>
            <a:spLocks noGrp="1"/>
          </p:cNvSpPr>
          <p:nvPr>
            <p:ph type="body" sz="quarter" idx="17" hasCustomPrompt="1"/>
          </p:nvPr>
        </p:nvSpPr>
        <p:spPr>
          <a:xfrm>
            <a:off x="1599925" y="2975394"/>
            <a:ext cx="518069" cy="682466"/>
          </a:xfrm>
        </p:spPr>
        <p:txBody>
          <a:bodyPr anchor="ctr"/>
          <a:lstStyle>
            <a:lvl1pPr marL="0" indent="0">
              <a:spcAft>
                <a:spcPts val="0"/>
              </a:spcAft>
              <a:buNone/>
              <a:defRPr sz="3749" b="1"/>
            </a:lvl1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45" name="Textplatzhalter 27"/>
          <p:cNvSpPr>
            <a:spLocks noGrp="1"/>
          </p:cNvSpPr>
          <p:nvPr>
            <p:ph type="body" sz="quarter" idx="18" hasCustomPrompt="1"/>
          </p:nvPr>
        </p:nvSpPr>
        <p:spPr>
          <a:xfrm>
            <a:off x="2231320" y="2975394"/>
            <a:ext cx="5925427" cy="682466"/>
          </a:xfrm>
        </p:spPr>
        <p:txBody>
          <a:bodyPr anchor="ctr"/>
          <a:lstStyle>
            <a:lvl1pPr marL="0" indent="0">
              <a:spcAft>
                <a:spcPts val="0"/>
              </a:spcAft>
              <a:buNone/>
              <a:defRPr sz="1500" b="1"/>
            </a:lvl1pPr>
          </a:lstStyle>
          <a:p>
            <a:pPr lvl="0"/>
            <a:r>
              <a:rPr lang="de-DE" b="1" dirty="0">
                <a:latin typeface="+mn-lt"/>
                <a:cs typeface="Arial"/>
              </a:rPr>
              <a:t>Titel / Title </a:t>
            </a:r>
            <a:endParaRPr lang="de-DE" dirty="0"/>
          </a:p>
        </p:txBody>
      </p:sp>
      <p:sp>
        <p:nvSpPr>
          <p:cNvPr id="46" name="Textplatzhalter 27"/>
          <p:cNvSpPr>
            <a:spLocks noGrp="1"/>
          </p:cNvSpPr>
          <p:nvPr>
            <p:ph type="body" sz="quarter" idx="19" hasCustomPrompt="1"/>
          </p:nvPr>
        </p:nvSpPr>
        <p:spPr>
          <a:xfrm>
            <a:off x="1599925" y="3658025"/>
            <a:ext cx="518069" cy="687084"/>
          </a:xfrm>
        </p:spPr>
        <p:txBody>
          <a:bodyPr anchor="ctr"/>
          <a:lstStyle>
            <a:lvl1pPr marL="0" indent="0">
              <a:spcAft>
                <a:spcPts val="0"/>
              </a:spcAft>
              <a:buNone/>
              <a:defRPr sz="3749" b="1"/>
            </a:lvl1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47" name="Textplatzhalt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2231320" y="3658025"/>
            <a:ext cx="5925427" cy="687084"/>
          </a:xfrm>
        </p:spPr>
        <p:txBody>
          <a:bodyPr anchor="ctr"/>
          <a:lstStyle>
            <a:lvl1pPr marL="0" indent="0">
              <a:spcAft>
                <a:spcPts val="0"/>
              </a:spcAft>
              <a:buNone/>
              <a:defRPr sz="1500" b="1"/>
            </a:lvl1pPr>
          </a:lstStyle>
          <a:p>
            <a:pPr lvl="0"/>
            <a:r>
              <a:rPr lang="de-DE" b="1" dirty="0">
                <a:latin typeface="+mn-lt"/>
                <a:cs typeface="Arial"/>
              </a:rPr>
              <a:t>Titel / Title </a:t>
            </a:r>
            <a:endParaRPr lang="de-DE" dirty="0"/>
          </a:p>
        </p:txBody>
      </p:sp>
      <p:sp>
        <p:nvSpPr>
          <p:cNvPr id="48" name="Textplatzhalter 27"/>
          <p:cNvSpPr>
            <a:spLocks noGrp="1"/>
          </p:cNvSpPr>
          <p:nvPr>
            <p:ph type="body" sz="quarter" idx="21" hasCustomPrompt="1"/>
          </p:nvPr>
        </p:nvSpPr>
        <p:spPr>
          <a:xfrm>
            <a:off x="1599925" y="4347863"/>
            <a:ext cx="518069" cy="697562"/>
          </a:xfrm>
        </p:spPr>
        <p:txBody>
          <a:bodyPr anchor="ctr"/>
          <a:lstStyle>
            <a:lvl1pPr marL="0" indent="0">
              <a:spcAft>
                <a:spcPts val="0"/>
              </a:spcAft>
              <a:buNone/>
              <a:defRPr sz="3749" b="1"/>
            </a:lvl1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49" name="Textplatzhalter 27"/>
          <p:cNvSpPr>
            <a:spLocks noGrp="1"/>
          </p:cNvSpPr>
          <p:nvPr>
            <p:ph type="body" sz="quarter" idx="22" hasCustomPrompt="1"/>
          </p:nvPr>
        </p:nvSpPr>
        <p:spPr>
          <a:xfrm>
            <a:off x="2231320" y="4347863"/>
            <a:ext cx="5925427" cy="697562"/>
          </a:xfrm>
        </p:spPr>
        <p:txBody>
          <a:bodyPr anchor="ctr"/>
          <a:lstStyle>
            <a:lvl1pPr marL="0" indent="0">
              <a:spcAft>
                <a:spcPts val="0"/>
              </a:spcAft>
              <a:buNone/>
              <a:defRPr sz="1500" b="1"/>
            </a:lvl1pPr>
          </a:lstStyle>
          <a:p>
            <a:pPr lvl="0"/>
            <a:r>
              <a:rPr lang="de-DE" b="1" dirty="0">
                <a:latin typeface="+mn-lt"/>
                <a:cs typeface="Arial"/>
              </a:rPr>
              <a:t>Titel / Title </a:t>
            </a:r>
            <a:endParaRPr lang="de-DE" dirty="0"/>
          </a:p>
        </p:txBody>
      </p:sp>
      <p:pic>
        <p:nvPicPr>
          <p:cNvPr id="50" name="Grafik 49"/>
          <p:cNvPicPr>
            <a:picLocks noChangeAspect="1"/>
          </p:cNvPicPr>
          <p:nvPr userDrawn="1"/>
        </p:nvPicPr>
        <p:blipFill rotWithShape="1">
          <a:blip r:embed="rId3" cstate="print"/>
          <a:srcRect r="9993"/>
          <a:stretch/>
        </p:blipFill>
        <p:spPr>
          <a:xfrm>
            <a:off x="7284674" y="138721"/>
            <a:ext cx="1857740" cy="1267877"/>
          </a:xfrm>
          <a:prstGeom prst="rect">
            <a:avLst/>
          </a:prstGeom>
        </p:spPr>
      </p:pic>
      <p:sp>
        <p:nvSpPr>
          <p:cNvPr id="51" name="Line 7"/>
          <p:cNvSpPr>
            <a:spLocks noChangeShapeType="1"/>
          </p:cNvSpPr>
          <p:nvPr userDrawn="1"/>
        </p:nvSpPr>
        <p:spPr bwMode="auto">
          <a:xfrm>
            <a:off x="1439613" y="1596990"/>
            <a:ext cx="671713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lIns="59986" tIns="29993" rIns="59986" bIns="29993" anchor="ctr"/>
          <a:lstStyle/>
          <a:p>
            <a:endParaRPr lang="de-DE" sz="1237" dirty="0"/>
          </a:p>
        </p:txBody>
      </p:sp>
      <p:sp>
        <p:nvSpPr>
          <p:cNvPr id="52" name="Line 7"/>
          <p:cNvSpPr>
            <a:spLocks noChangeShapeType="1"/>
          </p:cNvSpPr>
          <p:nvPr userDrawn="1"/>
        </p:nvSpPr>
        <p:spPr bwMode="auto">
          <a:xfrm>
            <a:off x="1439613" y="2282287"/>
            <a:ext cx="671713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lIns="59986" tIns="29993" rIns="59986" bIns="29993" anchor="ctr"/>
          <a:lstStyle/>
          <a:p>
            <a:endParaRPr lang="de-DE" sz="1237" dirty="0"/>
          </a:p>
        </p:txBody>
      </p:sp>
      <p:sp>
        <p:nvSpPr>
          <p:cNvPr id="53" name="Line 7"/>
          <p:cNvSpPr>
            <a:spLocks noChangeShapeType="1"/>
          </p:cNvSpPr>
          <p:nvPr userDrawn="1"/>
        </p:nvSpPr>
        <p:spPr bwMode="auto">
          <a:xfrm>
            <a:off x="1439613" y="2972127"/>
            <a:ext cx="671713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lIns="59986" tIns="29993" rIns="59986" bIns="29993" anchor="ctr"/>
          <a:lstStyle/>
          <a:p>
            <a:endParaRPr lang="de-DE" sz="1237" dirty="0"/>
          </a:p>
        </p:txBody>
      </p:sp>
      <p:sp>
        <p:nvSpPr>
          <p:cNvPr id="54" name="Line 7"/>
          <p:cNvSpPr>
            <a:spLocks noChangeShapeType="1"/>
          </p:cNvSpPr>
          <p:nvPr userDrawn="1"/>
        </p:nvSpPr>
        <p:spPr bwMode="auto">
          <a:xfrm>
            <a:off x="1439613" y="3654081"/>
            <a:ext cx="671713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lIns="59986" tIns="29993" rIns="59986" bIns="29993" anchor="ctr"/>
          <a:lstStyle/>
          <a:p>
            <a:endParaRPr lang="de-DE" sz="1237" dirty="0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1439751" y="1127740"/>
            <a:ext cx="5741003" cy="416903"/>
          </a:xfrm>
        </p:spPr>
        <p:txBody>
          <a:bodyPr anchor="t"/>
          <a:lstStyle>
            <a:lvl1pPr>
              <a:defRPr/>
            </a:lvl1pPr>
          </a:lstStyle>
          <a:p>
            <a:r>
              <a:rPr lang="de-DE" dirty="0"/>
              <a:t>Titel / Title</a:t>
            </a:r>
          </a:p>
        </p:txBody>
      </p:sp>
      <p:sp>
        <p:nvSpPr>
          <p:cNvPr id="57" name="Rechteck 56"/>
          <p:cNvSpPr/>
          <p:nvPr userDrawn="1"/>
        </p:nvSpPr>
        <p:spPr>
          <a:xfrm rot="10800000">
            <a:off x="-2" y="5286638"/>
            <a:ext cx="9142412" cy="139996"/>
          </a:xfrm>
          <a:prstGeom prst="rect">
            <a:avLst/>
          </a:prstGeom>
          <a:gradFill>
            <a:gsLst>
              <a:gs pos="0">
                <a:srgbClr val="DCDCDC"/>
              </a:gs>
              <a:gs pos="100000">
                <a:schemeClr val="bg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37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2983091-0DB6-4B6F-9201-B8A539B6DA75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einer Textseite</a:t>
            </a:r>
            <a:br>
              <a:rPr lang="de-DE" dirty="0"/>
            </a:br>
            <a:r>
              <a:rPr lang="de-DE" dirty="0"/>
              <a:t>Headline of a text pag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P. </a:t>
            </a:r>
            <a:fld id="{A8CDDDD7-819A-44F5-B165-8E30F06F4F62}" type="slidenum">
              <a:rPr lang="de-DE" smtClean="0"/>
              <a:pPr/>
              <a:t>‹Nr.›</a:t>
            </a:fld>
            <a:r>
              <a:rPr lang="de-DE" dirty="0"/>
              <a:t>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539906" y="1905214"/>
            <a:ext cx="8350550" cy="3359222"/>
          </a:xfrm>
        </p:spPr>
        <p:txBody>
          <a:bodyPr/>
          <a:lstStyle>
            <a:lvl1pPr marL="227471" indent="-227471">
              <a:buClr>
                <a:schemeClr val="tx2"/>
              </a:buClr>
              <a:buFont typeface="Wingdings" pitchFamily="2" charset="2"/>
              <a:buChar char="§"/>
              <a:defRPr b="0" baseline="0"/>
            </a:lvl1pPr>
            <a:lvl2pPr>
              <a:buClr>
                <a:schemeClr val="tx2"/>
              </a:buCl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masterformate durch Klicken bearbeiten /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 /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/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/>
              <a:t>Vierte Ebene / </a:t>
            </a:r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/>
              <a:t>Fünfte Ebene / </a:t>
            </a:r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906" y="1606566"/>
            <a:ext cx="8350550" cy="29993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Textmasterformate durch Klicken bearbeiten /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u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097236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96956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gray">
          <a:xfrm>
            <a:off x="0" y="2"/>
            <a:ext cx="9142412" cy="1596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37"/>
          </a:p>
        </p:txBody>
      </p:sp>
      <p:sp>
        <p:nvSpPr>
          <p:cNvPr id="15" name="Rechteck 14"/>
          <p:cNvSpPr/>
          <p:nvPr userDrawn="1"/>
        </p:nvSpPr>
        <p:spPr>
          <a:xfrm>
            <a:off x="2" y="768172"/>
            <a:ext cx="9142411" cy="139996"/>
          </a:xfrm>
          <a:prstGeom prst="rect">
            <a:avLst/>
          </a:prstGeom>
          <a:gradFill>
            <a:gsLst>
              <a:gs pos="0">
                <a:srgbClr val="DCDCDC"/>
              </a:gs>
              <a:gs pos="100000">
                <a:schemeClr val="bg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37"/>
          </a:p>
        </p:txBody>
      </p:sp>
      <p:sp>
        <p:nvSpPr>
          <p:cNvPr id="17" name="Rechteck 1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908169"/>
            <a:ext cx="9142412" cy="4018257"/>
          </a:xfrm>
          <a:prstGeom prst="rect">
            <a:avLst/>
          </a:prstGeom>
          <a:gradFill rotWithShape="1">
            <a:gsLst>
              <a:gs pos="0">
                <a:srgbClr val="E8E8E8"/>
              </a:gs>
              <a:gs pos="100000">
                <a:srgbClr val="FAFAFA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979" tIns="89979" rIns="89979" bIns="89979"/>
          <a:lstStyle/>
          <a:p>
            <a:pPr>
              <a:defRPr/>
            </a:pPr>
            <a:endParaRPr lang="en-US" sz="1000" b="1" dirty="0">
              <a:latin typeface="Arial"/>
              <a:ea typeface="+mn-ea"/>
              <a:cs typeface="Arial"/>
            </a:endParaRPr>
          </a:p>
        </p:txBody>
      </p:sp>
      <p:sp>
        <p:nvSpPr>
          <p:cNvPr id="18" name="Rechteck 17"/>
          <p:cNvSpPr/>
          <p:nvPr userDrawn="1"/>
        </p:nvSpPr>
        <p:spPr>
          <a:xfrm rot="10800000">
            <a:off x="-2" y="4926425"/>
            <a:ext cx="9142412" cy="139996"/>
          </a:xfrm>
          <a:prstGeom prst="rect">
            <a:avLst/>
          </a:prstGeom>
          <a:gradFill>
            <a:gsLst>
              <a:gs pos="0">
                <a:srgbClr val="DCDCDC"/>
              </a:gs>
              <a:gs pos="100000">
                <a:schemeClr val="bg1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37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611894" y="1988540"/>
            <a:ext cx="4433893" cy="2668372"/>
          </a:xfrm>
        </p:spPr>
        <p:txBody>
          <a:bodyPr/>
          <a:lstStyle>
            <a:lvl1pPr>
              <a:spcBef>
                <a:spcPts val="25"/>
              </a:spcBef>
              <a:spcAft>
                <a:spcPts val="25"/>
              </a:spcAft>
              <a:defRPr sz="15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Seite für Statements</a:t>
            </a:r>
          </a:p>
          <a:p>
            <a:pPr lvl="0"/>
            <a:r>
              <a:rPr lang="de-DE" dirty="0"/>
              <a:t>Pag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atements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1895" y="1127740"/>
            <a:ext cx="7918625" cy="416903"/>
          </a:xfrm>
        </p:spPr>
        <p:txBody>
          <a:bodyPr anchor="t"/>
          <a:lstStyle>
            <a:lvl1pPr>
              <a:defRPr/>
            </a:lvl1pPr>
          </a:lstStyle>
          <a:p>
            <a:r>
              <a:rPr lang="de-DE" dirty="0"/>
              <a:t>Titel /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83091-0DB6-4B6F-9201-B8A539B6DA75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/ Title</a:t>
            </a:r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11894" y="1958547"/>
            <a:ext cx="7922224" cy="3329229"/>
          </a:xfrm>
        </p:spPr>
        <p:txBody>
          <a:bodyPr/>
          <a:lstStyle>
            <a:lvl1pPr marL="179860" indent="-179860">
              <a:buClr>
                <a:schemeClr val="accent6"/>
              </a:buClr>
              <a:buFont typeface="Wingdings 2" panose="05020102010507070707" pitchFamily="18" charset="2"/>
              <a:buChar char=""/>
              <a:defRPr b="0" baseline="0"/>
            </a:lvl1pPr>
            <a:lvl2pPr marL="190442" indent="-189120">
              <a:buClr>
                <a:schemeClr val="accent6"/>
              </a:buClr>
              <a:buFont typeface="Wingdings 2" panose="05020102010507070707" pitchFamily="18" charset="2"/>
              <a:buChar char=""/>
              <a:defRPr/>
            </a:lvl2pPr>
            <a:lvl3pPr>
              <a:defRPr/>
            </a:lvl3pPr>
            <a:lvl4pPr marL="581903" indent="-190442">
              <a:buClr>
                <a:schemeClr val="accent6"/>
              </a:buClr>
              <a:buFont typeface="Wingdings 2" panose="05020102010507070707" pitchFamily="18" charset="2"/>
              <a:buChar char=""/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masterformate durch Klicken bearbeiten /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 /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/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/>
              <a:t>Vierte Ebene / </a:t>
            </a:r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/>
              <a:t>Fünfte Ebene / </a:t>
            </a:r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1894" y="1597715"/>
            <a:ext cx="7922224" cy="30878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Textmasterformate durch Klicken bearbeiten /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us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2983091-0DB6-4B6F-9201-B8A539B6DA75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/ Title</a:t>
            </a:r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597714"/>
            <a:ext cx="9144000" cy="3479519"/>
          </a:xfrm>
          <a:solidFill>
            <a:schemeClr val="tx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612000" tIns="216000" rIns="612000" bIns="216000"/>
          <a:lstStyle>
            <a:lvl1pPr marL="179860" indent="-179860">
              <a:buClr>
                <a:schemeClr val="bg1"/>
              </a:buClr>
              <a:buFont typeface="Wingdings 2" panose="05020102010507070707" pitchFamily="18" charset="2"/>
              <a:buChar char=""/>
              <a:defRPr b="0" baseline="0">
                <a:solidFill>
                  <a:schemeClr val="bg1"/>
                </a:solidFill>
              </a:defRPr>
            </a:lvl1pPr>
            <a:lvl2pPr marL="190442" indent="-189120">
              <a:buClr>
                <a:schemeClr val="bg1"/>
              </a:buClr>
              <a:buFont typeface="Wingdings 2" panose="05020102010507070707" pitchFamily="18" charset="2"/>
              <a:buChar char=""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581903" indent="-190442">
              <a:buClr>
                <a:schemeClr val="bg1"/>
              </a:buClr>
              <a:buFont typeface="Wingdings 2" panose="05020102010507070707" pitchFamily="18" charset="2"/>
              <a:buChar char=""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e durch Klicken bearbeiten /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 /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/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/>
              <a:t>Vierte Ebene / </a:t>
            </a:r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/>
              <a:t>Fünfte Ebene / </a:t>
            </a:r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2983091-0DB6-4B6F-9201-B8A539B6DA75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77296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einer Textseite mit Bild</a:t>
            </a:r>
            <a:br>
              <a:rPr lang="de-DE" dirty="0"/>
            </a:br>
            <a:r>
              <a:rPr lang="de-DE" dirty="0"/>
              <a:t>Headline of a text pag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P. </a:t>
            </a:r>
            <a:fld id="{A8CDDDD7-819A-44F5-B165-8E30F06F4F62}" type="slidenum">
              <a:rPr lang="de-DE" smtClean="0"/>
              <a:pPr/>
              <a:t>‹Nr.›</a:t>
            </a:fld>
            <a:r>
              <a:rPr lang="de-DE" dirty="0"/>
              <a:t>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12667" y="1958548"/>
            <a:ext cx="5136308" cy="3329250"/>
          </a:xfrm>
        </p:spPr>
        <p:txBody>
          <a:bodyPr/>
          <a:lstStyle>
            <a:lvl1pPr marL="187797" indent="-187797">
              <a:buClr>
                <a:schemeClr val="accent6"/>
              </a:buClr>
              <a:buFont typeface="Wingdings 2" panose="05020102010507070707" pitchFamily="18" charset="2"/>
              <a:buChar char=""/>
              <a:defRPr b="0"/>
            </a:lvl1pPr>
            <a:lvl2pPr marL="190442" indent="-189120">
              <a:buClr>
                <a:schemeClr val="accent6"/>
              </a:buClr>
              <a:buFont typeface="Wingdings 2" panose="05020102010507070707" pitchFamily="18" charset="2"/>
              <a:buChar char=""/>
              <a:defRPr/>
            </a:lvl2pPr>
            <a:lvl4pPr marL="581903" indent="-190442">
              <a:buClr>
                <a:schemeClr val="accent6"/>
              </a:buClr>
              <a:buFont typeface="Wingdings 2" panose="05020102010507070707" pitchFamily="18" charset="2"/>
              <a:buChar char=""/>
              <a:defRPr/>
            </a:lvl4pPr>
          </a:lstStyle>
          <a:p>
            <a:pPr lvl="0"/>
            <a:r>
              <a:rPr lang="de-DE" dirty="0"/>
              <a:t>Textmasterformate durch Klicken bearbeiten /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 /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/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/>
              <a:t>Vierte Ebene / </a:t>
            </a:r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/>
              <a:t>Fünfte Ebene / </a:t>
            </a:r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6050549" y="1595631"/>
            <a:ext cx="3091863" cy="3173265"/>
          </a:xfrm>
        </p:spPr>
        <p:txBody>
          <a:bodyPr/>
          <a:lstStyle>
            <a:lvl1pPr>
              <a:defRPr sz="1333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11895" y="1597715"/>
            <a:ext cx="5137081" cy="30878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 Verbindung 16"/>
          <p:cNvCxnSpPr/>
          <p:nvPr userDrawn="1"/>
        </p:nvCxnSpPr>
        <p:spPr bwMode="auto">
          <a:xfrm rot="10800000" flipH="1" flipV="1">
            <a:off x="519762" y="2794522"/>
            <a:ext cx="1603945" cy="62978"/>
          </a:xfrm>
          <a:prstGeom prst="line">
            <a:avLst/>
          </a:prstGeom>
          <a:solidFill>
            <a:srgbClr val="E3E4E4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18"/>
          <p:cNvCxnSpPr/>
          <p:nvPr userDrawn="1"/>
        </p:nvCxnSpPr>
        <p:spPr bwMode="auto">
          <a:xfrm>
            <a:off x="702296" y="2857501"/>
            <a:ext cx="1421412" cy="1323"/>
          </a:xfrm>
          <a:prstGeom prst="line">
            <a:avLst/>
          </a:prstGeom>
          <a:solidFill>
            <a:srgbClr val="E3E4E4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11894" y="1595631"/>
            <a:ext cx="8316244" cy="539875"/>
          </a:xfr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de-DE" dirty="0"/>
              <a:t>Titel / Title</a:t>
            </a:r>
          </a:p>
        </p:txBody>
      </p:sp>
      <p:sp>
        <p:nvSpPr>
          <p:cNvPr id="14" name="Diagrammplatzhalter 13"/>
          <p:cNvSpPr>
            <a:spLocks noGrp="1"/>
          </p:cNvSpPr>
          <p:nvPr>
            <p:ph type="chart" sz="quarter" idx="15" hasCustomPrompt="1"/>
          </p:nvPr>
        </p:nvSpPr>
        <p:spPr>
          <a:xfrm>
            <a:off x="611895" y="2138504"/>
            <a:ext cx="7918625" cy="3149292"/>
          </a:xfrm>
        </p:spPr>
        <p:txBody>
          <a:bodyPr/>
          <a:lstStyle>
            <a:lvl1pPr>
              <a:defRPr b="0">
                <a:sym typeface="Wingdings" pitchFamily="2" charset="2"/>
              </a:defRPr>
            </a:lvl1pPr>
          </a:lstStyle>
          <a:p>
            <a:r>
              <a:rPr lang="de-DE" dirty="0"/>
              <a:t>Diagramm durch Klicken auf das Symbol hinzufügen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648485" y="5197218"/>
            <a:ext cx="2159625" cy="107975"/>
          </a:xfrm>
        </p:spPr>
        <p:txBody>
          <a:bodyPr/>
          <a:lstStyle>
            <a:lvl1pPr>
              <a:defRPr sz="666" b="0"/>
            </a:lvl1pPr>
          </a:lstStyle>
          <a:p>
            <a:pPr lvl="0"/>
            <a:r>
              <a:rPr lang="de-DE" dirty="0"/>
              <a:t>Source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/ Titl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2983091-0DB6-4B6F-9201-B8A539B6DA75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6456923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slide with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 Verbindung 16"/>
          <p:cNvCxnSpPr/>
          <p:nvPr userDrawn="1"/>
        </p:nvCxnSpPr>
        <p:spPr bwMode="auto">
          <a:xfrm rot="10800000" flipH="1" flipV="1">
            <a:off x="519762" y="2794522"/>
            <a:ext cx="1603945" cy="62978"/>
          </a:xfrm>
          <a:prstGeom prst="line">
            <a:avLst/>
          </a:prstGeom>
          <a:solidFill>
            <a:srgbClr val="E3E4E4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18"/>
          <p:cNvCxnSpPr/>
          <p:nvPr userDrawn="1"/>
        </p:nvCxnSpPr>
        <p:spPr bwMode="auto">
          <a:xfrm>
            <a:off x="702296" y="2857501"/>
            <a:ext cx="1421412" cy="1323"/>
          </a:xfrm>
          <a:prstGeom prst="line">
            <a:avLst/>
          </a:prstGeom>
          <a:solidFill>
            <a:srgbClr val="E3E4E4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11894" y="1595631"/>
            <a:ext cx="3826136" cy="539875"/>
          </a:xfr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de-DE" dirty="0"/>
              <a:t>Titel /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704384" y="1595631"/>
            <a:ext cx="4222067" cy="539875"/>
          </a:xfrm>
        </p:spPr>
        <p:txBody>
          <a:bodyPr/>
          <a:lstStyle>
            <a:lvl1pPr>
              <a:defRPr sz="1500" b="1"/>
            </a:lvl1pPr>
          </a:lstStyle>
          <a:p>
            <a:pPr lvl="0"/>
            <a:r>
              <a:rPr lang="de-DE" dirty="0"/>
              <a:t>Titel / Title</a:t>
            </a:r>
          </a:p>
        </p:txBody>
      </p:sp>
      <p:sp>
        <p:nvSpPr>
          <p:cNvPr id="14" name="Diagrammplatzhalter 13"/>
          <p:cNvSpPr>
            <a:spLocks noGrp="1"/>
          </p:cNvSpPr>
          <p:nvPr>
            <p:ph type="chart" sz="quarter" idx="15" hasCustomPrompt="1"/>
          </p:nvPr>
        </p:nvSpPr>
        <p:spPr>
          <a:xfrm>
            <a:off x="611895" y="2138504"/>
            <a:ext cx="3815337" cy="3149292"/>
          </a:xfrm>
        </p:spPr>
        <p:txBody>
          <a:bodyPr/>
          <a:lstStyle>
            <a:lvl1pPr>
              <a:defRPr b="0">
                <a:sym typeface="Wingdings" pitchFamily="2" charset="2"/>
              </a:defRPr>
            </a:lvl1pPr>
          </a:lstStyle>
          <a:p>
            <a:r>
              <a:rPr lang="de-DE" dirty="0"/>
              <a:t>Diagramm durch Klicken auf das Symbol hinzufügen</a:t>
            </a:r>
          </a:p>
        </p:txBody>
      </p:sp>
      <p:sp>
        <p:nvSpPr>
          <p:cNvPr id="16" name="Diagrammplatzhalter 15"/>
          <p:cNvSpPr>
            <a:spLocks noGrp="1"/>
          </p:cNvSpPr>
          <p:nvPr>
            <p:ph type="chart" sz="quarter" idx="16" hasCustomPrompt="1"/>
          </p:nvPr>
        </p:nvSpPr>
        <p:spPr>
          <a:xfrm>
            <a:off x="4704384" y="2138504"/>
            <a:ext cx="3829735" cy="3149292"/>
          </a:xfrm>
        </p:spPr>
        <p:txBody>
          <a:bodyPr/>
          <a:lstStyle>
            <a:lvl1pPr>
              <a:defRPr b="0">
                <a:sym typeface="Wingdings" pitchFamily="2" charset="2"/>
              </a:defRPr>
            </a:lvl1pPr>
          </a:lstStyle>
          <a:p>
            <a:r>
              <a:rPr lang="de-DE" dirty="0"/>
              <a:t>Diagramm durch Klicken auf das Symbol hinzufügen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612249" y="5197218"/>
            <a:ext cx="2159625" cy="107975"/>
          </a:xfrm>
        </p:spPr>
        <p:txBody>
          <a:bodyPr/>
          <a:lstStyle>
            <a:lvl1pPr>
              <a:defRPr sz="666" b="0"/>
            </a:lvl1pPr>
          </a:lstStyle>
          <a:p>
            <a:pPr lvl="0"/>
            <a:r>
              <a:rPr lang="de-DE" dirty="0"/>
              <a:t>Source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/ Titl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2983091-0DB6-4B6F-9201-B8A539B6DA75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2669" y="1605649"/>
            <a:ext cx="7918663" cy="3682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50" name="Rectangle 26"/>
          <p:cNvSpPr>
            <a:spLocks noGrp="1" noChangeArrowheads="1"/>
          </p:cNvSpPr>
          <p:nvPr>
            <p:ph type="title"/>
          </p:nvPr>
        </p:nvSpPr>
        <p:spPr bwMode="auto">
          <a:xfrm>
            <a:off x="1439750" y="179959"/>
            <a:ext cx="7486700" cy="8578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 / Title</a:t>
            </a:r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30520" y="5485730"/>
            <a:ext cx="395931" cy="14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666">
                <a:solidFill>
                  <a:schemeClr val="tx2"/>
                </a:solidFill>
              </a:defRPr>
            </a:lvl1pPr>
          </a:lstStyle>
          <a:p>
            <a:fld id="{F2983091-0DB6-4B6F-9201-B8A539B6DA75}" type="slidenum">
              <a:rPr lang="de-DE" smtClean="0"/>
              <a:pPr/>
              <a:t>‹Nr.›</a:t>
            </a:fld>
            <a:r>
              <a:rPr lang="de-DE"/>
              <a:t> </a:t>
            </a:r>
            <a:endParaRPr lang="de-DE" dirty="0"/>
          </a:p>
        </p:txBody>
      </p:sp>
      <p:sp>
        <p:nvSpPr>
          <p:cNvPr id="1065" name="Rectangle 41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240064" y="5485730"/>
            <a:ext cx="4294054" cy="14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666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19" cstate="print"/>
          <a:srcRect l="8798"/>
          <a:stretch/>
        </p:blipFill>
        <p:spPr>
          <a:xfrm>
            <a:off x="1" y="163597"/>
            <a:ext cx="1280897" cy="867584"/>
          </a:xfrm>
          <a:prstGeom prst="rect">
            <a:avLst/>
          </a:prstGeom>
        </p:spPr>
      </p:pic>
      <p:sp>
        <p:nvSpPr>
          <p:cNvPr id="11" name="Text Box 10"/>
          <p:cNvSpPr txBox="1">
            <a:spLocks noChangeArrowheads="1"/>
          </p:cNvSpPr>
          <p:nvPr/>
        </p:nvSpPr>
        <p:spPr bwMode="auto">
          <a:xfrm>
            <a:off x="835687" y="5485183"/>
            <a:ext cx="2224455" cy="9733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lvl="0" defTabSz="667866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66" spc="58" baseline="0" dirty="0">
                <a:solidFill>
                  <a:schemeClr val="tx2"/>
                </a:solidFill>
                <a:latin typeface="+mn-lt"/>
                <a:cs typeface="Arial"/>
              </a:rPr>
              <a:t>AIRPLUS. YOUR </a:t>
            </a:r>
            <a:r>
              <a:rPr lang="en-US" sz="666" b="1" spc="58" baseline="0" dirty="0">
                <a:solidFill>
                  <a:schemeClr val="tx2"/>
                </a:solidFill>
                <a:latin typeface="+mn-lt"/>
                <a:cs typeface="Arial"/>
              </a:rPr>
              <a:t>TRAVEL PAYMENT</a:t>
            </a:r>
            <a:r>
              <a:rPr lang="en-US" sz="666" spc="58" baseline="0" dirty="0">
                <a:solidFill>
                  <a:schemeClr val="tx2"/>
                </a:solidFill>
                <a:latin typeface="+mn-lt"/>
                <a:cs typeface="Arial"/>
              </a:rPr>
              <a:t> COMPANY.</a:t>
            </a:r>
            <a:endParaRPr lang="de-DE" sz="666" spc="58" baseline="0" dirty="0">
              <a:solidFill>
                <a:schemeClr val="tx2"/>
              </a:solidFill>
              <a:latin typeface="+mn-lt"/>
              <a:cs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744" r:id="rId2"/>
    <p:sldLayoutId id="2147483664" r:id="rId3"/>
    <p:sldLayoutId id="2147483743" r:id="rId4"/>
    <p:sldLayoutId id="2147483652" r:id="rId5"/>
    <p:sldLayoutId id="2147483745" r:id="rId6"/>
    <p:sldLayoutId id="2147483730" r:id="rId7"/>
    <p:sldLayoutId id="2147483747" r:id="rId8"/>
    <p:sldLayoutId id="2147483682" r:id="rId9"/>
    <p:sldLayoutId id="2147483684" r:id="rId10"/>
    <p:sldLayoutId id="2147483749" r:id="rId11"/>
    <p:sldLayoutId id="2147483750" r:id="rId12"/>
    <p:sldLayoutId id="2147483751" r:id="rId13"/>
    <p:sldLayoutId id="2147483748" r:id="rId14"/>
    <p:sldLayoutId id="2147483746" r:id="rId15"/>
    <p:sldLayoutId id="2147483769" r:id="rId16"/>
    <p:sldLayoutId id="2147483770" r:id="rId17"/>
  </p:sldLayoutIdLst>
  <p:transition/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99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99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99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99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99" b="1">
          <a:solidFill>
            <a:schemeClr val="tx2"/>
          </a:solidFill>
          <a:latin typeface="Arial" charset="0"/>
        </a:defRPr>
      </a:lvl5pPr>
      <a:lvl6pPr marL="38088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99" b="1">
          <a:solidFill>
            <a:schemeClr val="tx2"/>
          </a:solidFill>
          <a:latin typeface="Arial" charset="0"/>
        </a:defRPr>
      </a:lvl6pPr>
      <a:lvl7pPr marL="76176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99" b="1">
          <a:solidFill>
            <a:schemeClr val="tx2"/>
          </a:solidFill>
          <a:latin typeface="Arial" charset="0"/>
        </a:defRPr>
      </a:lvl7pPr>
      <a:lvl8pPr marL="114264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99" b="1">
          <a:solidFill>
            <a:schemeClr val="tx2"/>
          </a:solidFill>
          <a:latin typeface="Arial" charset="0"/>
        </a:defRPr>
      </a:lvl8pPr>
      <a:lvl9pPr marL="152352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99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0"/>
        </a:spcBef>
        <a:spcAft>
          <a:spcPts val="1000"/>
        </a:spcAft>
        <a:tabLst>
          <a:tab pos="6471024" algn="r"/>
        </a:tabLs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190442" indent="-189120" algn="l" rtl="0" eaLnBrk="1" fontAlgn="base" hangingPunct="1">
        <a:spcBef>
          <a:spcPts val="0"/>
        </a:spcBef>
        <a:spcAft>
          <a:spcPts val="1000"/>
        </a:spcAft>
        <a:buClr>
          <a:schemeClr val="accent6"/>
        </a:buClr>
        <a:buFont typeface="Wingdings 2" panose="05020102010507070707" pitchFamily="18" charset="2"/>
        <a:buChar char=""/>
        <a:tabLst>
          <a:tab pos="6471024" algn="r"/>
        </a:tabLst>
        <a:defRPr>
          <a:solidFill>
            <a:schemeClr val="tx1"/>
          </a:solidFill>
          <a:latin typeface="+mn-lt"/>
        </a:defRPr>
      </a:lvl2pPr>
      <a:lvl3pPr marL="380882" indent="-190442" algn="l" rtl="0" eaLnBrk="1" fontAlgn="base" hangingPunct="1">
        <a:spcBef>
          <a:spcPts val="0"/>
        </a:spcBef>
        <a:spcAft>
          <a:spcPts val="1000"/>
        </a:spcAft>
        <a:buClr>
          <a:schemeClr val="accent6"/>
        </a:buClr>
        <a:buSzPct val="100000"/>
        <a:buFont typeface="Arial" panose="020B0604020202020204" pitchFamily="34" charset="0"/>
        <a:buChar char="−"/>
        <a:tabLst>
          <a:tab pos="6471024" algn="r"/>
        </a:tabLst>
        <a:defRPr>
          <a:solidFill>
            <a:schemeClr val="tx1"/>
          </a:solidFill>
          <a:latin typeface="+mn-lt"/>
        </a:defRPr>
      </a:lvl3pPr>
      <a:lvl4pPr marL="581903" indent="-190442" algn="l" rtl="0" eaLnBrk="1" fontAlgn="base" hangingPunct="1">
        <a:spcBef>
          <a:spcPts val="0"/>
        </a:spcBef>
        <a:spcAft>
          <a:spcPts val="1000"/>
        </a:spcAft>
        <a:buClr>
          <a:schemeClr val="accent6"/>
        </a:buClr>
        <a:buFont typeface="Wingdings 2" panose="05020102010507070707" pitchFamily="18" charset="2"/>
        <a:buChar char=""/>
        <a:tabLst>
          <a:tab pos="6471024" algn="r"/>
        </a:tabLst>
        <a:defRPr>
          <a:solidFill>
            <a:schemeClr val="tx1"/>
          </a:solidFill>
          <a:latin typeface="+mn-lt"/>
        </a:defRPr>
      </a:lvl4pPr>
      <a:lvl5pPr marL="756473" indent="-195731" algn="l" rtl="0" eaLnBrk="1" fontAlgn="base" hangingPunct="1">
        <a:spcBef>
          <a:spcPts val="0"/>
        </a:spcBef>
        <a:spcAft>
          <a:spcPts val="1000"/>
        </a:spcAft>
        <a:buClr>
          <a:schemeClr val="accent6"/>
        </a:buClr>
        <a:buSzPct val="100000"/>
        <a:buFont typeface="Arial" panose="020B0604020202020204" pitchFamily="34" charset="0"/>
        <a:buChar char="−"/>
        <a:tabLst>
          <a:tab pos="6471024" algn="r"/>
        </a:tabLst>
        <a:defRPr>
          <a:solidFill>
            <a:schemeClr val="tx1"/>
          </a:solidFill>
          <a:latin typeface="+mn-lt"/>
        </a:defRPr>
      </a:lvl5pPr>
      <a:lvl6pPr marL="1331764" indent="-232761" algn="l" rtl="0" eaLnBrk="1" fontAlgn="base" hangingPunct="1">
        <a:spcBef>
          <a:spcPct val="30000"/>
        </a:spcBef>
        <a:spcAft>
          <a:spcPct val="30000"/>
        </a:spcAft>
        <a:buClr>
          <a:schemeClr val="tx1"/>
        </a:buClr>
        <a:buSzPct val="40000"/>
        <a:buFont typeface="Wingdings" pitchFamily="2" charset="2"/>
        <a:buChar char="¨"/>
        <a:tabLst>
          <a:tab pos="6471024" algn="r"/>
        </a:tabLst>
        <a:defRPr>
          <a:solidFill>
            <a:schemeClr val="tx1"/>
          </a:solidFill>
          <a:latin typeface="+mn-lt"/>
        </a:defRPr>
      </a:lvl6pPr>
      <a:lvl7pPr marL="1712646" indent="-232761" algn="l" rtl="0" eaLnBrk="1" fontAlgn="base" hangingPunct="1">
        <a:spcBef>
          <a:spcPct val="30000"/>
        </a:spcBef>
        <a:spcAft>
          <a:spcPct val="30000"/>
        </a:spcAft>
        <a:buClr>
          <a:schemeClr val="tx1"/>
        </a:buClr>
        <a:buSzPct val="40000"/>
        <a:buFont typeface="Wingdings" pitchFamily="2" charset="2"/>
        <a:buChar char="¨"/>
        <a:tabLst>
          <a:tab pos="6471024" algn="r"/>
        </a:tabLst>
        <a:defRPr>
          <a:solidFill>
            <a:schemeClr val="tx1"/>
          </a:solidFill>
          <a:latin typeface="+mn-lt"/>
        </a:defRPr>
      </a:lvl7pPr>
      <a:lvl8pPr marL="2093528" indent="-232761" algn="l" rtl="0" eaLnBrk="1" fontAlgn="base" hangingPunct="1">
        <a:spcBef>
          <a:spcPct val="30000"/>
        </a:spcBef>
        <a:spcAft>
          <a:spcPct val="30000"/>
        </a:spcAft>
        <a:buClr>
          <a:schemeClr val="tx1"/>
        </a:buClr>
        <a:buSzPct val="40000"/>
        <a:buFont typeface="Wingdings" pitchFamily="2" charset="2"/>
        <a:buChar char="¨"/>
        <a:tabLst>
          <a:tab pos="6471024" algn="r"/>
        </a:tabLst>
        <a:defRPr>
          <a:solidFill>
            <a:schemeClr val="tx1"/>
          </a:solidFill>
          <a:latin typeface="+mn-lt"/>
        </a:defRPr>
      </a:lvl8pPr>
      <a:lvl9pPr marL="2474409" indent="-232761" algn="l" rtl="0" eaLnBrk="1" fontAlgn="base" hangingPunct="1">
        <a:spcBef>
          <a:spcPct val="30000"/>
        </a:spcBef>
        <a:spcAft>
          <a:spcPct val="30000"/>
        </a:spcAft>
        <a:buClr>
          <a:schemeClr val="tx1"/>
        </a:buClr>
        <a:buSzPct val="40000"/>
        <a:buFont typeface="Wingdings" pitchFamily="2" charset="2"/>
        <a:buChar char="¨"/>
        <a:tabLst>
          <a:tab pos="6471024" algn="r"/>
        </a:tabLst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76176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882" algn="l" defTabSz="76176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764" algn="l" defTabSz="76176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646" algn="l" defTabSz="76176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527" algn="l" defTabSz="76176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410" algn="l" defTabSz="76176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292" algn="l" defTabSz="76176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172" algn="l" defTabSz="76176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056" algn="l" defTabSz="76176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04272"/>
            <a:ext cx="7886700" cy="11046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521355"/>
            <a:ext cx="7886700" cy="36261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2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pPr/>
              <a:t>‹Nr.›</a:t>
            </a:fld>
            <a:endParaRPr lang="en-US" dirty="0"/>
          </a:p>
        </p:txBody>
      </p:sp>
      <p:sp>
        <p:nvSpPr>
          <p:cNvPr id="7" name="Rectangle 39"/>
          <p:cNvSpPr txBox="1">
            <a:spLocks noChangeArrowheads="1"/>
          </p:cNvSpPr>
          <p:nvPr userDrawn="1"/>
        </p:nvSpPr>
        <p:spPr bwMode="auto">
          <a:xfrm>
            <a:off x="8532002" y="5487002"/>
            <a:ext cx="396000" cy="14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61916" fontAlgn="base"/>
            <a:fld id="{F2983091-0DB6-4B6F-9201-B8A539B6DA75}" type="slidenum">
              <a:rPr lang="de-DE" sz="666" smtClean="0">
                <a:solidFill>
                  <a:srgbClr val="004687"/>
                </a:solidFill>
                <a:latin typeface="Arial" charset="0"/>
              </a:rPr>
              <a:pPr defTabSz="761916" fontAlgn="base"/>
              <a:t>‹Nr.›</a:t>
            </a:fld>
            <a:r>
              <a:rPr lang="de-DE" sz="666" dirty="0">
                <a:solidFill>
                  <a:srgbClr val="004687"/>
                </a:solidFill>
                <a:latin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7759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6" r:id="rId13"/>
    <p:sldLayoutId id="2147483767" r:id="rId14"/>
  </p:sldLayoutIdLst>
  <p:hf hdr="0" ftr="0" dt="0"/>
  <p:txStyles>
    <p:titleStyle>
      <a:lvl1pPr algn="l" defTabSz="761916" rtl="0" eaLnBrk="1" latinLnBrk="0" hangingPunct="1">
        <a:lnSpc>
          <a:spcPct val="90000"/>
        </a:lnSpc>
        <a:spcBef>
          <a:spcPct val="0"/>
        </a:spcBef>
        <a:buNone/>
        <a:defRPr sz="366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0479" indent="-190479" algn="l" defTabSz="761916" rtl="0" eaLnBrk="1" latinLnBrk="0" hangingPunct="1">
        <a:lnSpc>
          <a:spcPct val="90000"/>
        </a:lnSpc>
        <a:spcBef>
          <a:spcPts val="833"/>
        </a:spcBef>
        <a:buFont typeface="Arial" panose="020B0604020202020204" pitchFamily="34" charset="0"/>
        <a:buChar char="•"/>
        <a:defRPr sz="2334" kern="1200">
          <a:solidFill>
            <a:schemeClr val="tx1"/>
          </a:solidFill>
          <a:latin typeface="+mn-lt"/>
          <a:ea typeface="+mn-ea"/>
          <a:cs typeface="+mn-cs"/>
        </a:defRPr>
      </a:lvl1pPr>
      <a:lvl2pPr marL="571437" indent="-190479" algn="l" defTabSz="761916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2pPr>
      <a:lvl3pPr marL="952396" indent="-190479" algn="l" defTabSz="761916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666" kern="1200">
          <a:solidFill>
            <a:schemeClr val="tx1"/>
          </a:solidFill>
          <a:latin typeface="+mn-lt"/>
          <a:ea typeface="+mn-ea"/>
          <a:cs typeface="+mn-cs"/>
        </a:defRPr>
      </a:lvl3pPr>
      <a:lvl4pPr marL="1333353" indent="-190479" algn="l" defTabSz="761916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14311" indent="-190479" algn="l" defTabSz="761916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095269" indent="-190479" algn="l" defTabSz="761916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226" indent="-190479" algn="l" defTabSz="761916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185" indent="-190479" algn="l" defTabSz="761916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144" indent="-190479" algn="l" defTabSz="761916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1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57" algn="l" defTabSz="76191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16" algn="l" defTabSz="76191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873" algn="l" defTabSz="76191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832" algn="l" defTabSz="76191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790" algn="l" defTabSz="76191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748" algn="l" defTabSz="76191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706" algn="l" defTabSz="76191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665" algn="l" defTabSz="76191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5.png"/><Relationship Id="rId18" Type="http://schemas.openxmlformats.org/officeDocument/2006/relationships/image" Target="../media/image28.svg"/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12" Type="http://schemas.openxmlformats.org/officeDocument/2006/relationships/image" Target="../media/image14.png"/><Relationship Id="rId17" Type="http://schemas.openxmlformats.org/officeDocument/2006/relationships/image" Target="../media/image18.png"/><Relationship Id="rId2" Type="http://schemas.openxmlformats.org/officeDocument/2006/relationships/image" Target="../media/image9.png"/><Relationship Id="rId16" Type="http://schemas.openxmlformats.org/officeDocument/2006/relationships/image" Target="../media/image26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.png"/><Relationship Id="rId11" Type="http://schemas.openxmlformats.org/officeDocument/2006/relationships/image" Target="../media/image13.png"/><Relationship Id="rId5" Type="http://schemas.openxmlformats.org/officeDocument/2006/relationships/image" Target="../media/image16.svg"/><Relationship Id="rId15" Type="http://schemas.openxmlformats.org/officeDocument/2006/relationships/image" Target="../media/image17.png"/><Relationship Id="rId10" Type="http://schemas.openxmlformats.org/officeDocument/2006/relationships/image" Target="../media/image5.png"/><Relationship Id="rId4" Type="http://schemas.openxmlformats.org/officeDocument/2006/relationships/image" Target="../media/image10.png"/><Relationship Id="rId9" Type="http://schemas.openxmlformats.org/officeDocument/2006/relationships/image" Target="../media/image20.svg"/><Relationship Id="rId1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6" Type="http://schemas.openxmlformats.org/officeDocument/2006/relationships/image" Target="../media/image26.sv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9"/>
          <p:cNvPicPr>
            <a:picLocks noChangeAspect="1"/>
          </p:cNvPicPr>
          <p:nvPr/>
        </p:nvPicPr>
        <p:blipFill rotWithShape="1">
          <a:blip r:embed="rId3" cstate="print"/>
          <a:srcRect t="16334"/>
          <a:stretch/>
        </p:blipFill>
        <p:spPr>
          <a:xfrm>
            <a:off x="0" y="-22820"/>
            <a:ext cx="9144000" cy="5737820"/>
          </a:xfrm>
          <a:prstGeom prst="rect">
            <a:avLst/>
          </a:prstGeom>
          <a:noFill/>
        </p:spPr>
      </p:pic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004687"/>
                </a:solidFill>
                <a:latin typeface="Arial" pitchFamily="34" charset="0"/>
                <a:cs typeface="Arial" pitchFamily="34" charset="0"/>
              </a:rPr>
              <a:t>Merchant agreements for payment acceptance on the Blockchain</a:t>
            </a:r>
            <a:br>
              <a:rPr lang="en-US" b="1" dirty="0">
                <a:solidFill>
                  <a:srgbClr val="004687"/>
                </a:solidFill>
                <a:latin typeface="Arial" pitchFamily="34" charset="0"/>
                <a:cs typeface="Arial" pitchFamily="34" charset="0"/>
              </a:rPr>
            </a:br>
            <a:endParaRPr lang="en-US" b="1" dirty="0">
              <a:solidFill>
                <a:srgbClr val="00468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2426574" y="4081637"/>
            <a:ext cx="6106240" cy="910180"/>
          </a:xfrm>
        </p:spPr>
        <p:txBody>
          <a:bodyPr>
            <a:noAutofit/>
          </a:bodyPr>
          <a:lstStyle/>
          <a:p>
            <a:r>
              <a:rPr lang="en-US" sz="1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…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305675" y="1"/>
            <a:ext cx="1227139" cy="708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91093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platzhalter 7"/>
          <p:cNvPicPr>
            <a:picLocks noChangeAspect="1"/>
          </p:cNvPicPr>
          <p:nvPr/>
        </p:nvPicPr>
        <p:blipFill rotWithShape="1">
          <a:blip r:embed="rId3" cstate="print"/>
          <a:srcRect b="16339"/>
          <a:stretch/>
        </p:blipFill>
        <p:spPr bwMode="auto">
          <a:xfrm>
            <a:off x="0" y="330"/>
            <a:ext cx="9144000" cy="5737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extplatzhalter 13"/>
          <p:cNvSpPr txBox="1">
            <a:spLocks/>
          </p:cNvSpPr>
          <p:nvPr/>
        </p:nvSpPr>
        <p:spPr bwMode="auto">
          <a:xfrm>
            <a:off x="1524440" y="3382404"/>
            <a:ext cx="7619560" cy="2153876"/>
          </a:xfrm>
          <a:prstGeom prst="rect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149991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1200"/>
              </a:spcAft>
              <a:buNone/>
              <a:tabLst>
                <a:tab pos="7767638" algn="r"/>
              </a:tabLst>
              <a:defRPr sz="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28600" indent="-227013" algn="l" rtl="0" eaLnBrk="1" fontAlgn="base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Wingdings 2" panose="05020102010507070707" pitchFamily="18" charset="2"/>
              <a:buChar char=""/>
              <a:tabLst>
                <a:tab pos="7767638" algn="r"/>
              </a:tabLst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 algn="l" rtl="0" eaLnBrk="1" fontAlgn="base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−"/>
              <a:tabLst>
                <a:tab pos="7767638" algn="r"/>
              </a:tabLst>
              <a:defRPr>
                <a:solidFill>
                  <a:schemeClr val="tx1"/>
                </a:solidFill>
                <a:latin typeface="+mn-lt"/>
              </a:defRPr>
            </a:lvl3pPr>
            <a:lvl4pPr marL="698500" indent="-228600" algn="l" rtl="0" eaLnBrk="1" fontAlgn="base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Wingdings 2" panose="05020102010507070707" pitchFamily="18" charset="2"/>
              <a:buChar char=""/>
              <a:tabLst>
                <a:tab pos="7767638" algn="r"/>
              </a:tabLst>
              <a:defRPr>
                <a:solidFill>
                  <a:schemeClr val="tx1"/>
                </a:solidFill>
                <a:latin typeface="+mn-lt"/>
              </a:defRPr>
            </a:lvl4pPr>
            <a:lvl5pPr marL="908050" indent="-234950" algn="l" rtl="0" eaLnBrk="1" fontAlgn="base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−"/>
              <a:tabLst>
                <a:tab pos="7767638" algn="r"/>
              </a:tabLst>
              <a:defRPr>
                <a:solidFill>
                  <a:schemeClr val="tx1"/>
                </a:solidFill>
                <a:latin typeface="+mn-lt"/>
              </a:defRPr>
            </a:lvl5pPr>
            <a:lvl6pPr marL="1598613" indent="-279400" algn="l" rtl="0" eaLnBrk="1" fontAlgn="base" hangingPunct="1">
              <a:spcBef>
                <a:spcPct val="30000"/>
              </a:spcBef>
              <a:spcAft>
                <a:spcPct val="30000"/>
              </a:spcAft>
              <a:buClr>
                <a:schemeClr val="tx1"/>
              </a:buClr>
              <a:buSzPct val="40000"/>
              <a:buFont typeface="Wingdings" pitchFamily="2" charset="2"/>
              <a:buChar char="¨"/>
              <a:tabLst>
                <a:tab pos="7767638" algn="r"/>
              </a:tabLst>
              <a:defRPr>
                <a:solidFill>
                  <a:schemeClr val="tx1"/>
                </a:solidFill>
                <a:latin typeface="+mn-lt"/>
              </a:defRPr>
            </a:lvl6pPr>
            <a:lvl7pPr marL="2055813" indent="-279400" algn="l" rtl="0" eaLnBrk="1" fontAlgn="base" hangingPunct="1">
              <a:spcBef>
                <a:spcPct val="30000"/>
              </a:spcBef>
              <a:spcAft>
                <a:spcPct val="30000"/>
              </a:spcAft>
              <a:buClr>
                <a:schemeClr val="tx1"/>
              </a:buClr>
              <a:buSzPct val="40000"/>
              <a:buFont typeface="Wingdings" pitchFamily="2" charset="2"/>
              <a:buChar char="¨"/>
              <a:tabLst>
                <a:tab pos="7767638" algn="r"/>
              </a:tabLst>
              <a:defRPr>
                <a:solidFill>
                  <a:schemeClr val="tx1"/>
                </a:solidFill>
                <a:latin typeface="+mn-lt"/>
              </a:defRPr>
            </a:lvl7pPr>
            <a:lvl8pPr marL="2513013" indent="-279400" algn="l" rtl="0" eaLnBrk="1" fontAlgn="base" hangingPunct="1">
              <a:spcBef>
                <a:spcPct val="30000"/>
              </a:spcBef>
              <a:spcAft>
                <a:spcPct val="30000"/>
              </a:spcAft>
              <a:buClr>
                <a:schemeClr val="tx1"/>
              </a:buClr>
              <a:buSzPct val="40000"/>
              <a:buFont typeface="Wingdings" pitchFamily="2" charset="2"/>
              <a:buChar char="¨"/>
              <a:tabLst>
                <a:tab pos="7767638" algn="r"/>
              </a:tabLst>
              <a:defRPr>
                <a:solidFill>
                  <a:schemeClr val="tx1"/>
                </a:solidFill>
                <a:latin typeface="+mn-lt"/>
              </a:defRPr>
            </a:lvl8pPr>
            <a:lvl9pPr marL="2970213" indent="-279400" algn="l" rtl="0" eaLnBrk="1" fontAlgn="base" hangingPunct="1">
              <a:spcBef>
                <a:spcPct val="30000"/>
              </a:spcBef>
              <a:spcAft>
                <a:spcPct val="30000"/>
              </a:spcAft>
              <a:buClr>
                <a:schemeClr val="tx1"/>
              </a:buClr>
              <a:buSzPct val="40000"/>
              <a:buFont typeface="Wingdings" pitchFamily="2" charset="2"/>
              <a:buChar char="¨"/>
              <a:tabLst>
                <a:tab pos="7767638" algn="r"/>
              </a:tabLst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761916">
              <a:lnSpc>
                <a:spcPct val="100000"/>
              </a:lnSpc>
              <a:tabLst>
                <a:tab pos="6472320" algn="r"/>
              </a:tabLst>
              <a:defRPr/>
            </a:pPr>
            <a:endParaRPr lang="de-DE" sz="333" kern="0" dirty="0">
              <a:solidFill>
                <a:sysClr val="window" lastClr="FFFFFF"/>
              </a:solidFill>
              <a:latin typeface="Arial"/>
            </a:endParaRPr>
          </a:p>
        </p:txBody>
      </p:sp>
      <p:sp>
        <p:nvSpPr>
          <p:cNvPr id="16" name="Textplatzhalter 8"/>
          <p:cNvSpPr txBox="1">
            <a:spLocks/>
          </p:cNvSpPr>
          <p:nvPr/>
        </p:nvSpPr>
        <p:spPr bwMode="auto">
          <a:xfrm>
            <a:off x="6849932" y="166"/>
            <a:ext cx="1229929" cy="70795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149991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1200"/>
              </a:spcAft>
              <a:buNone/>
              <a:tabLst>
                <a:tab pos="7767638" algn="r"/>
              </a:tabLst>
              <a:defRPr sz="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28600" indent="-227013" algn="l" rtl="0" eaLnBrk="1" fontAlgn="base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Wingdings 2" panose="05020102010507070707" pitchFamily="18" charset="2"/>
              <a:buChar char=""/>
              <a:tabLst>
                <a:tab pos="7767638" algn="r"/>
              </a:tabLst>
              <a:defRPr>
                <a:solidFill>
                  <a:schemeClr val="tx1"/>
                </a:solidFill>
                <a:latin typeface="+mn-lt"/>
              </a:defRPr>
            </a:lvl2pPr>
            <a:lvl3pPr marL="457200" indent="-228600" algn="l" rtl="0" eaLnBrk="1" fontAlgn="base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−"/>
              <a:tabLst>
                <a:tab pos="7767638" algn="r"/>
              </a:tabLst>
              <a:defRPr>
                <a:solidFill>
                  <a:schemeClr val="tx1"/>
                </a:solidFill>
                <a:latin typeface="+mn-lt"/>
              </a:defRPr>
            </a:lvl3pPr>
            <a:lvl4pPr marL="698500" indent="-228600" algn="l" rtl="0" eaLnBrk="1" fontAlgn="base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Wingdings 2" panose="05020102010507070707" pitchFamily="18" charset="2"/>
              <a:buChar char=""/>
              <a:tabLst>
                <a:tab pos="7767638" algn="r"/>
              </a:tabLst>
              <a:defRPr>
                <a:solidFill>
                  <a:schemeClr val="tx1"/>
                </a:solidFill>
                <a:latin typeface="+mn-lt"/>
              </a:defRPr>
            </a:lvl4pPr>
            <a:lvl5pPr marL="908050" indent="-234950" algn="l" rtl="0" eaLnBrk="1" fontAlgn="base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−"/>
              <a:tabLst>
                <a:tab pos="7767638" algn="r"/>
              </a:tabLst>
              <a:defRPr>
                <a:solidFill>
                  <a:schemeClr val="tx1"/>
                </a:solidFill>
                <a:latin typeface="+mn-lt"/>
              </a:defRPr>
            </a:lvl5pPr>
            <a:lvl6pPr marL="1598613" indent="-279400" algn="l" rtl="0" eaLnBrk="1" fontAlgn="base" hangingPunct="1">
              <a:spcBef>
                <a:spcPct val="30000"/>
              </a:spcBef>
              <a:spcAft>
                <a:spcPct val="30000"/>
              </a:spcAft>
              <a:buClr>
                <a:schemeClr val="tx1"/>
              </a:buClr>
              <a:buSzPct val="40000"/>
              <a:buFont typeface="Wingdings" pitchFamily="2" charset="2"/>
              <a:buChar char="¨"/>
              <a:tabLst>
                <a:tab pos="7767638" algn="r"/>
              </a:tabLst>
              <a:defRPr>
                <a:solidFill>
                  <a:schemeClr val="tx1"/>
                </a:solidFill>
                <a:latin typeface="+mn-lt"/>
              </a:defRPr>
            </a:lvl6pPr>
            <a:lvl7pPr marL="2055813" indent="-279400" algn="l" rtl="0" eaLnBrk="1" fontAlgn="base" hangingPunct="1">
              <a:spcBef>
                <a:spcPct val="30000"/>
              </a:spcBef>
              <a:spcAft>
                <a:spcPct val="30000"/>
              </a:spcAft>
              <a:buClr>
                <a:schemeClr val="tx1"/>
              </a:buClr>
              <a:buSzPct val="40000"/>
              <a:buFont typeface="Wingdings" pitchFamily="2" charset="2"/>
              <a:buChar char="¨"/>
              <a:tabLst>
                <a:tab pos="7767638" algn="r"/>
              </a:tabLst>
              <a:defRPr>
                <a:solidFill>
                  <a:schemeClr val="tx1"/>
                </a:solidFill>
                <a:latin typeface="+mn-lt"/>
              </a:defRPr>
            </a:lvl7pPr>
            <a:lvl8pPr marL="2513013" indent="-279400" algn="l" rtl="0" eaLnBrk="1" fontAlgn="base" hangingPunct="1">
              <a:spcBef>
                <a:spcPct val="30000"/>
              </a:spcBef>
              <a:spcAft>
                <a:spcPct val="30000"/>
              </a:spcAft>
              <a:buClr>
                <a:schemeClr val="tx1"/>
              </a:buClr>
              <a:buSzPct val="40000"/>
              <a:buFont typeface="Wingdings" pitchFamily="2" charset="2"/>
              <a:buChar char="¨"/>
              <a:tabLst>
                <a:tab pos="7767638" algn="r"/>
              </a:tabLst>
              <a:defRPr>
                <a:solidFill>
                  <a:schemeClr val="tx1"/>
                </a:solidFill>
                <a:latin typeface="+mn-lt"/>
              </a:defRPr>
            </a:lvl8pPr>
            <a:lvl9pPr marL="2970213" indent="-279400" algn="l" rtl="0" eaLnBrk="1" fontAlgn="base" hangingPunct="1">
              <a:spcBef>
                <a:spcPct val="30000"/>
              </a:spcBef>
              <a:spcAft>
                <a:spcPct val="30000"/>
              </a:spcAft>
              <a:buClr>
                <a:schemeClr val="tx1"/>
              </a:buClr>
              <a:buSzPct val="40000"/>
              <a:buFont typeface="Wingdings" pitchFamily="2" charset="2"/>
              <a:buChar char="¨"/>
              <a:tabLst>
                <a:tab pos="7767638" algn="r"/>
              </a:tabLst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761916">
              <a:lnSpc>
                <a:spcPct val="100000"/>
              </a:lnSpc>
              <a:tabLst>
                <a:tab pos="6472320" algn="r"/>
              </a:tabLst>
              <a:defRPr/>
            </a:pPr>
            <a:endParaRPr lang="de-DE" sz="333" kern="0">
              <a:solidFill>
                <a:sysClr val="window" lastClr="FFFFFF"/>
              </a:solidFill>
              <a:latin typeface="Arial"/>
            </a:endParaRPr>
          </a:p>
        </p:txBody>
      </p:sp>
      <p:sp>
        <p:nvSpPr>
          <p:cNvPr id="12" name="Titel 4"/>
          <p:cNvSpPr txBox="1">
            <a:spLocks/>
          </p:cNvSpPr>
          <p:nvPr/>
        </p:nvSpPr>
        <p:spPr bwMode="auto">
          <a:xfrm>
            <a:off x="1835696" y="3587958"/>
            <a:ext cx="4652730" cy="15629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50000"/>
              </a:spcAft>
              <a:defRPr sz="4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761916">
              <a:defRPr/>
            </a:pPr>
            <a:r>
              <a:rPr lang="en-US" sz="3333" kern="0" dirty="0">
                <a:solidFill>
                  <a:srgbClr val="004687"/>
                </a:solidFill>
                <a:latin typeface="Arial"/>
              </a:rPr>
              <a:t>Thank you!</a:t>
            </a:r>
            <a:br>
              <a:rPr lang="en-US" sz="3333" kern="0" dirty="0">
                <a:solidFill>
                  <a:srgbClr val="004687"/>
                </a:solidFill>
                <a:latin typeface="Arial"/>
              </a:rPr>
            </a:br>
            <a:r>
              <a:rPr lang="en-US" sz="3333" b="0" kern="0" dirty="0">
                <a:solidFill>
                  <a:srgbClr val="004687"/>
                </a:solidFill>
                <a:latin typeface="Arial"/>
              </a:rPr>
              <a:t>Questions?</a:t>
            </a:r>
            <a:endParaRPr lang="de-DE" sz="3333" b="0" kern="0" dirty="0">
              <a:solidFill>
                <a:srgbClr val="0046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5697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gray">
          <a:xfrm>
            <a:off x="0" y="1297688"/>
            <a:ext cx="9144000" cy="383953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de-DE" sz="2666" b="1" i="1" dirty="0"/>
          </a:p>
        </p:txBody>
      </p:sp>
      <p:sp>
        <p:nvSpPr>
          <p:cNvPr id="16" name="Rechteck 8"/>
          <p:cNvSpPr/>
          <p:nvPr/>
        </p:nvSpPr>
        <p:spPr bwMode="auto">
          <a:xfrm>
            <a:off x="3802" y="2387077"/>
            <a:ext cx="233366" cy="2177862"/>
          </a:xfrm>
          <a:prstGeom prst="rect">
            <a:avLst/>
          </a:prstGeom>
          <a:solidFill>
            <a:srgbClr val="E3E4E4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9986" tIns="29993" rIns="59986" bIns="29993" numCol="1" rtlCol="0" anchor="ctr" anchorCtr="0" compatLnSpc="1">
            <a:prstTxWarp prst="textNoShape">
              <a:avLst/>
            </a:prstTxWarp>
          </a:bodyPr>
          <a:lstStyle/>
          <a:p>
            <a:pPr defTabSz="667720"/>
            <a:endParaRPr lang="de-DE" sz="1237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63545" y="1767"/>
          <a:ext cx="1322" cy="1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3545" y="1767"/>
                        <a:ext cx="1322" cy="17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4"/>
          <p:cNvGrpSpPr/>
          <p:nvPr/>
        </p:nvGrpSpPr>
        <p:grpSpPr>
          <a:xfrm>
            <a:off x="323528" y="1298993"/>
            <a:ext cx="7616914" cy="3816000"/>
            <a:chOff x="-164196" y="911164"/>
            <a:chExt cx="9401161" cy="4824536"/>
          </a:xfrm>
          <a:noFill/>
        </p:grpSpPr>
        <p:sp>
          <p:nvSpPr>
            <p:cNvPr id="6" name="Rechteck 5"/>
            <p:cNvSpPr/>
            <p:nvPr/>
          </p:nvSpPr>
          <p:spPr bwMode="auto">
            <a:xfrm>
              <a:off x="-164196" y="911164"/>
              <a:ext cx="9401161" cy="4824536"/>
            </a:xfrm>
            <a:prstGeom prst="rect">
              <a:avLst/>
            </a:prstGeom>
            <a:grpFill/>
            <a:ln w="317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9986" tIns="29993" rIns="59986" bIns="29993" numCol="1" rtlCol="0" anchor="ctr" anchorCtr="0" compatLnSpc="1">
              <a:prstTxWarp prst="textNoShape">
                <a:avLst/>
              </a:prstTxWarp>
            </a:bodyPr>
            <a:lstStyle/>
            <a:p>
              <a:pPr defTabSz="667720"/>
              <a:endParaRPr lang="de-DE" sz="1237" dirty="0"/>
            </a:p>
          </p:txBody>
        </p:sp>
        <p:sp>
          <p:nvSpPr>
            <p:cNvPr id="8" name="Textfeld 7"/>
            <p:cNvSpPr txBox="1"/>
            <p:nvPr/>
          </p:nvSpPr>
          <p:spPr>
            <a:xfrm>
              <a:off x="463464" y="2278744"/>
              <a:ext cx="4696414" cy="751234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1500" b="1" dirty="0">
                  <a:solidFill>
                    <a:schemeClr val="bg1">
                      <a:lumMod val="95000"/>
                    </a:schemeClr>
                  </a:solidFill>
                </a:rPr>
                <a:t>AirPlus International</a:t>
              </a:r>
              <a:r>
                <a:rPr lang="de-DE" sz="1237" b="1" dirty="0">
                  <a:solidFill>
                    <a:schemeClr val="bg1">
                      <a:lumMod val="95000"/>
                    </a:schemeClr>
                  </a:solidFill>
                </a:rPr>
                <a:t/>
              </a:r>
              <a:br>
                <a:rPr lang="de-DE" sz="1237" b="1" dirty="0">
                  <a:solidFill>
                    <a:schemeClr val="bg1">
                      <a:lumMod val="95000"/>
                    </a:schemeClr>
                  </a:solidFill>
                </a:rPr>
              </a:br>
              <a:r>
                <a:rPr lang="de-DE" sz="1237" dirty="0">
                  <a:solidFill>
                    <a:schemeClr val="bg1">
                      <a:lumMod val="95000"/>
                    </a:schemeClr>
                  </a:solidFill>
                </a:rPr>
                <a:t>A leading Global provider of Corporate Credit Cards</a:t>
              </a:r>
            </a:p>
          </p:txBody>
        </p:sp>
        <p:sp>
          <p:nvSpPr>
            <p:cNvPr id="10" name="Textfeld 9"/>
            <p:cNvSpPr txBox="1"/>
            <p:nvPr/>
          </p:nvSpPr>
          <p:spPr>
            <a:xfrm>
              <a:off x="462223" y="3987274"/>
              <a:ext cx="2532677" cy="870006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1083" b="1" dirty="0">
                  <a:solidFill>
                    <a:schemeClr val="bg1">
                      <a:lumMod val="95000"/>
                    </a:schemeClr>
                  </a:solidFill>
                </a:rPr>
                <a:t>51,000 corporate customers</a:t>
              </a:r>
              <a:br>
                <a:rPr lang="de-DE" sz="1083" b="1" dirty="0">
                  <a:solidFill>
                    <a:schemeClr val="bg1">
                      <a:lumMod val="95000"/>
                    </a:schemeClr>
                  </a:solidFill>
                </a:rPr>
              </a:br>
              <a:r>
                <a:rPr lang="de-DE" sz="1083" b="1" dirty="0">
                  <a:solidFill>
                    <a:schemeClr val="bg1">
                      <a:lumMod val="95000"/>
                    </a:schemeClr>
                  </a:solidFill>
                </a:rPr>
                <a:t>in 60+ countries</a:t>
              </a:r>
              <a:br>
                <a:rPr lang="de-DE" sz="1083" b="1" dirty="0">
                  <a:solidFill>
                    <a:schemeClr val="bg1">
                      <a:lumMod val="95000"/>
                    </a:schemeClr>
                  </a:solidFill>
                </a:rPr>
              </a:br>
              <a:r>
                <a:rPr lang="de-DE" sz="1083" b="1" dirty="0">
                  <a:solidFill>
                    <a:schemeClr val="bg1">
                      <a:lumMod val="95000"/>
                    </a:schemeClr>
                  </a:solidFill>
                </a:rPr>
                <a:t>€ 15 bn issuing volume</a:t>
              </a:r>
              <a:endParaRPr lang="de-DE" sz="10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3387040" y="3987274"/>
              <a:ext cx="2532677" cy="870006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1083" b="1" dirty="0">
                  <a:solidFill>
                    <a:schemeClr val="bg1">
                      <a:lumMod val="95000"/>
                    </a:schemeClr>
                  </a:solidFill>
                </a:rPr>
                <a:t>1,300 staff</a:t>
              </a:r>
              <a:r>
                <a:rPr lang="de-DE" sz="1000" dirty="0">
                  <a:solidFill>
                    <a:schemeClr val="bg1">
                      <a:lumMod val="95000"/>
                    </a:schemeClr>
                  </a:solidFill>
                </a:rPr>
                <a:t/>
              </a:r>
              <a:br>
                <a:rPr lang="de-DE" sz="1000" dirty="0">
                  <a:solidFill>
                    <a:schemeClr val="bg1">
                      <a:lumMod val="95000"/>
                    </a:schemeClr>
                  </a:solidFill>
                </a:rPr>
              </a:br>
              <a:r>
                <a:rPr lang="de-DE" sz="1083" b="1" dirty="0">
                  <a:solidFill>
                    <a:schemeClr val="bg1">
                      <a:lumMod val="95000"/>
                    </a:schemeClr>
                  </a:solidFill>
                </a:rPr>
                <a:t>owned by Lufthansa</a:t>
              </a:r>
              <a:br>
                <a:rPr lang="de-DE" sz="1083" b="1" dirty="0">
                  <a:solidFill>
                    <a:schemeClr val="bg1">
                      <a:lumMod val="95000"/>
                    </a:schemeClr>
                  </a:solidFill>
                </a:rPr>
              </a:br>
              <a:r>
                <a:rPr lang="de-DE" sz="1083" b="1" dirty="0">
                  <a:solidFill>
                    <a:schemeClr val="bg1">
                      <a:lumMod val="95000"/>
                    </a:schemeClr>
                  </a:solidFill>
                </a:rPr>
                <a:t>HQs in Frankfurt/Main</a:t>
              </a: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6311855" y="3987274"/>
              <a:ext cx="2532677" cy="870006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l"/>
              <a:r>
                <a:rPr lang="de-DE" sz="1083" b="1" dirty="0">
                  <a:solidFill>
                    <a:schemeClr val="bg1">
                      <a:lumMod val="95000"/>
                    </a:schemeClr>
                  </a:solidFill>
                </a:rPr>
                <a:t>Payment institution</a:t>
              </a:r>
              <a:r>
                <a:rPr lang="de-DE" sz="1000" dirty="0">
                  <a:solidFill>
                    <a:schemeClr val="bg1">
                      <a:lumMod val="95000"/>
                    </a:schemeClr>
                  </a:solidFill>
                </a:rPr>
                <a:t/>
              </a:r>
              <a:br>
                <a:rPr lang="de-DE" sz="1000" dirty="0">
                  <a:solidFill>
                    <a:schemeClr val="bg1">
                      <a:lumMod val="95000"/>
                    </a:schemeClr>
                  </a:solidFill>
                </a:rPr>
              </a:br>
              <a:r>
                <a:rPr lang="de-DE" sz="1083" b="1" dirty="0">
                  <a:solidFill>
                    <a:schemeClr val="bg1">
                      <a:lumMod val="95000"/>
                    </a:schemeClr>
                  </a:solidFill>
                </a:rPr>
                <a:t>supervised by BaFin</a:t>
              </a:r>
              <a:br>
                <a:rPr lang="de-DE" sz="1083" b="1" dirty="0">
                  <a:solidFill>
                    <a:schemeClr val="bg1">
                      <a:lumMod val="95000"/>
                    </a:schemeClr>
                  </a:solidFill>
                </a:rPr>
              </a:br>
              <a:r>
                <a:rPr lang="de-DE" sz="1083" b="1" dirty="0">
                  <a:solidFill>
                    <a:schemeClr val="bg1">
                      <a:lumMod val="95000"/>
                    </a:schemeClr>
                  </a:solidFill>
                </a:rPr>
                <a:t>Member of UATP, MC, Visa</a:t>
              </a:r>
            </a:p>
          </p:txBody>
        </p:sp>
      </p:grpSp>
      <p:sp>
        <p:nvSpPr>
          <p:cNvPr id="14" name="Title 6"/>
          <p:cNvSpPr>
            <a:spLocks noGrp="1"/>
          </p:cNvSpPr>
          <p:nvPr>
            <p:ph type="title"/>
          </p:nvPr>
        </p:nvSpPr>
        <p:spPr>
          <a:xfrm>
            <a:off x="1403648" y="179959"/>
            <a:ext cx="6796850" cy="857801"/>
          </a:xfrm>
        </p:spPr>
        <p:txBody>
          <a:bodyPr/>
          <a:lstStyle/>
          <a:p>
            <a:r>
              <a:rPr lang="de-DE" dirty="0"/>
              <a:t>Who </a:t>
            </a:r>
            <a:r>
              <a:rPr lang="de-DE" dirty="0" err="1"/>
              <a:t>is</a:t>
            </a:r>
            <a:r>
              <a:rPr lang="de-DE" dirty="0"/>
              <a:t> AirPlus?</a:t>
            </a:r>
          </a:p>
        </p:txBody>
      </p:sp>
    </p:spTree>
    <p:extLst>
      <p:ext uri="{BB962C8B-B14F-4D97-AF65-F5344CB8AC3E}">
        <p14:creationId xmlns:p14="http://schemas.microsoft.com/office/powerpoint/2010/main" val="1500338430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1" name="Object 25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63545" y="1767"/>
          <a:ext cx="1322" cy="1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51" name="Object 25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3545" y="1767"/>
                        <a:ext cx="1322" cy="17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77"/>
          <p:cNvGrpSpPr>
            <a:grpSpLocks/>
          </p:cNvGrpSpPr>
          <p:nvPr/>
        </p:nvGrpSpPr>
        <p:grpSpPr bwMode="auto">
          <a:xfrm>
            <a:off x="899592" y="1698924"/>
            <a:ext cx="7362973" cy="3592210"/>
            <a:chOff x="114" y="1163"/>
            <a:chExt cx="5567" cy="2716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34889" name="Freeform 5"/>
            <p:cNvSpPr>
              <a:spLocks/>
            </p:cNvSpPr>
            <p:nvPr/>
          </p:nvSpPr>
          <p:spPr bwMode="auto">
            <a:xfrm>
              <a:off x="3428" y="3003"/>
              <a:ext cx="155" cy="283"/>
            </a:xfrm>
            <a:custGeom>
              <a:avLst/>
              <a:gdLst>
                <a:gd name="T0" fmla="*/ 0 w 409"/>
                <a:gd name="T1" fmla="*/ 0 h 746"/>
                <a:gd name="T2" fmla="*/ 0 w 409"/>
                <a:gd name="T3" fmla="*/ 0 h 746"/>
                <a:gd name="T4" fmla="*/ 0 w 409"/>
                <a:gd name="T5" fmla="*/ 0 h 746"/>
                <a:gd name="T6" fmla="*/ 0 w 409"/>
                <a:gd name="T7" fmla="*/ 0 h 746"/>
                <a:gd name="T8" fmla="*/ 0 w 409"/>
                <a:gd name="T9" fmla="*/ 0 h 746"/>
                <a:gd name="T10" fmla="*/ 0 w 409"/>
                <a:gd name="T11" fmla="*/ 0 h 746"/>
                <a:gd name="T12" fmla="*/ 0 w 409"/>
                <a:gd name="T13" fmla="*/ 0 h 746"/>
                <a:gd name="T14" fmla="*/ 0 w 409"/>
                <a:gd name="T15" fmla="*/ 0 h 746"/>
                <a:gd name="T16" fmla="*/ 0 w 409"/>
                <a:gd name="T17" fmla="*/ 0 h 746"/>
                <a:gd name="T18" fmla="*/ 0 w 409"/>
                <a:gd name="T19" fmla="*/ 0 h 746"/>
                <a:gd name="T20" fmla="*/ 0 w 409"/>
                <a:gd name="T21" fmla="*/ 0 h 746"/>
                <a:gd name="T22" fmla="*/ 0 w 409"/>
                <a:gd name="T23" fmla="*/ 0 h 746"/>
                <a:gd name="T24" fmla="*/ 0 w 409"/>
                <a:gd name="T25" fmla="*/ 0 h 746"/>
                <a:gd name="T26" fmla="*/ 0 w 409"/>
                <a:gd name="T27" fmla="*/ 0 h 746"/>
                <a:gd name="T28" fmla="*/ 0 w 409"/>
                <a:gd name="T29" fmla="*/ 0 h 746"/>
                <a:gd name="T30" fmla="*/ 0 w 409"/>
                <a:gd name="T31" fmla="*/ 0 h 746"/>
                <a:gd name="T32" fmla="*/ 0 w 409"/>
                <a:gd name="T33" fmla="*/ 0 h 746"/>
                <a:gd name="T34" fmla="*/ 0 w 409"/>
                <a:gd name="T35" fmla="*/ 0 h 746"/>
                <a:gd name="T36" fmla="*/ 0 w 409"/>
                <a:gd name="T37" fmla="*/ 0 h 746"/>
                <a:gd name="T38" fmla="*/ 0 w 409"/>
                <a:gd name="T39" fmla="*/ 0 h 746"/>
                <a:gd name="T40" fmla="*/ 0 w 409"/>
                <a:gd name="T41" fmla="*/ 0 h 746"/>
                <a:gd name="T42" fmla="*/ 0 w 409"/>
                <a:gd name="T43" fmla="*/ 0 h 746"/>
                <a:gd name="T44" fmla="*/ 0 w 409"/>
                <a:gd name="T45" fmla="*/ 0 h 746"/>
                <a:gd name="T46" fmla="*/ 0 w 409"/>
                <a:gd name="T47" fmla="*/ 0 h 746"/>
                <a:gd name="T48" fmla="*/ 0 w 409"/>
                <a:gd name="T49" fmla="*/ 0 h 746"/>
                <a:gd name="T50" fmla="*/ 0 w 409"/>
                <a:gd name="T51" fmla="*/ 0 h 746"/>
                <a:gd name="T52" fmla="*/ 0 w 409"/>
                <a:gd name="T53" fmla="*/ 0 h 746"/>
                <a:gd name="T54" fmla="*/ 0 w 409"/>
                <a:gd name="T55" fmla="*/ 0 h 746"/>
                <a:gd name="T56" fmla="*/ 0 w 409"/>
                <a:gd name="T57" fmla="*/ 0 h 746"/>
                <a:gd name="T58" fmla="*/ 0 w 409"/>
                <a:gd name="T59" fmla="*/ 0 h 746"/>
                <a:gd name="T60" fmla="*/ 0 w 409"/>
                <a:gd name="T61" fmla="*/ 0 h 746"/>
                <a:gd name="T62" fmla="*/ 0 w 409"/>
                <a:gd name="T63" fmla="*/ 0 h 746"/>
                <a:gd name="T64" fmla="*/ 0 w 409"/>
                <a:gd name="T65" fmla="*/ 0 h 746"/>
                <a:gd name="T66" fmla="*/ 0 w 409"/>
                <a:gd name="T67" fmla="*/ 0 h 746"/>
                <a:gd name="T68" fmla="*/ 0 w 409"/>
                <a:gd name="T69" fmla="*/ 0 h 746"/>
                <a:gd name="T70" fmla="*/ 0 w 409"/>
                <a:gd name="T71" fmla="*/ 0 h 746"/>
                <a:gd name="T72" fmla="*/ 0 w 409"/>
                <a:gd name="T73" fmla="*/ 0 h 746"/>
                <a:gd name="T74" fmla="*/ 0 w 409"/>
                <a:gd name="T75" fmla="*/ 0 h 746"/>
                <a:gd name="T76" fmla="*/ 0 w 409"/>
                <a:gd name="T77" fmla="*/ 0 h 746"/>
                <a:gd name="T78" fmla="*/ 0 w 409"/>
                <a:gd name="T79" fmla="*/ 0 h 746"/>
                <a:gd name="T80" fmla="*/ 0 w 409"/>
                <a:gd name="T81" fmla="*/ 0 h 746"/>
                <a:gd name="T82" fmla="*/ 0 w 409"/>
                <a:gd name="T83" fmla="*/ 0 h 746"/>
                <a:gd name="T84" fmla="*/ 0 w 409"/>
                <a:gd name="T85" fmla="*/ 0 h 746"/>
                <a:gd name="T86" fmla="*/ 0 w 409"/>
                <a:gd name="T87" fmla="*/ 0 h 746"/>
                <a:gd name="T88" fmla="*/ 0 w 409"/>
                <a:gd name="T89" fmla="*/ 0 h 7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09"/>
                <a:gd name="T136" fmla="*/ 0 h 746"/>
                <a:gd name="T137" fmla="*/ 409 w 409"/>
                <a:gd name="T138" fmla="*/ 746 h 7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09" h="746">
                  <a:moveTo>
                    <a:pt x="88" y="219"/>
                  </a:moveTo>
                  <a:cubicBezTo>
                    <a:pt x="104" y="214"/>
                    <a:pt x="104" y="214"/>
                    <a:pt x="104" y="214"/>
                  </a:cubicBezTo>
                  <a:cubicBezTo>
                    <a:pt x="134" y="218"/>
                    <a:pt x="134" y="218"/>
                    <a:pt x="134" y="218"/>
                  </a:cubicBezTo>
                  <a:cubicBezTo>
                    <a:pt x="134" y="202"/>
                    <a:pt x="134" y="202"/>
                    <a:pt x="134" y="202"/>
                  </a:cubicBezTo>
                  <a:cubicBezTo>
                    <a:pt x="173" y="207"/>
                    <a:pt x="173" y="207"/>
                    <a:pt x="173" y="207"/>
                  </a:cubicBezTo>
                  <a:cubicBezTo>
                    <a:pt x="186" y="188"/>
                    <a:pt x="186" y="188"/>
                    <a:pt x="186" y="188"/>
                  </a:cubicBezTo>
                  <a:cubicBezTo>
                    <a:pt x="216" y="193"/>
                    <a:pt x="216" y="193"/>
                    <a:pt x="216" y="193"/>
                  </a:cubicBezTo>
                  <a:cubicBezTo>
                    <a:pt x="214" y="172"/>
                    <a:pt x="214" y="172"/>
                    <a:pt x="214" y="172"/>
                  </a:cubicBezTo>
                  <a:cubicBezTo>
                    <a:pt x="223" y="150"/>
                    <a:pt x="223" y="150"/>
                    <a:pt x="223" y="150"/>
                  </a:cubicBezTo>
                  <a:cubicBezTo>
                    <a:pt x="225" y="172"/>
                    <a:pt x="225" y="172"/>
                    <a:pt x="225" y="172"/>
                  </a:cubicBezTo>
                  <a:cubicBezTo>
                    <a:pt x="230" y="186"/>
                    <a:pt x="230" y="186"/>
                    <a:pt x="230" y="186"/>
                  </a:cubicBezTo>
                  <a:cubicBezTo>
                    <a:pt x="239" y="159"/>
                    <a:pt x="239" y="159"/>
                    <a:pt x="239" y="159"/>
                  </a:cubicBezTo>
                  <a:cubicBezTo>
                    <a:pt x="239" y="159"/>
                    <a:pt x="237" y="129"/>
                    <a:pt x="244" y="124"/>
                  </a:cubicBezTo>
                  <a:cubicBezTo>
                    <a:pt x="251" y="118"/>
                    <a:pt x="255" y="138"/>
                    <a:pt x="255" y="138"/>
                  </a:cubicBezTo>
                  <a:cubicBezTo>
                    <a:pt x="255" y="138"/>
                    <a:pt x="260" y="136"/>
                    <a:pt x="269" y="126"/>
                  </a:cubicBezTo>
                  <a:cubicBezTo>
                    <a:pt x="278" y="115"/>
                    <a:pt x="264" y="95"/>
                    <a:pt x="271" y="88"/>
                  </a:cubicBezTo>
                  <a:cubicBezTo>
                    <a:pt x="278" y="81"/>
                    <a:pt x="288" y="88"/>
                    <a:pt x="288" y="88"/>
                  </a:cubicBezTo>
                  <a:cubicBezTo>
                    <a:pt x="288" y="88"/>
                    <a:pt x="306" y="74"/>
                    <a:pt x="312" y="62"/>
                  </a:cubicBezTo>
                  <a:cubicBezTo>
                    <a:pt x="317" y="49"/>
                    <a:pt x="315" y="26"/>
                    <a:pt x="315" y="26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372" y="41"/>
                    <a:pt x="372" y="41"/>
                    <a:pt x="372" y="41"/>
                  </a:cubicBezTo>
                  <a:cubicBezTo>
                    <a:pt x="372" y="41"/>
                    <a:pt x="372" y="51"/>
                    <a:pt x="372" y="56"/>
                  </a:cubicBezTo>
                  <a:cubicBezTo>
                    <a:pt x="372" y="62"/>
                    <a:pt x="395" y="110"/>
                    <a:pt x="395" y="110"/>
                  </a:cubicBezTo>
                  <a:cubicBezTo>
                    <a:pt x="382" y="143"/>
                    <a:pt x="382" y="143"/>
                    <a:pt x="382" y="143"/>
                  </a:cubicBezTo>
                  <a:cubicBezTo>
                    <a:pt x="382" y="143"/>
                    <a:pt x="409" y="188"/>
                    <a:pt x="402" y="193"/>
                  </a:cubicBezTo>
                  <a:cubicBezTo>
                    <a:pt x="395" y="198"/>
                    <a:pt x="375" y="188"/>
                    <a:pt x="375" y="188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8" y="221"/>
                    <a:pt x="358" y="221"/>
                    <a:pt x="358" y="221"/>
                  </a:cubicBezTo>
                  <a:cubicBezTo>
                    <a:pt x="358" y="221"/>
                    <a:pt x="335" y="245"/>
                    <a:pt x="333" y="259"/>
                  </a:cubicBezTo>
                  <a:cubicBezTo>
                    <a:pt x="331" y="273"/>
                    <a:pt x="345" y="287"/>
                    <a:pt x="338" y="312"/>
                  </a:cubicBezTo>
                  <a:cubicBezTo>
                    <a:pt x="331" y="336"/>
                    <a:pt x="306" y="409"/>
                    <a:pt x="267" y="478"/>
                  </a:cubicBezTo>
                  <a:cubicBezTo>
                    <a:pt x="228" y="547"/>
                    <a:pt x="211" y="609"/>
                    <a:pt x="211" y="609"/>
                  </a:cubicBezTo>
                  <a:cubicBezTo>
                    <a:pt x="211" y="609"/>
                    <a:pt x="214" y="653"/>
                    <a:pt x="189" y="676"/>
                  </a:cubicBezTo>
                  <a:cubicBezTo>
                    <a:pt x="165" y="699"/>
                    <a:pt x="156" y="708"/>
                    <a:pt x="149" y="712"/>
                  </a:cubicBezTo>
                  <a:cubicBezTo>
                    <a:pt x="141" y="715"/>
                    <a:pt x="133" y="710"/>
                    <a:pt x="133" y="710"/>
                  </a:cubicBezTo>
                  <a:cubicBezTo>
                    <a:pt x="133" y="710"/>
                    <a:pt x="90" y="746"/>
                    <a:pt x="60" y="717"/>
                  </a:cubicBezTo>
                  <a:cubicBezTo>
                    <a:pt x="30" y="689"/>
                    <a:pt x="28" y="675"/>
                    <a:pt x="28" y="675"/>
                  </a:cubicBezTo>
                  <a:cubicBezTo>
                    <a:pt x="41" y="659"/>
                    <a:pt x="41" y="659"/>
                    <a:pt x="41" y="659"/>
                  </a:cubicBezTo>
                  <a:cubicBezTo>
                    <a:pt x="41" y="659"/>
                    <a:pt x="10" y="622"/>
                    <a:pt x="5" y="556"/>
                  </a:cubicBezTo>
                  <a:cubicBezTo>
                    <a:pt x="0" y="490"/>
                    <a:pt x="23" y="492"/>
                    <a:pt x="39" y="473"/>
                  </a:cubicBezTo>
                  <a:cubicBezTo>
                    <a:pt x="55" y="453"/>
                    <a:pt x="79" y="436"/>
                    <a:pt x="79" y="436"/>
                  </a:cubicBezTo>
                  <a:cubicBezTo>
                    <a:pt x="79" y="436"/>
                    <a:pt x="72" y="370"/>
                    <a:pt x="71" y="349"/>
                  </a:cubicBezTo>
                  <a:cubicBezTo>
                    <a:pt x="69" y="327"/>
                    <a:pt x="53" y="283"/>
                    <a:pt x="67" y="271"/>
                  </a:cubicBezTo>
                  <a:cubicBezTo>
                    <a:pt x="81" y="259"/>
                    <a:pt x="94" y="239"/>
                    <a:pt x="94" y="239"/>
                  </a:cubicBezTo>
                  <a:lnTo>
                    <a:pt x="88" y="219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890" name="Freeform 6"/>
            <p:cNvSpPr>
              <a:spLocks noEditPoints="1"/>
            </p:cNvSpPr>
            <p:nvPr/>
          </p:nvSpPr>
          <p:spPr bwMode="auto">
            <a:xfrm>
              <a:off x="1178" y="2279"/>
              <a:ext cx="187" cy="71"/>
            </a:xfrm>
            <a:custGeom>
              <a:avLst/>
              <a:gdLst>
                <a:gd name="T0" fmla="*/ 0 w 493"/>
                <a:gd name="T1" fmla="*/ 0 h 185"/>
                <a:gd name="T2" fmla="*/ 0 w 493"/>
                <a:gd name="T3" fmla="*/ 0 h 185"/>
                <a:gd name="T4" fmla="*/ 0 w 493"/>
                <a:gd name="T5" fmla="*/ 0 h 185"/>
                <a:gd name="T6" fmla="*/ 0 w 493"/>
                <a:gd name="T7" fmla="*/ 0 h 185"/>
                <a:gd name="T8" fmla="*/ 0 w 493"/>
                <a:gd name="T9" fmla="*/ 0 h 185"/>
                <a:gd name="T10" fmla="*/ 0 w 493"/>
                <a:gd name="T11" fmla="*/ 0 h 185"/>
                <a:gd name="T12" fmla="*/ 0 w 493"/>
                <a:gd name="T13" fmla="*/ 0 h 185"/>
                <a:gd name="T14" fmla="*/ 0 w 493"/>
                <a:gd name="T15" fmla="*/ 0 h 185"/>
                <a:gd name="T16" fmla="*/ 0 w 493"/>
                <a:gd name="T17" fmla="*/ 0 h 185"/>
                <a:gd name="T18" fmla="*/ 0 w 493"/>
                <a:gd name="T19" fmla="*/ 0 h 185"/>
                <a:gd name="T20" fmla="*/ 0 w 493"/>
                <a:gd name="T21" fmla="*/ 0 h 185"/>
                <a:gd name="T22" fmla="*/ 0 w 493"/>
                <a:gd name="T23" fmla="*/ 0 h 185"/>
                <a:gd name="T24" fmla="*/ 0 w 493"/>
                <a:gd name="T25" fmla="*/ 0 h 185"/>
                <a:gd name="T26" fmla="*/ 0 w 493"/>
                <a:gd name="T27" fmla="*/ 0 h 185"/>
                <a:gd name="T28" fmla="*/ 0 w 493"/>
                <a:gd name="T29" fmla="*/ 0 h 185"/>
                <a:gd name="T30" fmla="*/ 0 w 493"/>
                <a:gd name="T31" fmla="*/ 0 h 185"/>
                <a:gd name="T32" fmla="*/ 0 w 493"/>
                <a:gd name="T33" fmla="*/ 0 h 185"/>
                <a:gd name="T34" fmla="*/ 0 w 493"/>
                <a:gd name="T35" fmla="*/ 0 h 185"/>
                <a:gd name="T36" fmla="*/ 0 w 493"/>
                <a:gd name="T37" fmla="*/ 0 h 185"/>
                <a:gd name="T38" fmla="*/ 0 w 493"/>
                <a:gd name="T39" fmla="*/ 0 h 185"/>
                <a:gd name="T40" fmla="*/ 0 w 493"/>
                <a:gd name="T41" fmla="*/ 0 h 185"/>
                <a:gd name="T42" fmla="*/ 0 w 493"/>
                <a:gd name="T43" fmla="*/ 0 h 185"/>
                <a:gd name="T44" fmla="*/ 0 w 493"/>
                <a:gd name="T45" fmla="*/ 0 h 185"/>
                <a:gd name="T46" fmla="*/ 0 w 493"/>
                <a:gd name="T47" fmla="*/ 0 h 185"/>
                <a:gd name="T48" fmla="*/ 0 w 493"/>
                <a:gd name="T49" fmla="*/ 0 h 185"/>
                <a:gd name="T50" fmla="*/ 0 w 493"/>
                <a:gd name="T51" fmla="*/ 0 h 185"/>
                <a:gd name="T52" fmla="*/ 0 w 493"/>
                <a:gd name="T53" fmla="*/ 0 h 185"/>
                <a:gd name="T54" fmla="*/ 0 w 493"/>
                <a:gd name="T55" fmla="*/ 0 h 185"/>
                <a:gd name="T56" fmla="*/ 0 w 493"/>
                <a:gd name="T57" fmla="*/ 0 h 185"/>
                <a:gd name="T58" fmla="*/ 0 w 493"/>
                <a:gd name="T59" fmla="*/ 0 h 185"/>
                <a:gd name="T60" fmla="*/ 0 w 493"/>
                <a:gd name="T61" fmla="*/ 0 h 185"/>
                <a:gd name="T62" fmla="*/ 0 w 493"/>
                <a:gd name="T63" fmla="*/ 0 h 185"/>
                <a:gd name="T64" fmla="*/ 0 w 493"/>
                <a:gd name="T65" fmla="*/ 0 h 185"/>
                <a:gd name="T66" fmla="*/ 0 w 493"/>
                <a:gd name="T67" fmla="*/ 0 h 185"/>
                <a:gd name="T68" fmla="*/ 0 w 493"/>
                <a:gd name="T69" fmla="*/ 0 h 185"/>
                <a:gd name="T70" fmla="*/ 0 w 493"/>
                <a:gd name="T71" fmla="*/ 0 h 185"/>
                <a:gd name="T72" fmla="*/ 0 w 493"/>
                <a:gd name="T73" fmla="*/ 0 h 185"/>
                <a:gd name="T74" fmla="*/ 0 w 493"/>
                <a:gd name="T75" fmla="*/ 0 h 185"/>
                <a:gd name="T76" fmla="*/ 0 w 493"/>
                <a:gd name="T77" fmla="*/ 0 h 185"/>
                <a:gd name="T78" fmla="*/ 0 w 493"/>
                <a:gd name="T79" fmla="*/ 0 h 185"/>
                <a:gd name="T80" fmla="*/ 0 w 493"/>
                <a:gd name="T81" fmla="*/ 0 h 185"/>
                <a:gd name="T82" fmla="*/ 0 w 493"/>
                <a:gd name="T83" fmla="*/ 0 h 18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93"/>
                <a:gd name="T127" fmla="*/ 0 h 185"/>
                <a:gd name="T128" fmla="*/ 493 w 493"/>
                <a:gd name="T129" fmla="*/ 185 h 18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93" h="185">
                  <a:moveTo>
                    <a:pt x="475" y="151"/>
                  </a:moveTo>
                  <a:cubicBezTo>
                    <a:pt x="456" y="148"/>
                    <a:pt x="445" y="148"/>
                    <a:pt x="445" y="148"/>
                  </a:cubicBezTo>
                  <a:cubicBezTo>
                    <a:pt x="445" y="148"/>
                    <a:pt x="453" y="131"/>
                    <a:pt x="434" y="129"/>
                  </a:cubicBezTo>
                  <a:cubicBezTo>
                    <a:pt x="416" y="126"/>
                    <a:pt x="399" y="128"/>
                    <a:pt x="399" y="128"/>
                  </a:cubicBezTo>
                  <a:cubicBezTo>
                    <a:pt x="416" y="114"/>
                    <a:pt x="416" y="114"/>
                    <a:pt x="416" y="114"/>
                  </a:cubicBezTo>
                  <a:cubicBezTo>
                    <a:pt x="416" y="114"/>
                    <a:pt x="386" y="106"/>
                    <a:pt x="378" y="106"/>
                  </a:cubicBezTo>
                  <a:cubicBezTo>
                    <a:pt x="370" y="106"/>
                    <a:pt x="349" y="96"/>
                    <a:pt x="349" y="96"/>
                  </a:cubicBezTo>
                  <a:cubicBezTo>
                    <a:pt x="349" y="96"/>
                    <a:pt x="359" y="79"/>
                    <a:pt x="351" y="79"/>
                  </a:cubicBezTo>
                  <a:cubicBezTo>
                    <a:pt x="343" y="79"/>
                    <a:pt x="338" y="77"/>
                    <a:pt x="338" y="77"/>
                  </a:cubicBezTo>
                  <a:cubicBezTo>
                    <a:pt x="338" y="77"/>
                    <a:pt x="298" y="37"/>
                    <a:pt x="290" y="45"/>
                  </a:cubicBezTo>
                  <a:cubicBezTo>
                    <a:pt x="282" y="52"/>
                    <a:pt x="300" y="64"/>
                    <a:pt x="300" y="64"/>
                  </a:cubicBezTo>
                  <a:cubicBezTo>
                    <a:pt x="255" y="42"/>
                    <a:pt x="255" y="42"/>
                    <a:pt x="255" y="42"/>
                  </a:cubicBezTo>
                  <a:cubicBezTo>
                    <a:pt x="255" y="42"/>
                    <a:pt x="231" y="17"/>
                    <a:pt x="220" y="12"/>
                  </a:cubicBezTo>
                  <a:cubicBezTo>
                    <a:pt x="209" y="7"/>
                    <a:pt x="180" y="12"/>
                    <a:pt x="180" y="12"/>
                  </a:cubicBezTo>
                  <a:cubicBezTo>
                    <a:pt x="180" y="12"/>
                    <a:pt x="156" y="0"/>
                    <a:pt x="118" y="0"/>
                  </a:cubicBezTo>
                  <a:cubicBezTo>
                    <a:pt x="81" y="0"/>
                    <a:pt x="64" y="12"/>
                    <a:pt x="48" y="26"/>
                  </a:cubicBezTo>
                  <a:cubicBezTo>
                    <a:pt x="32" y="41"/>
                    <a:pt x="0" y="51"/>
                    <a:pt x="0" y="51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15" y="29"/>
                    <a:pt x="115" y="29"/>
                    <a:pt x="115" y="29"/>
                  </a:cubicBezTo>
                  <a:cubicBezTo>
                    <a:pt x="115" y="29"/>
                    <a:pt x="142" y="27"/>
                    <a:pt x="150" y="34"/>
                  </a:cubicBezTo>
                  <a:cubicBezTo>
                    <a:pt x="158" y="42"/>
                    <a:pt x="126" y="46"/>
                    <a:pt x="126" y="46"/>
                  </a:cubicBezTo>
                  <a:cubicBezTo>
                    <a:pt x="137" y="54"/>
                    <a:pt x="137" y="54"/>
                    <a:pt x="137" y="54"/>
                  </a:cubicBezTo>
                  <a:cubicBezTo>
                    <a:pt x="137" y="54"/>
                    <a:pt x="155" y="61"/>
                    <a:pt x="172" y="66"/>
                  </a:cubicBezTo>
                  <a:cubicBezTo>
                    <a:pt x="188" y="71"/>
                    <a:pt x="188" y="61"/>
                    <a:pt x="188" y="61"/>
                  </a:cubicBezTo>
                  <a:cubicBezTo>
                    <a:pt x="188" y="61"/>
                    <a:pt x="204" y="74"/>
                    <a:pt x="220" y="81"/>
                  </a:cubicBezTo>
                  <a:cubicBezTo>
                    <a:pt x="236" y="89"/>
                    <a:pt x="268" y="79"/>
                    <a:pt x="268" y="79"/>
                  </a:cubicBezTo>
                  <a:cubicBezTo>
                    <a:pt x="263" y="96"/>
                    <a:pt x="263" y="96"/>
                    <a:pt x="263" y="96"/>
                  </a:cubicBezTo>
                  <a:cubicBezTo>
                    <a:pt x="303" y="113"/>
                    <a:pt x="303" y="113"/>
                    <a:pt x="303" y="113"/>
                  </a:cubicBezTo>
                  <a:cubicBezTo>
                    <a:pt x="319" y="136"/>
                    <a:pt x="319" y="136"/>
                    <a:pt x="319" y="136"/>
                  </a:cubicBezTo>
                  <a:cubicBezTo>
                    <a:pt x="319" y="136"/>
                    <a:pt x="335" y="143"/>
                    <a:pt x="335" y="150"/>
                  </a:cubicBezTo>
                  <a:cubicBezTo>
                    <a:pt x="335" y="158"/>
                    <a:pt x="308" y="165"/>
                    <a:pt x="316" y="172"/>
                  </a:cubicBezTo>
                  <a:cubicBezTo>
                    <a:pt x="324" y="180"/>
                    <a:pt x="348" y="163"/>
                    <a:pt x="356" y="163"/>
                  </a:cubicBezTo>
                  <a:cubicBezTo>
                    <a:pt x="364" y="163"/>
                    <a:pt x="381" y="165"/>
                    <a:pt x="367" y="168"/>
                  </a:cubicBezTo>
                  <a:cubicBezTo>
                    <a:pt x="354" y="170"/>
                    <a:pt x="375" y="180"/>
                    <a:pt x="375" y="180"/>
                  </a:cubicBezTo>
                  <a:cubicBezTo>
                    <a:pt x="375" y="180"/>
                    <a:pt x="397" y="185"/>
                    <a:pt x="426" y="178"/>
                  </a:cubicBezTo>
                  <a:cubicBezTo>
                    <a:pt x="456" y="170"/>
                    <a:pt x="493" y="163"/>
                    <a:pt x="493" y="163"/>
                  </a:cubicBezTo>
                  <a:cubicBezTo>
                    <a:pt x="493" y="163"/>
                    <a:pt x="493" y="153"/>
                    <a:pt x="475" y="151"/>
                  </a:cubicBezTo>
                  <a:close/>
                  <a:moveTo>
                    <a:pt x="78" y="84"/>
                  </a:moveTo>
                  <a:cubicBezTo>
                    <a:pt x="75" y="97"/>
                    <a:pt x="102" y="99"/>
                    <a:pt x="104" y="84"/>
                  </a:cubicBezTo>
                  <a:cubicBezTo>
                    <a:pt x="107" y="70"/>
                    <a:pt x="78" y="84"/>
                    <a:pt x="78" y="84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891" name="Freeform 7"/>
            <p:cNvSpPr>
              <a:spLocks/>
            </p:cNvSpPr>
            <p:nvPr/>
          </p:nvSpPr>
          <p:spPr bwMode="auto">
            <a:xfrm>
              <a:off x="1281" y="2377"/>
              <a:ext cx="41" cy="15"/>
            </a:xfrm>
            <a:custGeom>
              <a:avLst/>
              <a:gdLst>
                <a:gd name="T0" fmla="*/ 0 w 108"/>
                <a:gd name="T1" fmla="*/ 0 h 42"/>
                <a:gd name="T2" fmla="*/ 0 w 108"/>
                <a:gd name="T3" fmla="*/ 0 h 42"/>
                <a:gd name="T4" fmla="*/ 0 w 108"/>
                <a:gd name="T5" fmla="*/ 0 h 42"/>
                <a:gd name="T6" fmla="*/ 0 w 108"/>
                <a:gd name="T7" fmla="*/ 0 h 42"/>
                <a:gd name="T8" fmla="*/ 0 w 108"/>
                <a:gd name="T9" fmla="*/ 0 h 42"/>
                <a:gd name="T10" fmla="*/ 0 w 108"/>
                <a:gd name="T11" fmla="*/ 0 h 42"/>
                <a:gd name="T12" fmla="*/ 0 w 108"/>
                <a:gd name="T13" fmla="*/ 0 h 42"/>
                <a:gd name="T14" fmla="*/ 0 w 108"/>
                <a:gd name="T15" fmla="*/ 0 h 42"/>
                <a:gd name="T16" fmla="*/ 0 w 108"/>
                <a:gd name="T17" fmla="*/ 0 h 42"/>
                <a:gd name="T18" fmla="*/ 0 w 108"/>
                <a:gd name="T19" fmla="*/ 0 h 42"/>
                <a:gd name="T20" fmla="*/ 0 w 108"/>
                <a:gd name="T21" fmla="*/ 0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8"/>
                <a:gd name="T34" fmla="*/ 0 h 42"/>
                <a:gd name="T35" fmla="*/ 108 w 108"/>
                <a:gd name="T36" fmla="*/ 42 h 4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8" h="42">
                  <a:moveTo>
                    <a:pt x="72" y="42"/>
                  </a:moveTo>
                  <a:cubicBezTo>
                    <a:pt x="79" y="28"/>
                    <a:pt x="79" y="28"/>
                    <a:pt x="79" y="28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95" y="9"/>
                    <a:pt x="85" y="9"/>
                  </a:cubicBezTo>
                  <a:cubicBezTo>
                    <a:pt x="75" y="9"/>
                    <a:pt x="58" y="7"/>
                    <a:pt x="48" y="6"/>
                  </a:cubicBezTo>
                  <a:cubicBezTo>
                    <a:pt x="37" y="4"/>
                    <a:pt x="27" y="0"/>
                    <a:pt x="19" y="4"/>
                  </a:cubicBezTo>
                  <a:cubicBezTo>
                    <a:pt x="11" y="7"/>
                    <a:pt x="0" y="9"/>
                    <a:pt x="0" y="9"/>
                  </a:cubicBezTo>
                  <a:cubicBezTo>
                    <a:pt x="0" y="9"/>
                    <a:pt x="8" y="20"/>
                    <a:pt x="17" y="26"/>
                  </a:cubicBezTo>
                  <a:cubicBezTo>
                    <a:pt x="25" y="32"/>
                    <a:pt x="43" y="32"/>
                    <a:pt x="43" y="32"/>
                  </a:cubicBezTo>
                  <a:cubicBezTo>
                    <a:pt x="54" y="38"/>
                    <a:pt x="54" y="38"/>
                    <a:pt x="54" y="38"/>
                  </a:cubicBezTo>
                  <a:lnTo>
                    <a:pt x="72" y="42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892" name="Freeform 8"/>
            <p:cNvSpPr>
              <a:spLocks/>
            </p:cNvSpPr>
            <p:nvPr/>
          </p:nvSpPr>
          <p:spPr bwMode="auto">
            <a:xfrm>
              <a:off x="1483" y="2378"/>
              <a:ext cx="36" cy="15"/>
            </a:xfrm>
            <a:custGeom>
              <a:avLst/>
              <a:gdLst>
                <a:gd name="T0" fmla="*/ 0 w 97"/>
                <a:gd name="T1" fmla="*/ 0 h 40"/>
                <a:gd name="T2" fmla="*/ 0 w 97"/>
                <a:gd name="T3" fmla="*/ 0 h 40"/>
                <a:gd name="T4" fmla="*/ 0 w 97"/>
                <a:gd name="T5" fmla="*/ 0 h 40"/>
                <a:gd name="T6" fmla="*/ 0 w 97"/>
                <a:gd name="T7" fmla="*/ 0 h 40"/>
                <a:gd name="T8" fmla="*/ 0 w 97"/>
                <a:gd name="T9" fmla="*/ 0 h 40"/>
                <a:gd name="T10" fmla="*/ 0 w 97"/>
                <a:gd name="T11" fmla="*/ 0 h 40"/>
                <a:gd name="T12" fmla="*/ 0 w 97"/>
                <a:gd name="T13" fmla="*/ 0 h 40"/>
                <a:gd name="T14" fmla="*/ 0 w 97"/>
                <a:gd name="T15" fmla="*/ 0 h 4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7"/>
                <a:gd name="T25" fmla="*/ 0 h 40"/>
                <a:gd name="T26" fmla="*/ 97 w 97"/>
                <a:gd name="T27" fmla="*/ 40 h 4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7" h="40">
                  <a:moveTo>
                    <a:pt x="60" y="9"/>
                  </a:moveTo>
                  <a:cubicBezTo>
                    <a:pt x="52" y="9"/>
                    <a:pt x="29" y="0"/>
                    <a:pt x="15" y="0"/>
                  </a:cubicBezTo>
                  <a:cubicBezTo>
                    <a:pt x="0" y="0"/>
                    <a:pt x="2" y="32"/>
                    <a:pt x="2" y="32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48" y="36"/>
                    <a:pt x="64" y="34"/>
                  </a:cubicBezTo>
                  <a:cubicBezTo>
                    <a:pt x="81" y="32"/>
                    <a:pt x="97" y="17"/>
                    <a:pt x="95" y="10"/>
                  </a:cubicBezTo>
                  <a:cubicBezTo>
                    <a:pt x="93" y="2"/>
                    <a:pt x="68" y="10"/>
                    <a:pt x="60" y="9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893" name="Freeform 9"/>
            <p:cNvSpPr>
              <a:spLocks/>
            </p:cNvSpPr>
            <p:nvPr/>
          </p:nvSpPr>
          <p:spPr bwMode="auto">
            <a:xfrm>
              <a:off x="1750" y="1708"/>
              <a:ext cx="110" cy="98"/>
            </a:xfrm>
            <a:custGeom>
              <a:avLst/>
              <a:gdLst>
                <a:gd name="T0" fmla="*/ 0 w 291"/>
                <a:gd name="T1" fmla="*/ 0 h 260"/>
                <a:gd name="T2" fmla="*/ 0 w 291"/>
                <a:gd name="T3" fmla="*/ 0 h 260"/>
                <a:gd name="T4" fmla="*/ 0 w 291"/>
                <a:gd name="T5" fmla="*/ 0 h 260"/>
                <a:gd name="T6" fmla="*/ 0 w 291"/>
                <a:gd name="T7" fmla="*/ 0 h 260"/>
                <a:gd name="T8" fmla="*/ 0 w 291"/>
                <a:gd name="T9" fmla="*/ 0 h 260"/>
                <a:gd name="T10" fmla="*/ 0 w 291"/>
                <a:gd name="T11" fmla="*/ 0 h 260"/>
                <a:gd name="T12" fmla="*/ 0 w 291"/>
                <a:gd name="T13" fmla="*/ 0 h 260"/>
                <a:gd name="T14" fmla="*/ 0 w 291"/>
                <a:gd name="T15" fmla="*/ 0 h 260"/>
                <a:gd name="T16" fmla="*/ 0 w 291"/>
                <a:gd name="T17" fmla="*/ 0 h 260"/>
                <a:gd name="T18" fmla="*/ 0 w 291"/>
                <a:gd name="T19" fmla="*/ 0 h 260"/>
                <a:gd name="T20" fmla="*/ 0 w 291"/>
                <a:gd name="T21" fmla="*/ 0 h 260"/>
                <a:gd name="T22" fmla="*/ 0 w 291"/>
                <a:gd name="T23" fmla="*/ 0 h 260"/>
                <a:gd name="T24" fmla="*/ 0 w 291"/>
                <a:gd name="T25" fmla="*/ 0 h 260"/>
                <a:gd name="T26" fmla="*/ 0 w 291"/>
                <a:gd name="T27" fmla="*/ 0 h 260"/>
                <a:gd name="T28" fmla="*/ 0 w 291"/>
                <a:gd name="T29" fmla="*/ 0 h 260"/>
                <a:gd name="T30" fmla="*/ 0 w 291"/>
                <a:gd name="T31" fmla="*/ 0 h 260"/>
                <a:gd name="T32" fmla="*/ 0 w 291"/>
                <a:gd name="T33" fmla="*/ 0 h 260"/>
                <a:gd name="T34" fmla="*/ 0 w 291"/>
                <a:gd name="T35" fmla="*/ 0 h 260"/>
                <a:gd name="T36" fmla="*/ 0 w 291"/>
                <a:gd name="T37" fmla="*/ 0 h 260"/>
                <a:gd name="T38" fmla="*/ 0 w 291"/>
                <a:gd name="T39" fmla="*/ 0 h 260"/>
                <a:gd name="T40" fmla="*/ 0 w 291"/>
                <a:gd name="T41" fmla="*/ 0 h 260"/>
                <a:gd name="T42" fmla="*/ 0 w 291"/>
                <a:gd name="T43" fmla="*/ 0 h 260"/>
                <a:gd name="T44" fmla="*/ 0 w 291"/>
                <a:gd name="T45" fmla="*/ 0 h 260"/>
                <a:gd name="T46" fmla="*/ 0 w 291"/>
                <a:gd name="T47" fmla="*/ 0 h 260"/>
                <a:gd name="T48" fmla="*/ 0 w 291"/>
                <a:gd name="T49" fmla="*/ 0 h 260"/>
                <a:gd name="T50" fmla="*/ 0 w 291"/>
                <a:gd name="T51" fmla="*/ 0 h 260"/>
                <a:gd name="T52" fmla="*/ 0 w 291"/>
                <a:gd name="T53" fmla="*/ 0 h 260"/>
                <a:gd name="T54" fmla="*/ 0 w 291"/>
                <a:gd name="T55" fmla="*/ 0 h 260"/>
                <a:gd name="T56" fmla="*/ 0 w 291"/>
                <a:gd name="T57" fmla="*/ 0 h 260"/>
                <a:gd name="T58" fmla="*/ 0 w 291"/>
                <a:gd name="T59" fmla="*/ 0 h 260"/>
                <a:gd name="T60" fmla="*/ 0 w 291"/>
                <a:gd name="T61" fmla="*/ 0 h 260"/>
                <a:gd name="T62" fmla="*/ 0 w 291"/>
                <a:gd name="T63" fmla="*/ 0 h 260"/>
                <a:gd name="T64" fmla="*/ 0 w 291"/>
                <a:gd name="T65" fmla="*/ 0 h 260"/>
                <a:gd name="T66" fmla="*/ 0 w 291"/>
                <a:gd name="T67" fmla="*/ 0 h 260"/>
                <a:gd name="T68" fmla="*/ 0 w 291"/>
                <a:gd name="T69" fmla="*/ 0 h 260"/>
                <a:gd name="T70" fmla="*/ 0 w 291"/>
                <a:gd name="T71" fmla="*/ 0 h 260"/>
                <a:gd name="T72" fmla="*/ 0 w 291"/>
                <a:gd name="T73" fmla="*/ 0 h 260"/>
                <a:gd name="T74" fmla="*/ 0 w 291"/>
                <a:gd name="T75" fmla="*/ 0 h 260"/>
                <a:gd name="T76" fmla="*/ 0 w 291"/>
                <a:gd name="T77" fmla="*/ 0 h 260"/>
                <a:gd name="T78" fmla="*/ 0 w 291"/>
                <a:gd name="T79" fmla="*/ 0 h 260"/>
                <a:gd name="T80" fmla="*/ 0 w 291"/>
                <a:gd name="T81" fmla="*/ 0 h 260"/>
                <a:gd name="T82" fmla="*/ 0 w 291"/>
                <a:gd name="T83" fmla="*/ 0 h 260"/>
                <a:gd name="T84" fmla="*/ 0 w 291"/>
                <a:gd name="T85" fmla="*/ 0 h 26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91"/>
                <a:gd name="T130" fmla="*/ 0 h 260"/>
                <a:gd name="T131" fmla="*/ 291 w 291"/>
                <a:gd name="T132" fmla="*/ 260 h 26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91" h="260">
                  <a:moveTo>
                    <a:pt x="180" y="17"/>
                  </a:moveTo>
                  <a:cubicBezTo>
                    <a:pt x="180" y="17"/>
                    <a:pt x="209" y="0"/>
                    <a:pt x="226" y="5"/>
                  </a:cubicBezTo>
                  <a:cubicBezTo>
                    <a:pt x="244" y="10"/>
                    <a:pt x="229" y="20"/>
                    <a:pt x="229" y="20"/>
                  </a:cubicBezTo>
                  <a:cubicBezTo>
                    <a:pt x="215" y="29"/>
                    <a:pt x="215" y="29"/>
                    <a:pt x="215" y="29"/>
                  </a:cubicBezTo>
                  <a:cubicBezTo>
                    <a:pt x="215" y="29"/>
                    <a:pt x="210" y="49"/>
                    <a:pt x="198" y="60"/>
                  </a:cubicBezTo>
                  <a:cubicBezTo>
                    <a:pt x="186" y="71"/>
                    <a:pt x="171" y="72"/>
                    <a:pt x="171" y="72"/>
                  </a:cubicBezTo>
                  <a:cubicBezTo>
                    <a:pt x="147" y="101"/>
                    <a:pt x="147" y="101"/>
                    <a:pt x="147" y="101"/>
                  </a:cubicBezTo>
                  <a:cubicBezTo>
                    <a:pt x="145" y="119"/>
                    <a:pt x="145" y="119"/>
                    <a:pt x="145" y="119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80" y="76"/>
                    <a:pt x="180" y="76"/>
                    <a:pt x="180" y="76"/>
                  </a:cubicBezTo>
                  <a:cubicBezTo>
                    <a:pt x="194" y="88"/>
                    <a:pt x="194" y="88"/>
                    <a:pt x="194" y="88"/>
                  </a:cubicBezTo>
                  <a:cubicBezTo>
                    <a:pt x="210" y="94"/>
                    <a:pt x="210" y="94"/>
                    <a:pt x="210" y="94"/>
                  </a:cubicBezTo>
                  <a:cubicBezTo>
                    <a:pt x="202" y="115"/>
                    <a:pt x="202" y="115"/>
                    <a:pt x="202" y="115"/>
                  </a:cubicBezTo>
                  <a:cubicBezTo>
                    <a:pt x="222" y="113"/>
                    <a:pt x="222" y="113"/>
                    <a:pt x="222" y="113"/>
                  </a:cubicBezTo>
                  <a:cubicBezTo>
                    <a:pt x="228" y="132"/>
                    <a:pt x="228" y="132"/>
                    <a:pt x="228" y="132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75" y="120"/>
                    <a:pt x="275" y="120"/>
                    <a:pt x="275" y="120"/>
                  </a:cubicBezTo>
                  <a:cubicBezTo>
                    <a:pt x="275" y="120"/>
                    <a:pt x="265" y="135"/>
                    <a:pt x="256" y="138"/>
                  </a:cubicBezTo>
                  <a:cubicBezTo>
                    <a:pt x="248" y="141"/>
                    <a:pt x="274" y="144"/>
                    <a:pt x="280" y="144"/>
                  </a:cubicBezTo>
                  <a:cubicBezTo>
                    <a:pt x="286" y="145"/>
                    <a:pt x="242" y="197"/>
                    <a:pt x="242" y="197"/>
                  </a:cubicBezTo>
                  <a:cubicBezTo>
                    <a:pt x="266" y="198"/>
                    <a:pt x="266" y="198"/>
                    <a:pt x="266" y="198"/>
                  </a:cubicBezTo>
                  <a:cubicBezTo>
                    <a:pt x="244" y="212"/>
                    <a:pt x="244" y="212"/>
                    <a:pt x="244" y="212"/>
                  </a:cubicBezTo>
                  <a:cubicBezTo>
                    <a:pt x="264" y="213"/>
                    <a:pt x="264" y="213"/>
                    <a:pt x="264" y="213"/>
                  </a:cubicBezTo>
                  <a:cubicBezTo>
                    <a:pt x="286" y="204"/>
                    <a:pt x="286" y="204"/>
                    <a:pt x="286" y="204"/>
                  </a:cubicBezTo>
                  <a:cubicBezTo>
                    <a:pt x="291" y="219"/>
                    <a:pt x="291" y="219"/>
                    <a:pt x="291" y="219"/>
                  </a:cubicBezTo>
                  <a:cubicBezTo>
                    <a:pt x="244" y="260"/>
                    <a:pt x="244" y="260"/>
                    <a:pt x="244" y="260"/>
                  </a:cubicBezTo>
                  <a:cubicBezTo>
                    <a:pt x="216" y="256"/>
                    <a:pt x="216" y="256"/>
                    <a:pt x="216" y="256"/>
                  </a:cubicBezTo>
                  <a:cubicBezTo>
                    <a:pt x="232" y="240"/>
                    <a:pt x="232" y="240"/>
                    <a:pt x="232" y="240"/>
                  </a:cubicBezTo>
                  <a:cubicBezTo>
                    <a:pt x="210" y="242"/>
                    <a:pt x="210" y="242"/>
                    <a:pt x="210" y="242"/>
                  </a:cubicBezTo>
                  <a:cubicBezTo>
                    <a:pt x="205" y="237"/>
                    <a:pt x="205" y="237"/>
                    <a:pt x="205" y="237"/>
                  </a:cubicBezTo>
                  <a:cubicBezTo>
                    <a:pt x="158" y="243"/>
                    <a:pt x="158" y="243"/>
                    <a:pt x="158" y="243"/>
                  </a:cubicBezTo>
                  <a:cubicBezTo>
                    <a:pt x="133" y="239"/>
                    <a:pt x="133" y="239"/>
                    <a:pt x="133" y="239"/>
                  </a:cubicBezTo>
                  <a:cubicBezTo>
                    <a:pt x="131" y="236"/>
                    <a:pt x="131" y="236"/>
                    <a:pt x="131" y="23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59" y="228"/>
                    <a:pt x="168" y="217"/>
                    <a:pt x="152" y="217"/>
                  </a:cubicBezTo>
                  <a:cubicBezTo>
                    <a:pt x="136" y="216"/>
                    <a:pt x="64" y="199"/>
                    <a:pt x="64" y="199"/>
                  </a:cubicBezTo>
                  <a:cubicBezTo>
                    <a:pt x="64" y="199"/>
                    <a:pt x="24" y="213"/>
                    <a:pt x="12" y="201"/>
                  </a:cubicBezTo>
                  <a:cubicBezTo>
                    <a:pt x="0" y="189"/>
                    <a:pt x="34" y="186"/>
                    <a:pt x="34" y="186"/>
                  </a:cubicBezTo>
                  <a:cubicBezTo>
                    <a:pt x="34" y="186"/>
                    <a:pt x="6" y="183"/>
                    <a:pt x="8" y="176"/>
                  </a:cubicBezTo>
                  <a:cubicBezTo>
                    <a:pt x="10" y="170"/>
                    <a:pt x="50" y="153"/>
                    <a:pt x="50" y="153"/>
                  </a:cubicBezTo>
                  <a:cubicBezTo>
                    <a:pt x="106" y="101"/>
                    <a:pt x="106" y="101"/>
                    <a:pt x="106" y="101"/>
                  </a:cubicBezTo>
                  <a:cubicBezTo>
                    <a:pt x="143" y="65"/>
                    <a:pt x="143" y="65"/>
                    <a:pt x="143" y="65"/>
                  </a:cubicBezTo>
                  <a:lnTo>
                    <a:pt x="180" y="17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894" name="Freeform 10"/>
            <p:cNvSpPr>
              <a:spLocks/>
            </p:cNvSpPr>
            <p:nvPr/>
          </p:nvSpPr>
          <p:spPr bwMode="auto">
            <a:xfrm>
              <a:off x="1062" y="2459"/>
              <a:ext cx="45" cy="28"/>
            </a:xfrm>
            <a:custGeom>
              <a:avLst/>
              <a:gdLst>
                <a:gd name="T0" fmla="*/ 0 w 117"/>
                <a:gd name="T1" fmla="*/ 0 h 74"/>
                <a:gd name="T2" fmla="*/ 0 w 117"/>
                <a:gd name="T3" fmla="*/ 0 h 74"/>
                <a:gd name="T4" fmla="*/ 0 w 117"/>
                <a:gd name="T5" fmla="*/ 0 h 74"/>
                <a:gd name="T6" fmla="*/ 0 w 117"/>
                <a:gd name="T7" fmla="*/ 0 h 74"/>
                <a:gd name="T8" fmla="*/ 0 w 117"/>
                <a:gd name="T9" fmla="*/ 0 h 74"/>
                <a:gd name="T10" fmla="*/ 0 w 117"/>
                <a:gd name="T11" fmla="*/ 0 h 74"/>
                <a:gd name="T12" fmla="*/ 0 w 117"/>
                <a:gd name="T13" fmla="*/ 0 h 74"/>
                <a:gd name="T14" fmla="*/ 0 w 117"/>
                <a:gd name="T15" fmla="*/ 0 h 74"/>
                <a:gd name="T16" fmla="*/ 0 w 117"/>
                <a:gd name="T17" fmla="*/ 0 h 74"/>
                <a:gd name="T18" fmla="*/ 0 w 117"/>
                <a:gd name="T19" fmla="*/ 0 h 74"/>
                <a:gd name="T20" fmla="*/ 0 w 117"/>
                <a:gd name="T21" fmla="*/ 0 h 74"/>
                <a:gd name="T22" fmla="*/ 0 w 117"/>
                <a:gd name="T23" fmla="*/ 0 h 74"/>
                <a:gd name="T24" fmla="*/ 0 w 117"/>
                <a:gd name="T25" fmla="*/ 0 h 74"/>
                <a:gd name="T26" fmla="*/ 0 w 117"/>
                <a:gd name="T27" fmla="*/ 0 h 74"/>
                <a:gd name="T28" fmla="*/ 0 w 117"/>
                <a:gd name="T29" fmla="*/ 0 h 74"/>
                <a:gd name="T30" fmla="*/ 0 w 117"/>
                <a:gd name="T31" fmla="*/ 0 h 74"/>
                <a:gd name="T32" fmla="*/ 0 w 117"/>
                <a:gd name="T33" fmla="*/ 0 h 74"/>
                <a:gd name="T34" fmla="*/ 0 w 117"/>
                <a:gd name="T35" fmla="*/ 0 h 74"/>
                <a:gd name="T36" fmla="*/ 0 w 117"/>
                <a:gd name="T37" fmla="*/ 0 h 7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7"/>
                <a:gd name="T58" fmla="*/ 0 h 74"/>
                <a:gd name="T59" fmla="*/ 117 w 117"/>
                <a:gd name="T60" fmla="*/ 74 h 7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7" h="74">
                  <a:moveTo>
                    <a:pt x="116" y="57"/>
                  </a:moveTo>
                  <a:cubicBezTo>
                    <a:pt x="115" y="28"/>
                    <a:pt x="115" y="28"/>
                    <a:pt x="115" y="28"/>
                  </a:cubicBezTo>
                  <a:cubicBezTo>
                    <a:pt x="115" y="28"/>
                    <a:pt x="105" y="27"/>
                    <a:pt x="100" y="26"/>
                  </a:cubicBezTo>
                  <a:cubicBezTo>
                    <a:pt x="95" y="25"/>
                    <a:pt x="93" y="30"/>
                    <a:pt x="84" y="32"/>
                  </a:cubicBezTo>
                  <a:cubicBezTo>
                    <a:pt x="75" y="34"/>
                    <a:pt x="76" y="16"/>
                    <a:pt x="76" y="16"/>
                  </a:cubicBezTo>
                  <a:cubicBezTo>
                    <a:pt x="76" y="16"/>
                    <a:pt x="70" y="16"/>
                    <a:pt x="61" y="16"/>
                  </a:cubicBezTo>
                  <a:cubicBezTo>
                    <a:pt x="54" y="16"/>
                    <a:pt x="50" y="5"/>
                    <a:pt x="48" y="0"/>
                  </a:cubicBezTo>
                  <a:cubicBezTo>
                    <a:pt x="41" y="3"/>
                    <a:pt x="33" y="4"/>
                    <a:pt x="33" y="4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27" y="22"/>
                    <a:pt x="19" y="24"/>
                  </a:cubicBezTo>
                  <a:cubicBezTo>
                    <a:pt x="13" y="25"/>
                    <a:pt x="5" y="34"/>
                    <a:pt x="0" y="39"/>
                  </a:cubicBezTo>
                  <a:cubicBezTo>
                    <a:pt x="7" y="44"/>
                    <a:pt x="16" y="50"/>
                    <a:pt x="20" y="52"/>
                  </a:cubicBezTo>
                  <a:cubicBezTo>
                    <a:pt x="28" y="55"/>
                    <a:pt x="48" y="53"/>
                    <a:pt x="48" y="53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17" y="57"/>
                    <a:pt x="117" y="57"/>
                    <a:pt x="117" y="57"/>
                  </a:cubicBezTo>
                  <a:lnTo>
                    <a:pt x="116" y="57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895" name="Freeform 11"/>
            <p:cNvSpPr>
              <a:spLocks/>
            </p:cNvSpPr>
            <p:nvPr/>
          </p:nvSpPr>
          <p:spPr bwMode="auto">
            <a:xfrm>
              <a:off x="1085" y="2376"/>
              <a:ext cx="27" cy="53"/>
            </a:xfrm>
            <a:custGeom>
              <a:avLst/>
              <a:gdLst>
                <a:gd name="T0" fmla="*/ 0 w 72"/>
                <a:gd name="T1" fmla="*/ 0 h 140"/>
                <a:gd name="T2" fmla="*/ 0 w 72"/>
                <a:gd name="T3" fmla="*/ 0 h 140"/>
                <a:gd name="T4" fmla="*/ 0 w 72"/>
                <a:gd name="T5" fmla="*/ 0 h 140"/>
                <a:gd name="T6" fmla="*/ 0 w 72"/>
                <a:gd name="T7" fmla="*/ 0 h 140"/>
                <a:gd name="T8" fmla="*/ 0 w 72"/>
                <a:gd name="T9" fmla="*/ 0 h 140"/>
                <a:gd name="T10" fmla="*/ 0 w 72"/>
                <a:gd name="T11" fmla="*/ 0 h 140"/>
                <a:gd name="T12" fmla="*/ 0 w 72"/>
                <a:gd name="T13" fmla="*/ 0 h 140"/>
                <a:gd name="T14" fmla="*/ 0 w 72"/>
                <a:gd name="T15" fmla="*/ 0 h 140"/>
                <a:gd name="T16" fmla="*/ 0 w 72"/>
                <a:gd name="T17" fmla="*/ 0 h 140"/>
                <a:gd name="T18" fmla="*/ 0 w 72"/>
                <a:gd name="T19" fmla="*/ 0 h 140"/>
                <a:gd name="T20" fmla="*/ 0 w 72"/>
                <a:gd name="T21" fmla="*/ 0 h 140"/>
                <a:gd name="T22" fmla="*/ 0 w 72"/>
                <a:gd name="T23" fmla="*/ 0 h 140"/>
                <a:gd name="T24" fmla="*/ 0 w 72"/>
                <a:gd name="T25" fmla="*/ 0 h 14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2"/>
                <a:gd name="T40" fmla="*/ 0 h 140"/>
                <a:gd name="T41" fmla="*/ 72 w 72"/>
                <a:gd name="T42" fmla="*/ 140 h 14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2" h="140">
                  <a:moveTo>
                    <a:pt x="72" y="22"/>
                  </a:moveTo>
                  <a:cubicBezTo>
                    <a:pt x="72" y="17"/>
                    <a:pt x="54" y="11"/>
                    <a:pt x="54" y="11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44" y="32"/>
                    <a:pt x="33" y="33"/>
                  </a:cubicBezTo>
                  <a:cubicBezTo>
                    <a:pt x="22" y="34"/>
                    <a:pt x="28" y="26"/>
                    <a:pt x="23" y="26"/>
                  </a:cubicBezTo>
                  <a:cubicBezTo>
                    <a:pt x="18" y="26"/>
                    <a:pt x="16" y="36"/>
                    <a:pt x="16" y="36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55" y="104"/>
                    <a:pt x="55" y="93"/>
                  </a:cubicBezTo>
                  <a:cubicBezTo>
                    <a:pt x="55" y="82"/>
                    <a:pt x="51" y="70"/>
                    <a:pt x="55" y="60"/>
                  </a:cubicBezTo>
                  <a:cubicBezTo>
                    <a:pt x="59" y="50"/>
                    <a:pt x="72" y="27"/>
                    <a:pt x="72" y="22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896" name="Freeform 12"/>
            <p:cNvSpPr>
              <a:spLocks/>
            </p:cNvSpPr>
            <p:nvPr/>
          </p:nvSpPr>
          <p:spPr bwMode="auto">
            <a:xfrm>
              <a:off x="1027" y="2389"/>
              <a:ext cx="76" cy="85"/>
            </a:xfrm>
            <a:custGeom>
              <a:avLst/>
              <a:gdLst>
                <a:gd name="T0" fmla="*/ 0 w 199"/>
                <a:gd name="T1" fmla="*/ 0 h 222"/>
                <a:gd name="T2" fmla="*/ 0 w 199"/>
                <a:gd name="T3" fmla="*/ 0 h 222"/>
                <a:gd name="T4" fmla="*/ 0 w 199"/>
                <a:gd name="T5" fmla="*/ 0 h 222"/>
                <a:gd name="T6" fmla="*/ 0 w 199"/>
                <a:gd name="T7" fmla="*/ 0 h 222"/>
                <a:gd name="T8" fmla="*/ 0 w 199"/>
                <a:gd name="T9" fmla="*/ 0 h 222"/>
                <a:gd name="T10" fmla="*/ 0 w 199"/>
                <a:gd name="T11" fmla="*/ 0 h 222"/>
                <a:gd name="T12" fmla="*/ 0 w 199"/>
                <a:gd name="T13" fmla="*/ 0 h 222"/>
                <a:gd name="T14" fmla="*/ 0 w 199"/>
                <a:gd name="T15" fmla="*/ 0 h 222"/>
                <a:gd name="T16" fmla="*/ 0 w 199"/>
                <a:gd name="T17" fmla="*/ 0 h 222"/>
                <a:gd name="T18" fmla="*/ 0 w 199"/>
                <a:gd name="T19" fmla="*/ 0 h 222"/>
                <a:gd name="T20" fmla="*/ 0 w 199"/>
                <a:gd name="T21" fmla="*/ 0 h 222"/>
                <a:gd name="T22" fmla="*/ 0 w 199"/>
                <a:gd name="T23" fmla="*/ 0 h 222"/>
                <a:gd name="T24" fmla="*/ 0 w 199"/>
                <a:gd name="T25" fmla="*/ 0 h 222"/>
                <a:gd name="T26" fmla="*/ 0 w 199"/>
                <a:gd name="T27" fmla="*/ 0 h 222"/>
                <a:gd name="T28" fmla="*/ 0 w 199"/>
                <a:gd name="T29" fmla="*/ 0 h 222"/>
                <a:gd name="T30" fmla="*/ 0 w 199"/>
                <a:gd name="T31" fmla="*/ 0 h 222"/>
                <a:gd name="T32" fmla="*/ 0 w 199"/>
                <a:gd name="T33" fmla="*/ 0 h 222"/>
                <a:gd name="T34" fmla="*/ 0 w 199"/>
                <a:gd name="T35" fmla="*/ 0 h 222"/>
                <a:gd name="T36" fmla="*/ 0 w 199"/>
                <a:gd name="T37" fmla="*/ 0 h 222"/>
                <a:gd name="T38" fmla="*/ 0 w 199"/>
                <a:gd name="T39" fmla="*/ 0 h 222"/>
                <a:gd name="T40" fmla="*/ 0 w 199"/>
                <a:gd name="T41" fmla="*/ 0 h 222"/>
                <a:gd name="T42" fmla="*/ 0 w 199"/>
                <a:gd name="T43" fmla="*/ 0 h 222"/>
                <a:gd name="T44" fmla="*/ 0 w 199"/>
                <a:gd name="T45" fmla="*/ 0 h 222"/>
                <a:gd name="T46" fmla="*/ 0 w 199"/>
                <a:gd name="T47" fmla="*/ 0 h 222"/>
                <a:gd name="T48" fmla="*/ 0 w 199"/>
                <a:gd name="T49" fmla="*/ 0 h 222"/>
                <a:gd name="T50" fmla="*/ 0 w 199"/>
                <a:gd name="T51" fmla="*/ 0 h 222"/>
                <a:gd name="T52" fmla="*/ 0 w 199"/>
                <a:gd name="T53" fmla="*/ 0 h 222"/>
                <a:gd name="T54" fmla="*/ 0 w 199"/>
                <a:gd name="T55" fmla="*/ 0 h 222"/>
                <a:gd name="T56" fmla="*/ 0 w 199"/>
                <a:gd name="T57" fmla="*/ 0 h 222"/>
                <a:gd name="T58" fmla="*/ 0 w 199"/>
                <a:gd name="T59" fmla="*/ 0 h 222"/>
                <a:gd name="T60" fmla="*/ 0 w 199"/>
                <a:gd name="T61" fmla="*/ 0 h 22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99"/>
                <a:gd name="T94" fmla="*/ 0 h 222"/>
                <a:gd name="T95" fmla="*/ 199 w 199"/>
                <a:gd name="T96" fmla="*/ 222 h 22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99" h="222">
                  <a:moveTo>
                    <a:pt x="190" y="103"/>
                  </a:moveTo>
                  <a:cubicBezTo>
                    <a:pt x="179" y="110"/>
                    <a:pt x="179" y="110"/>
                    <a:pt x="179" y="110"/>
                  </a:cubicBezTo>
                  <a:cubicBezTo>
                    <a:pt x="170" y="105"/>
                    <a:pt x="170" y="105"/>
                    <a:pt x="170" y="105"/>
                  </a:cubicBezTo>
                  <a:cubicBezTo>
                    <a:pt x="152" y="105"/>
                    <a:pt x="152" y="105"/>
                    <a:pt x="152" y="105"/>
                  </a:cubicBezTo>
                  <a:cubicBezTo>
                    <a:pt x="168" y="1"/>
                    <a:pt x="168" y="1"/>
                    <a:pt x="168" y="1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4" y="24"/>
                    <a:pt x="82" y="30"/>
                  </a:cubicBezTo>
                  <a:cubicBezTo>
                    <a:pt x="80" y="36"/>
                    <a:pt x="54" y="34"/>
                    <a:pt x="54" y="34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5" y="54"/>
                    <a:pt x="75" y="56"/>
                  </a:cubicBezTo>
                  <a:cubicBezTo>
                    <a:pt x="85" y="58"/>
                    <a:pt x="87" y="57"/>
                    <a:pt x="87" y="57"/>
                  </a:cubicBezTo>
                  <a:cubicBezTo>
                    <a:pt x="91" y="73"/>
                    <a:pt x="91" y="73"/>
                    <a:pt x="91" y="73"/>
                  </a:cubicBezTo>
                  <a:cubicBezTo>
                    <a:pt x="91" y="73"/>
                    <a:pt x="103" y="69"/>
                    <a:pt x="103" y="79"/>
                  </a:cubicBezTo>
                  <a:cubicBezTo>
                    <a:pt x="103" y="89"/>
                    <a:pt x="94" y="86"/>
                    <a:pt x="94" y="86"/>
                  </a:cubicBezTo>
                  <a:cubicBezTo>
                    <a:pt x="94" y="97"/>
                    <a:pt x="94" y="97"/>
                    <a:pt x="94" y="97"/>
                  </a:cubicBezTo>
                  <a:cubicBezTo>
                    <a:pt x="35" y="96"/>
                    <a:pt x="35" y="96"/>
                    <a:pt x="35" y="96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49"/>
                    <a:pt x="14" y="165"/>
                  </a:cubicBezTo>
                  <a:cubicBezTo>
                    <a:pt x="14" y="181"/>
                    <a:pt x="0" y="179"/>
                    <a:pt x="0" y="179"/>
                  </a:cubicBezTo>
                  <a:cubicBezTo>
                    <a:pt x="3" y="185"/>
                    <a:pt x="7" y="189"/>
                    <a:pt x="14" y="192"/>
                  </a:cubicBezTo>
                  <a:cubicBezTo>
                    <a:pt x="33" y="199"/>
                    <a:pt x="36" y="209"/>
                    <a:pt x="47" y="213"/>
                  </a:cubicBezTo>
                  <a:cubicBezTo>
                    <a:pt x="58" y="217"/>
                    <a:pt x="80" y="213"/>
                    <a:pt x="80" y="213"/>
                  </a:cubicBezTo>
                  <a:cubicBezTo>
                    <a:pt x="80" y="213"/>
                    <a:pt x="86" y="217"/>
                    <a:pt x="92" y="222"/>
                  </a:cubicBezTo>
                  <a:cubicBezTo>
                    <a:pt x="97" y="217"/>
                    <a:pt x="105" y="208"/>
                    <a:pt x="111" y="207"/>
                  </a:cubicBezTo>
                  <a:cubicBezTo>
                    <a:pt x="119" y="205"/>
                    <a:pt x="124" y="195"/>
                    <a:pt x="124" y="195"/>
                  </a:cubicBezTo>
                  <a:cubicBezTo>
                    <a:pt x="125" y="187"/>
                    <a:pt x="125" y="187"/>
                    <a:pt x="125" y="187"/>
                  </a:cubicBezTo>
                  <a:cubicBezTo>
                    <a:pt x="125" y="187"/>
                    <a:pt x="146" y="185"/>
                    <a:pt x="149" y="176"/>
                  </a:cubicBezTo>
                  <a:cubicBezTo>
                    <a:pt x="152" y="167"/>
                    <a:pt x="151" y="155"/>
                    <a:pt x="151" y="155"/>
                  </a:cubicBezTo>
                  <a:cubicBezTo>
                    <a:pt x="151" y="155"/>
                    <a:pt x="164" y="139"/>
                    <a:pt x="179" y="131"/>
                  </a:cubicBezTo>
                  <a:cubicBezTo>
                    <a:pt x="194" y="123"/>
                    <a:pt x="199" y="112"/>
                    <a:pt x="199" y="112"/>
                  </a:cubicBezTo>
                  <a:lnTo>
                    <a:pt x="190" y="103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897" name="Freeform 13"/>
            <p:cNvSpPr>
              <a:spLocks/>
            </p:cNvSpPr>
            <p:nvPr/>
          </p:nvSpPr>
          <p:spPr bwMode="auto">
            <a:xfrm>
              <a:off x="673" y="2088"/>
              <a:ext cx="474" cy="370"/>
            </a:xfrm>
            <a:custGeom>
              <a:avLst/>
              <a:gdLst>
                <a:gd name="T0" fmla="*/ 0 w 1247"/>
                <a:gd name="T1" fmla="*/ 0 h 976"/>
                <a:gd name="T2" fmla="*/ 0 w 1247"/>
                <a:gd name="T3" fmla="*/ 0 h 976"/>
                <a:gd name="T4" fmla="*/ 0 w 1247"/>
                <a:gd name="T5" fmla="*/ 0 h 976"/>
                <a:gd name="T6" fmla="*/ 0 w 1247"/>
                <a:gd name="T7" fmla="*/ 0 h 976"/>
                <a:gd name="T8" fmla="*/ 0 w 1247"/>
                <a:gd name="T9" fmla="*/ 0 h 976"/>
                <a:gd name="T10" fmla="*/ 0 w 1247"/>
                <a:gd name="T11" fmla="*/ 0 h 976"/>
                <a:gd name="T12" fmla="*/ 0 w 1247"/>
                <a:gd name="T13" fmla="*/ 0 h 976"/>
                <a:gd name="T14" fmla="*/ 0 w 1247"/>
                <a:gd name="T15" fmla="*/ 0 h 976"/>
                <a:gd name="T16" fmla="*/ 0 w 1247"/>
                <a:gd name="T17" fmla="*/ 0 h 976"/>
                <a:gd name="T18" fmla="*/ 0 w 1247"/>
                <a:gd name="T19" fmla="*/ 0 h 976"/>
                <a:gd name="T20" fmla="*/ 0 w 1247"/>
                <a:gd name="T21" fmla="*/ 0 h 976"/>
                <a:gd name="T22" fmla="*/ 0 w 1247"/>
                <a:gd name="T23" fmla="*/ 0 h 976"/>
                <a:gd name="T24" fmla="*/ 0 w 1247"/>
                <a:gd name="T25" fmla="*/ 0 h 976"/>
                <a:gd name="T26" fmla="*/ 0 w 1247"/>
                <a:gd name="T27" fmla="*/ 0 h 976"/>
                <a:gd name="T28" fmla="*/ 0 w 1247"/>
                <a:gd name="T29" fmla="*/ 0 h 976"/>
                <a:gd name="T30" fmla="*/ 0 w 1247"/>
                <a:gd name="T31" fmla="*/ 0 h 976"/>
                <a:gd name="T32" fmla="*/ 0 w 1247"/>
                <a:gd name="T33" fmla="*/ 0 h 976"/>
                <a:gd name="T34" fmla="*/ 0 w 1247"/>
                <a:gd name="T35" fmla="*/ 0 h 976"/>
                <a:gd name="T36" fmla="*/ 0 w 1247"/>
                <a:gd name="T37" fmla="*/ 0 h 976"/>
                <a:gd name="T38" fmla="*/ 0 w 1247"/>
                <a:gd name="T39" fmla="*/ 0 h 976"/>
                <a:gd name="T40" fmla="*/ 0 w 1247"/>
                <a:gd name="T41" fmla="*/ 0 h 976"/>
                <a:gd name="T42" fmla="*/ 0 w 1247"/>
                <a:gd name="T43" fmla="*/ 0 h 976"/>
                <a:gd name="T44" fmla="*/ 0 w 1247"/>
                <a:gd name="T45" fmla="*/ 0 h 976"/>
                <a:gd name="T46" fmla="*/ 0 w 1247"/>
                <a:gd name="T47" fmla="*/ 0 h 976"/>
                <a:gd name="T48" fmla="*/ 0 w 1247"/>
                <a:gd name="T49" fmla="*/ 0 h 976"/>
                <a:gd name="T50" fmla="*/ 0 w 1247"/>
                <a:gd name="T51" fmla="*/ 0 h 976"/>
                <a:gd name="T52" fmla="*/ 0 w 1247"/>
                <a:gd name="T53" fmla="*/ 0 h 976"/>
                <a:gd name="T54" fmla="*/ 0 w 1247"/>
                <a:gd name="T55" fmla="*/ 0 h 976"/>
                <a:gd name="T56" fmla="*/ 0 w 1247"/>
                <a:gd name="T57" fmla="*/ 0 h 976"/>
                <a:gd name="T58" fmla="*/ 0 w 1247"/>
                <a:gd name="T59" fmla="*/ 0 h 976"/>
                <a:gd name="T60" fmla="*/ 0 w 1247"/>
                <a:gd name="T61" fmla="*/ 0 h 976"/>
                <a:gd name="T62" fmla="*/ 0 w 1247"/>
                <a:gd name="T63" fmla="*/ 0 h 976"/>
                <a:gd name="T64" fmla="*/ 0 w 1247"/>
                <a:gd name="T65" fmla="*/ 0 h 976"/>
                <a:gd name="T66" fmla="*/ 0 w 1247"/>
                <a:gd name="T67" fmla="*/ 0 h 976"/>
                <a:gd name="T68" fmla="*/ 0 w 1247"/>
                <a:gd name="T69" fmla="*/ 0 h 976"/>
                <a:gd name="T70" fmla="*/ 0 w 1247"/>
                <a:gd name="T71" fmla="*/ 0 h 976"/>
                <a:gd name="T72" fmla="*/ 0 w 1247"/>
                <a:gd name="T73" fmla="*/ 0 h 976"/>
                <a:gd name="T74" fmla="*/ 0 w 1247"/>
                <a:gd name="T75" fmla="*/ 0 h 976"/>
                <a:gd name="T76" fmla="*/ 0 w 1247"/>
                <a:gd name="T77" fmla="*/ 0 h 976"/>
                <a:gd name="T78" fmla="*/ 0 w 1247"/>
                <a:gd name="T79" fmla="*/ 0 h 976"/>
                <a:gd name="T80" fmla="*/ 0 w 1247"/>
                <a:gd name="T81" fmla="*/ 0 h 976"/>
                <a:gd name="T82" fmla="*/ 0 w 1247"/>
                <a:gd name="T83" fmla="*/ 0 h 976"/>
                <a:gd name="T84" fmla="*/ 0 w 1247"/>
                <a:gd name="T85" fmla="*/ 0 h 976"/>
                <a:gd name="T86" fmla="*/ 0 w 1247"/>
                <a:gd name="T87" fmla="*/ 0 h 976"/>
                <a:gd name="T88" fmla="*/ 0 w 1247"/>
                <a:gd name="T89" fmla="*/ 0 h 976"/>
                <a:gd name="T90" fmla="*/ 0 w 1247"/>
                <a:gd name="T91" fmla="*/ 0 h 976"/>
                <a:gd name="T92" fmla="*/ 0 w 1247"/>
                <a:gd name="T93" fmla="*/ 0 h 976"/>
                <a:gd name="T94" fmla="*/ 0 w 1247"/>
                <a:gd name="T95" fmla="*/ 0 h 976"/>
                <a:gd name="T96" fmla="*/ 0 w 1247"/>
                <a:gd name="T97" fmla="*/ 0 h 976"/>
                <a:gd name="T98" fmla="*/ 0 w 1247"/>
                <a:gd name="T99" fmla="*/ 0 h 976"/>
                <a:gd name="T100" fmla="*/ 0 w 1247"/>
                <a:gd name="T101" fmla="*/ 0 h 976"/>
                <a:gd name="T102" fmla="*/ 0 w 1247"/>
                <a:gd name="T103" fmla="*/ 0 h 976"/>
                <a:gd name="T104" fmla="*/ 0 w 1247"/>
                <a:gd name="T105" fmla="*/ 0 h 976"/>
                <a:gd name="T106" fmla="*/ 0 w 1247"/>
                <a:gd name="T107" fmla="*/ 0 h 976"/>
                <a:gd name="T108" fmla="*/ 0 w 1247"/>
                <a:gd name="T109" fmla="*/ 0 h 976"/>
                <a:gd name="T110" fmla="*/ 0 w 1247"/>
                <a:gd name="T111" fmla="*/ 0 h 976"/>
                <a:gd name="T112" fmla="*/ 0 w 1247"/>
                <a:gd name="T113" fmla="*/ 0 h 976"/>
                <a:gd name="T114" fmla="*/ 0 w 1247"/>
                <a:gd name="T115" fmla="*/ 0 h 976"/>
                <a:gd name="T116" fmla="*/ 0 w 1247"/>
                <a:gd name="T117" fmla="*/ 0 h 976"/>
                <a:gd name="T118" fmla="*/ 0 w 1247"/>
                <a:gd name="T119" fmla="*/ 0 h 976"/>
                <a:gd name="T120" fmla="*/ 0 w 1247"/>
                <a:gd name="T121" fmla="*/ 0 h 97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47"/>
                <a:gd name="T184" fmla="*/ 0 h 976"/>
                <a:gd name="T185" fmla="*/ 1247 w 1247"/>
                <a:gd name="T186" fmla="*/ 976 h 97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47" h="976">
                  <a:moveTo>
                    <a:pt x="947" y="960"/>
                  </a:moveTo>
                  <a:cubicBezTo>
                    <a:pt x="947" y="944"/>
                    <a:pt x="947" y="922"/>
                    <a:pt x="947" y="922"/>
                  </a:cubicBezTo>
                  <a:cubicBezTo>
                    <a:pt x="968" y="891"/>
                    <a:pt x="968" y="891"/>
                    <a:pt x="968" y="891"/>
                  </a:cubicBezTo>
                  <a:cubicBezTo>
                    <a:pt x="1027" y="892"/>
                    <a:pt x="1027" y="892"/>
                    <a:pt x="1027" y="892"/>
                  </a:cubicBezTo>
                  <a:cubicBezTo>
                    <a:pt x="1027" y="881"/>
                    <a:pt x="1027" y="881"/>
                    <a:pt x="1027" y="881"/>
                  </a:cubicBezTo>
                  <a:cubicBezTo>
                    <a:pt x="1027" y="881"/>
                    <a:pt x="1036" y="884"/>
                    <a:pt x="1036" y="874"/>
                  </a:cubicBezTo>
                  <a:cubicBezTo>
                    <a:pt x="1036" y="864"/>
                    <a:pt x="1024" y="868"/>
                    <a:pt x="1024" y="868"/>
                  </a:cubicBezTo>
                  <a:cubicBezTo>
                    <a:pt x="1020" y="852"/>
                    <a:pt x="1020" y="852"/>
                    <a:pt x="1020" y="852"/>
                  </a:cubicBezTo>
                  <a:cubicBezTo>
                    <a:pt x="1020" y="852"/>
                    <a:pt x="1018" y="853"/>
                    <a:pt x="1008" y="851"/>
                  </a:cubicBezTo>
                  <a:cubicBezTo>
                    <a:pt x="998" y="849"/>
                    <a:pt x="997" y="833"/>
                    <a:pt x="997" y="833"/>
                  </a:cubicBezTo>
                  <a:cubicBezTo>
                    <a:pt x="987" y="829"/>
                    <a:pt x="987" y="829"/>
                    <a:pt x="987" y="829"/>
                  </a:cubicBezTo>
                  <a:cubicBezTo>
                    <a:pt x="987" y="829"/>
                    <a:pt x="1013" y="831"/>
                    <a:pt x="1015" y="825"/>
                  </a:cubicBezTo>
                  <a:cubicBezTo>
                    <a:pt x="1017" y="819"/>
                    <a:pt x="1014" y="795"/>
                    <a:pt x="1014" y="795"/>
                  </a:cubicBezTo>
                  <a:cubicBezTo>
                    <a:pt x="1101" y="796"/>
                    <a:pt x="1101" y="796"/>
                    <a:pt x="1101" y="796"/>
                  </a:cubicBezTo>
                  <a:cubicBezTo>
                    <a:pt x="1101" y="796"/>
                    <a:pt x="1103" y="786"/>
                    <a:pt x="1108" y="786"/>
                  </a:cubicBezTo>
                  <a:cubicBezTo>
                    <a:pt x="1113" y="786"/>
                    <a:pt x="1107" y="794"/>
                    <a:pt x="1118" y="793"/>
                  </a:cubicBezTo>
                  <a:cubicBezTo>
                    <a:pt x="1129" y="792"/>
                    <a:pt x="1136" y="760"/>
                    <a:pt x="1136" y="760"/>
                  </a:cubicBezTo>
                  <a:cubicBezTo>
                    <a:pt x="1139" y="771"/>
                    <a:pt x="1139" y="771"/>
                    <a:pt x="1139" y="771"/>
                  </a:cubicBezTo>
                  <a:cubicBezTo>
                    <a:pt x="1150" y="761"/>
                    <a:pt x="1150" y="761"/>
                    <a:pt x="1150" y="761"/>
                  </a:cubicBezTo>
                  <a:cubicBezTo>
                    <a:pt x="1164" y="745"/>
                    <a:pt x="1164" y="745"/>
                    <a:pt x="1164" y="745"/>
                  </a:cubicBezTo>
                  <a:cubicBezTo>
                    <a:pt x="1164" y="745"/>
                    <a:pt x="1158" y="764"/>
                    <a:pt x="1162" y="767"/>
                  </a:cubicBezTo>
                  <a:cubicBezTo>
                    <a:pt x="1166" y="770"/>
                    <a:pt x="1173" y="770"/>
                    <a:pt x="1173" y="770"/>
                  </a:cubicBezTo>
                  <a:cubicBezTo>
                    <a:pt x="1188" y="725"/>
                    <a:pt x="1188" y="725"/>
                    <a:pt x="1188" y="725"/>
                  </a:cubicBezTo>
                  <a:cubicBezTo>
                    <a:pt x="1182" y="717"/>
                    <a:pt x="1182" y="717"/>
                    <a:pt x="1182" y="717"/>
                  </a:cubicBezTo>
                  <a:cubicBezTo>
                    <a:pt x="1195" y="713"/>
                    <a:pt x="1195" y="713"/>
                    <a:pt x="1195" y="713"/>
                  </a:cubicBezTo>
                  <a:cubicBezTo>
                    <a:pt x="1196" y="705"/>
                    <a:pt x="1196" y="705"/>
                    <a:pt x="1196" y="705"/>
                  </a:cubicBezTo>
                  <a:cubicBezTo>
                    <a:pt x="1184" y="701"/>
                    <a:pt x="1184" y="701"/>
                    <a:pt x="1184" y="701"/>
                  </a:cubicBezTo>
                  <a:cubicBezTo>
                    <a:pt x="1196" y="688"/>
                    <a:pt x="1196" y="688"/>
                    <a:pt x="1196" y="688"/>
                  </a:cubicBezTo>
                  <a:cubicBezTo>
                    <a:pt x="1200" y="672"/>
                    <a:pt x="1200" y="672"/>
                    <a:pt x="1200" y="672"/>
                  </a:cubicBezTo>
                  <a:cubicBezTo>
                    <a:pt x="1200" y="672"/>
                    <a:pt x="1230" y="641"/>
                    <a:pt x="1234" y="632"/>
                  </a:cubicBezTo>
                  <a:cubicBezTo>
                    <a:pt x="1238" y="623"/>
                    <a:pt x="1247" y="600"/>
                    <a:pt x="1236" y="597"/>
                  </a:cubicBezTo>
                  <a:cubicBezTo>
                    <a:pt x="1225" y="594"/>
                    <a:pt x="1203" y="601"/>
                    <a:pt x="1203" y="601"/>
                  </a:cubicBezTo>
                  <a:cubicBezTo>
                    <a:pt x="1203" y="601"/>
                    <a:pt x="1179" y="594"/>
                    <a:pt x="1172" y="594"/>
                  </a:cubicBezTo>
                  <a:cubicBezTo>
                    <a:pt x="1165" y="594"/>
                    <a:pt x="1137" y="602"/>
                    <a:pt x="1123" y="606"/>
                  </a:cubicBezTo>
                  <a:cubicBezTo>
                    <a:pt x="1109" y="610"/>
                    <a:pt x="1084" y="606"/>
                    <a:pt x="1078" y="612"/>
                  </a:cubicBezTo>
                  <a:cubicBezTo>
                    <a:pt x="1072" y="618"/>
                    <a:pt x="1061" y="639"/>
                    <a:pt x="1060" y="655"/>
                  </a:cubicBezTo>
                  <a:cubicBezTo>
                    <a:pt x="1059" y="671"/>
                    <a:pt x="1059" y="686"/>
                    <a:pt x="1059" y="686"/>
                  </a:cubicBezTo>
                  <a:cubicBezTo>
                    <a:pt x="1049" y="690"/>
                    <a:pt x="1049" y="690"/>
                    <a:pt x="1049" y="690"/>
                  </a:cubicBezTo>
                  <a:cubicBezTo>
                    <a:pt x="1049" y="690"/>
                    <a:pt x="1049" y="710"/>
                    <a:pt x="1043" y="716"/>
                  </a:cubicBezTo>
                  <a:cubicBezTo>
                    <a:pt x="1037" y="722"/>
                    <a:pt x="1016" y="728"/>
                    <a:pt x="1011" y="737"/>
                  </a:cubicBezTo>
                  <a:cubicBezTo>
                    <a:pt x="1006" y="746"/>
                    <a:pt x="1009" y="765"/>
                    <a:pt x="996" y="766"/>
                  </a:cubicBezTo>
                  <a:cubicBezTo>
                    <a:pt x="983" y="767"/>
                    <a:pt x="990" y="749"/>
                    <a:pt x="974" y="749"/>
                  </a:cubicBezTo>
                  <a:cubicBezTo>
                    <a:pt x="958" y="749"/>
                    <a:pt x="932" y="761"/>
                    <a:pt x="912" y="761"/>
                  </a:cubicBezTo>
                  <a:cubicBezTo>
                    <a:pt x="892" y="761"/>
                    <a:pt x="864" y="784"/>
                    <a:pt x="855" y="780"/>
                  </a:cubicBezTo>
                  <a:cubicBezTo>
                    <a:pt x="846" y="776"/>
                    <a:pt x="847" y="755"/>
                    <a:pt x="836" y="753"/>
                  </a:cubicBezTo>
                  <a:cubicBezTo>
                    <a:pt x="825" y="751"/>
                    <a:pt x="797" y="748"/>
                    <a:pt x="797" y="748"/>
                  </a:cubicBezTo>
                  <a:cubicBezTo>
                    <a:pt x="797" y="748"/>
                    <a:pt x="795" y="731"/>
                    <a:pt x="790" y="724"/>
                  </a:cubicBezTo>
                  <a:cubicBezTo>
                    <a:pt x="785" y="717"/>
                    <a:pt x="777" y="708"/>
                    <a:pt x="777" y="708"/>
                  </a:cubicBezTo>
                  <a:cubicBezTo>
                    <a:pt x="777" y="685"/>
                    <a:pt x="777" y="685"/>
                    <a:pt x="777" y="685"/>
                  </a:cubicBezTo>
                  <a:cubicBezTo>
                    <a:pt x="751" y="644"/>
                    <a:pt x="751" y="644"/>
                    <a:pt x="751" y="644"/>
                  </a:cubicBezTo>
                  <a:cubicBezTo>
                    <a:pt x="750" y="616"/>
                    <a:pt x="750" y="616"/>
                    <a:pt x="750" y="616"/>
                  </a:cubicBezTo>
                  <a:cubicBezTo>
                    <a:pt x="739" y="596"/>
                    <a:pt x="739" y="596"/>
                    <a:pt x="739" y="596"/>
                  </a:cubicBezTo>
                  <a:cubicBezTo>
                    <a:pt x="736" y="539"/>
                    <a:pt x="736" y="539"/>
                    <a:pt x="736" y="539"/>
                  </a:cubicBezTo>
                  <a:cubicBezTo>
                    <a:pt x="736" y="539"/>
                    <a:pt x="752" y="518"/>
                    <a:pt x="752" y="507"/>
                  </a:cubicBezTo>
                  <a:cubicBezTo>
                    <a:pt x="752" y="496"/>
                    <a:pt x="754" y="466"/>
                    <a:pt x="754" y="466"/>
                  </a:cubicBezTo>
                  <a:cubicBezTo>
                    <a:pt x="752" y="439"/>
                    <a:pt x="752" y="439"/>
                    <a:pt x="752" y="439"/>
                  </a:cubicBezTo>
                  <a:cubicBezTo>
                    <a:pt x="768" y="434"/>
                    <a:pt x="768" y="434"/>
                    <a:pt x="768" y="434"/>
                  </a:cubicBezTo>
                  <a:cubicBezTo>
                    <a:pt x="768" y="434"/>
                    <a:pt x="767" y="394"/>
                    <a:pt x="775" y="392"/>
                  </a:cubicBezTo>
                  <a:cubicBezTo>
                    <a:pt x="783" y="390"/>
                    <a:pt x="791" y="401"/>
                    <a:pt x="793" y="392"/>
                  </a:cubicBezTo>
                  <a:cubicBezTo>
                    <a:pt x="795" y="383"/>
                    <a:pt x="806" y="364"/>
                    <a:pt x="806" y="364"/>
                  </a:cubicBezTo>
                  <a:cubicBezTo>
                    <a:pt x="806" y="363"/>
                    <a:pt x="806" y="363"/>
                    <a:pt x="806" y="363"/>
                  </a:cubicBezTo>
                  <a:cubicBezTo>
                    <a:pt x="803" y="364"/>
                    <a:pt x="799" y="365"/>
                    <a:pt x="794" y="365"/>
                  </a:cubicBezTo>
                  <a:cubicBezTo>
                    <a:pt x="783" y="365"/>
                    <a:pt x="785" y="355"/>
                    <a:pt x="780" y="355"/>
                  </a:cubicBezTo>
                  <a:cubicBezTo>
                    <a:pt x="775" y="355"/>
                    <a:pt x="756" y="355"/>
                    <a:pt x="756" y="355"/>
                  </a:cubicBezTo>
                  <a:cubicBezTo>
                    <a:pt x="750" y="344"/>
                    <a:pt x="750" y="344"/>
                    <a:pt x="750" y="344"/>
                  </a:cubicBezTo>
                  <a:cubicBezTo>
                    <a:pt x="750" y="344"/>
                    <a:pt x="720" y="343"/>
                    <a:pt x="720" y="332"/>
                  </a:cubicBezTo>
                  <a:cubicBezTo>
                    <a:pt x="720" y="321"/>
                    <a:pt x="722" y="313"/>
                    <a:pt x="722" y="313"/>
                  </a:cubicBezTo>
                  <a:cubicBezTo>
                    <a:pt x="714" y="307"/>
                    <a:pt x="714" y="307"/>
                    <a:pt x="714" y="307"/>
                  </a:cubicBezTo>
                  <a:cubicBezTo>
                    <a:pt x="714" y="280"/>
                    <a:pt x="714" y="280"/>
                    <a:pt x="714" y="280"/>
                  </a:cubicBezTo>
                  <a:cubicBezTo>
                    <a:pt x="714" y="280"/>
                    <a:pt x="724" y="277"/>
                    <a:pt x="717" y="270"/>
                  </a:cubicBezTo>
                  <a:cubicBezTo>
                    <a:pt x="710" y="263"/>
                    <a:pt x="701" y="262"/>
                    <a:pt x="701" y="254"/>
                  </a:cubicBezTo>
                  <a:cubicBezTo>
                    <a:pt x="701" y="247"/>
                    <a:pt x="700" y="241"/>
                    <a:pt x="700" y="241"/>
                  </a:cubicBezTo>
                  <a:cubicBezTo>
                    <a:pt x="700" y="241"/>
                    <a:pt x="689" y="234"/>
                    <a:pt x="689" y="225"/>
                  </a:cubicBezTo>
                  <a:cubicBezTo>
                    <a:pt x="689" y="216"/>
                    <a:pt x="697" y="201"/>
                    <a:pt x="689" y="193"/>
                  </a:cubicBezTo>
                  <a:cubicBezTo>
                    <a:pt x="681" y="185"/>
                    <a:pt x="661" y="154"/>
                    <a:pt x="661" y="154"/>
                  </a:cubicBezTo>
                  <a:cubicBezTo>
                    <a:pt x="632" y="153"/>
                    <a:pt x="632" y="153"/>
                    <a:pt x="632" y="153"/>
                  </a:cubicBezTo>
                  <a:cubicBezTo>
                    <a:pt x="622" y="148"/>
                    <a:pt x="622" y="148"/>
                    <a:pt x="622" y="148"/>
                  </a:cubicBezTo>
                  <a:cubicBezTo>
                    <a:pt x="621" y="154"/>
                    <a:pt x="621" y="154"/>
                    <a:pt x="621" y="154"/>
                  </a:cubicBezTo>
                  <a:cubicBezTo>
                    <a:pt x="621" y="154"/>
                    <a:pt x="609" y="153"/>
                    <a:pt x="605" y="157"/>
                  </a:cubicBezTo>
                  <a:cubicBezTo>
                    <a:pt x="601" y="161"/>
                    <a:pt x="588" y="195"/>
                    <a:pt x="569" y="195"/>
                  </a:cubicBezTo>
                  <a:cubicBezTo>
                    <a:pt x="550" y="195"/>
                    <a:pt x="519" y="161"/>
                    <a:pt x="519" y="161"/>
                  </a:cubicBezTo>
                  <a:cubicBezTo>
                    <a:pt x="519" y="161"/>
                    <a:pt x="529" y="119"/>
                    <a:pt x="519" y="109"/>
                  </a:cubicBezTo>
                  <a:cubicBezTo>
                    <a:pt x="508" y="98"/>
                    <a:pt x="497" y="97"/>
                    <a:pt x="497" y="97"/>
                  </a:cubicBezTo>
                  <a:cubicBezTo>
                    <a:pt x="491" y="76"/>
                    <a:pt x="491" y="76"/>
                    <a:pt x="491" y="76"/>
                  </a:cubicBezTo>
                  <a:cubicBezTo>
                    <a:pt x="473" y="68"/>
                    <a:pt x="473" y="68"/>
                    <a:pt x="473" y="68"/>
                  </a:cubicBezTo>
                  <a:cubicBezTo>
                    <a:pt x="473" y="68"/>
                    <a:pt x="478" y="60"/>
                    <a:pt x="463" y="45"/>
                  </a:cubicBezTo>
                  <a:cubicBezTo>
                    <a:pt x="390" y="45"/>
                    <a:pt x="390" y="45"/>
                    <a:pt x="390" y="45"/>
                  </a:cubicBezTo>
                  <a:cubicBezTo>
                    <a:pt x="390" y="45"/>
                    <a:pt x="383" y="49"/>
                    <a:pt x="383" y="55"/>
                  </a:cubicBezTo>
                  <a:cubicBezTo>
                    <a:pt x="383" y="61"/>
                    <a:pt x="385" y="65"/>
                    <a:pt x="382" y="69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246" y="74"/>
                    <a:pt x="246" y="74"/>
                    <a:pt x="246" y="74"/>
                  </a:cubicBezTo>
                  <a:cubicBezTo>
                    <a:pt x="106" y="10"/>
                    <a:pt x="106" y="10"/>
                    <a:pt x="106" y="10"/>
                  </a:cubicBezTo>
                  <a:cubicBezTo>
                    <a:pt x="106" y="10"/>
                    <a:pt x="96" y="10"/>
                    <a:pt x="106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2" y="12"/>
                    <a:pt x="0" y="20"/>
                    <a:pt x="0" y="25"/>
                  </a:cubicBezTo>
                  <a:cubicBezTo>
                    <a:pt x="0" y="36"/>
                    <a:pt x="13" y="54"/>
                    <a:pt x="13" y="54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4" y="121"/>
                    <a:pt x="11" y="162"/>
                    <a:pt x="20" y="171"/>
                  </a:cubicBezTo>
                  <a:cubicBezTo>
                    <a:pt x="29" y="180"/>
                    <a:pt x="42" y="176"/>
                    <a:pt x="42" y="176"/>
                  </a:cubicBezTo>
                  <a:cubicBezTo>
                    <a:pt x="42" y="176"/>
                    <a:pt x="66" y="219"/>
                    <a:pt x="66" y="227"/>
                  </a:cubicBezTo>
                  <a:cubicBezTo>
                    <a:pt x="66" y="235"/>
                    <a:pt x="47" y="260"/>
                    <a:pt x="47" y="260"/>
                  </a:cubicBezTo>
                  <a:cubicBezTo>
                    <a:pt x="58" y="267"/>
                    <a:pt x="58" y="267"/>
                    <a:pt x="58" y="267"/>
                  </a:cubicBezTo>
                  <a:cubicBezTo>
                    <a:pt x="50" y="276"/>
                    <a:pt x="50" y="276"/>
                    <a:pt x="50" y="276"/>
                  </a:cubicBezTo>
                  <a:cubicBezTo>
                    <a:pt x="41" y="264"/>
                    <a:pt x="41" y="264"/>
                    <a:pt x="41" y="264"/>
                  </a:cubicBezTo>
                  <a:cubicBezTo>
                    <a:pt x="7" y="261"/>
                    <a:pt x="7" y="261"/>
                    <a:pt x="7" y="261"/>
                  </a:cubicBezTo>
                  <a:cubicBezTo>
                    <a:pt x="23" y="279"/>
                    <a:pt x="23" y="279"/>
                    <a:pt x="23" y="279"/>
                  </a:cubicBezTo>
                  <a:cubicBezTo>
                    <a:pt x="29" y="295"/>
                    <a:pt x="29" y="295"/>
                    <a:pt x="29" y="295"/>
                  </a:cubicBezTo>
                  <a:cubicBezTo>
                    <a:pt x="43" y="296"/>
                    <a:pt x="43" y="296"/>
                    <a:pt x="43" y="296"/>
                  </a:cubicBezTo>
                  <a:cubicBezTo>
                    <a:pt x="43" y="296"/>
                    <a:pt x="60" y="319"/>
                    <a:pt x="65" y="317"/>
                  </a:cubicBezTo>
                  <a:cubicBezTo>
                    <a:pt x="70" y="315"/>
                    <a:pt x="85" y="305"/>
                    <a:pt x="85" y="305"/>
                  </a:cubicBezTo>
                  <a:cubicBezTo>
                    <a:pt x="85" y="305"/>
                    <a:pt x="84" y="328"/>
                    <a:pt x="91" y="337"/>
                  </a:cubicBezTo>
                  <a:cubicBezTo>
                    <a:pt x="98" y="346"/>
                    <a:pt x="113" y="358"/>
                    <a:pt x="113" y="368"/>
                  </a:cubicBezTo>
                  <a:cubicBezTo>
                    <a:pt x="113" y="378"/>
                    <a:pt x="96" y="398"/>
                    <a:pt x="102" y="412"/>
                  </a:cubicBezTo>
                  <a:cubicBezTo>
                    <a:pt x="108" y="426"/>
                    <a:pt x="128" y="442"/>
                    <a:pt x="142" y="459"/>
                  </a:cubicBezTo>
                  <a:cubicBezTo>
                    <a:pt x="156" y="476"/>
                    <a:pt x="175" y="497"/>
                    <a:pt x="175" y="497"/>
                  </a:cubicBezTo>
                  <a:cubicBezTo>
                    <a:pt x="175" y="497"/>
                    <a:pt x="162" y="524"/>
                    <a:pt x="178" y="525"/>
                  </a:cubicBezTo>
                  <a:cubicBezTo>
                    <a:pt x="194" y="526"/>
                    <a:pt x="210" y="506"/>
                    <a:pt x="210" y="506"/>
                  </a:cubicBezTo>
                  <a:cubicBezTo>
                    <a:pt x="206" y="493"/>
                    <a:pt x="206" y="493"/>
                    <a:pt x="206" y="493"/>
                  </a:cubicBezTo>
                  <a:cubicBezTo>
                    <a:pt x="206" y="493"/>
                    <a:pt x="198" y="457"/>
                    <a:pt x="190" y="453"/>
                  </a:cubicBezTo>
                  <a:cubicBezTo>
                    <a:pt x="182" y="449"/>
                    <a:pt x="172" y="452"/>
                    <a:pt x="172" y="452"/>
                  </a:cubicBezTo>
                  <a:cubicBezTo>
                    <a:pt x="160" y="435"/>
                    <a:pt x="160" y="435"/>
                    <a:pt x="160" y="435"/>
                  </a:cubicBezTo>
                  <a:cubicBezTo>
                    <a:pt x="160" y="435"/>
                    <a:pt x="164" y="422"/>
                    <a:pt x="162" y="414"/>
                  </a:cubicBezTo>
                  <a:cubicBezTo>
                    <a:pt x="160" y="406"/>
                    <a:pt x="162" y="387"/>
                    <a:pt x="162" y="387"/>
                  </a:cubicBezTo>
                  <a:cubicBezTo>
                    <a:pt x="150" y="365"/>
                    <a:pt x="150" y="365"/>
                    <a:pt x="150" y="365"/>
                  </a:cubicBezTo>
                  <a:cubicBezTo>
                    <a:pt x="150" y="365"/>
                    <a:pt x="160" y="341"/>
                    <a:pt x="156" y="329"/>
                  </a:cubicBezTo>
                  <a:cubicBezTo>
                    <a:pt x="152" y="317"/>
                    <a:pt x="131" y="319"/>
                    <a:pt x="131" y="319"/>
                  </a:cubicBezTo>
                  <a:cubicBezTo>
                    <a:pt x="131" y="288"/>
                    <a:pt x="131" y="288"/>
                    <a:pt x="131" y="288"/>
                  </a:cubicBezTo>
                  <a:cubicBezTo>
                    <a:pt x="114" y="267"/>
                    <a:pt x="114" y="267"/>
                    <a:pt x="114" y="267"/>
                  </a:cubicBezTo>
                  <a:cubicBezTo>
                    <a:pt x="116" y="227"/>
                    <a:pt x="116" y="227"/>
                    <a:pt x="116" y="227"/>
                  </a:cubicBezTo>
                  <a:cubicBezTo>
                    <a:pt x="116" y="227"/>
                    <a:pt x="102" y="207"/>
                    <a:pt x="97" y="201"/>
                  </a:cubicBezTo>
                  <a:cubicBezTo>
                    <a:pt x="92" y="195"/>
                    <a:pt x="89" y="170"/>
                    <a:pt x="89" y="170"/>
                  </a:cubicBezTo>
                  <a:cubicBezTo>
                    <a:pt x="89" y="170"/>
                    <a:pt x="63" y="132"/>
                    <a:pt x="66" y="128"/>
                  </a:cubicBezTo>
                  <a:cubicBezTo>
                    <a:pt x="69" y="124"/>
                    <a:pt x="79" y="107"/>
                    <a:pt x="75" y="95"/>
                  </a:cubicBezTo>
                  <a:cubicBezTo>
                    <a:pt x="71" y="83"/>
                    <a:pt x="85" y="67"/>
                    <a:pt x="85" y="67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104" y="62"/>
                    <a:pt x="113" y="62"/>
                  </a:cubicBezTo>
                  <a:cubicBezTo>
                    <a:pt x="122" y="62"/>
                    <a:pt x="134" y="58"/>
                    <a:pt x="134" y="58"/>
                  </a:cubicBezTo>
                  <a:cubicBezTo>
                    <a:pt x="134" y="58"/>
                    <a:pt x="131" y="69"/>
                    <a:pt x="138" y="73"/>
                  </a:cubicBezTo>
                  <a:cubicBezTo>
                    <a:pt x="145" y="77"/>
                    <a:pt x="155" y="77"/>
                    <a:pt x="155" y="77"/>
                  </a:cubicBezTo>
                  <a:cubicBezTo>
                    <a:pt x="155" y="77"/>
                    <a:pt x="152" y="88"/>
                    <a:pt x="152" y="106"/>
                  </a:cubicBezTo>
                  <a:cubicBezTo>
                    <a:pt x="152" y="124"/>
                    <a:pt x="160" y="180"/>
                    <a:pt x="160" y="180"/>
                  </a:cubicBezTo>
                  <a:cubicBezTo>
                    <a:pt x="160" y="180"/>
                    <a:pt x="181" y="255"/>
                    <a:pt x="189" y="257"/>
                  </a:cubicBezTo>
                  <a:cubicBezTo>
                    <a:pt x="197" y="259"/>
                    <a:pt x="217" y="257"/>
                    <a:pt x="217" y="257"/>
                  </a:cubicBezTo>
                  <a:cubicBezTo>
                    <a:pt x="217" y="257"/>
                    <a:pt x="199" y="268"/>
                    <a:pt x="208" y="284"/>
                  </a:cubicBezTo>
                  <a:cubicBezTo>
                    <a:pt x="217" y="300"/>
                    <a:pt x="234" y="302"/>
                    <a:pt x="234" y="302"/>
                  </a:cubicBezTo>
                  <a:cubicBezTo>
                    <a:pt x="236" y="317"/>
                    <a:pt x="236" y="317"/>
                    <a:pt x="236" y="317"/>
                  </a:cubicBezTo>
                  <a:cubicBezTo>
                    <a:pt x="257" y="318"/>
                    <a:pt x="257" y="318"/>
                    <a:pt x="257" y="318"/>
                  </a:cubicBezTo>
                  <a:cubicBezTo>
                    <a:pt x="260" y="346"/>
                    <a:pt x="260" y="346"/>
                    <a:pt x="260" y="346"/>
                  </a:cubicBezTo>
                  <a:cubicBezTo>
                    <a:pt x="260" y="346"/>
                    <a:pt x="228" y="359"/>
                    <a:pt x="238" y="374"/>
                  </a:cubicBezTo>
                  <a:cubicBezTo>
                    <a:pt x="248" y="389"/>
                    <a:pt x="255" y="375"/>
                    <a:pt x="255" y="375"/>
                  </a:cubicBezTo>
                  <a:cubicBezTo>
                    <a:pt x="255" y="375"/>
                    <a:pt x="264" y="395"/>
                    <a:pt x="270" y="397"/>
                  </a:cubicBezTo>
                  <a:cubicBezTo>
                    <a:pt x="276" y="399"/>
                    <a:pt x="294" y="401"/>
                    <a:pt x="294" y="404"/>
                  </a:cubicBezTo>
                  <a:cubicBezTo>
                    <a:pt x="294" y="407"/>
                    <a:pt x="294" y="418"/>
                    <a:pt x="294" y="418"/>
                  </a:cubicBezTo>
                  <a:cubicBezTo>
                    <a:pt x="294" y="418"/>
                    <a:pt x="279" y="437"/>
                    <a:pt x="290" y="438"/>
                  </a:cubicBezTo>
                  <a:cubicBezTo>
                    <a:pt x="301" y="439"/>
                    <a:pt x="313" y="437"/>
                    <a:pt x="313" y="437"/>
                  </a:cubicBezTo>
                  <a:cubicBezTo>
                    <a:pt x="313" y="456"/>
                    <a:pt x="313" y="456"/>
                    <a:pt x="313" y="456"/>
                  </a:cubicBezTo>
                  <a:cubicBezTo>
                    <a:pt x="313" y="456"/>
                    <a:pt x="335" y="481"/>
                    <a:pt x="345" y="495"/>
                  </a:cubicBezTo>
                  <a:cubicBezTo>
                    <a:pt x="355" y="509"/>
                    <a:pt x="373" y="538"/>
                    <a:pt x="373" y="547"/>
                  </a:cubicBezTo>
                  <a:cubicBezTo>
                    <a:pt x="373" y="556"/>
                    <a:pt x="370" y="562"/>
                    <a:pt x="371" y="575"/>
                  </a:cubicBezTo>
                  <a:cubicBezTo>
                    <a:pt x="372" y="588"/>
                    <a:pt x="386" y="595"/>
                    <a:pt x="384" y="606"/>
                  </a:cubicBezTo>
                  <a:cubicBezTo>
                    <a:pt x="382" y="617"/>
                    <a:pt x="364" y="625"/>
                    <a:pt x="364" y="632"/>
                  </a:cubicBezTo>
                  <a:cubicBezTo>
                    <a:pt x="364" y="639"/>
                    <a:pt x="375" y="645"/>
                    <a:pt x="375" y="645"/>
                  </a:cubicBezTo>
                  <a:cubicBezTo>
                    <a:pt x="375" y="645"/>
                    <a:pt x="351" y="642"/>
                    <a:pt x="351" y="659"/>
                  </a:cubicBezTo>
                  <a:cubicBezTo>
                    <a:pt x="351" y="676"/>
                    <a:pt x="350" y="717"/>
                    <a:pt x="373" y="719"/>
                  </a:cubicBezTo>
                  <a:cubicBezTo>
                    <a:pt x="396" y="721"/>
                    <a:pt x="416" y="727"/>
                    <a:pt x="423" y="740"/>
                  </a:cubicBezTo>
                  <a:cubicBezTo>
                    <a:pt x="430" y="753"/>
                    <a:pt x="437" y="779"/>
                    <a:pt x="453" y="781"/>
                  </a:cubicBezTo>
                  <a:cubicBezTo>
                    <a:pt x="469" y="783"/>
                    <a:pt x="496" y="777"/>
                    <a:pt x="507" y="788"/>
                  </a:cubicBezTo>
                  <a:cubicBezTo>
                    <a:pt x="518" y="799"/>
                    <a:pt x="525" y="825"/>
                    <a:pt x="556" y="838"/>
                  </a:cubicBezTo>
                  <a:cubicBezTo>
                    <a:pt x="587" y="851"/>
                    <a:pt x="632" y="851"/>
                    <a:pt x="639" y="861"/>
                  </a:cubicBezTo>
                  <a:cubicBezTo>
                    <a:pt x="646" y="871"/>
                    <a:pt x="649" y="881"/>
                    <a:pt x="659" y="881"/>
                  </a:cubicBezTo>
                  <a:cubicBezTo>
                    <a:pt x="669" y="881"/>
                    <a:pt x="677" y="899"/>
                    <a:pt x="677" y="899"/>
                  </a:cubicBezTo>
                  <a:cubicBezTo>
                    <a:pt x="677" y="899"/>
                    <a:pt x="720" y="894"/>
                    <a:pt x="722" y="897"/>
                  </a:cubicBezTo>
                  <a:cubicBezTo>
                    <a:pt x="724" y="900"/>
                    <a:pt x="731" y="921"/>
                    <a:pt x="745" y="917"/>
                  </a:cubicBezTo>
                  <a:cubicBezTo>
                    <a:pt x="759" y="913"/>
                    <a:pt x="829" y="875"/>
                    <a:pt x="840" y="878"/>
                  </a:cubicBezTo>
                  <a:cubicBezTo>
                    <a:pt x="851" y="881"/>
                    <a:pt x="921" y="938"/>
                    <a:pt x="924" y="946"/>
                  </a:cubicBezTo>
                  <a:cubicBezTo>
                    <a:pt x="926" y="951"/>
                    <a:pt x="927" y="964"/>
                    <a:pt x="933" y="974"/>
                  </a:cubicBezTo>
                  <a:cubicBezTo>
                    <a:pt x="933" y="974"/>
                    <a:pt x="947" y="976"/>
                    <a:pt x="947" y="960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898" name="Freeform 14"/>
            <p:cNvSpPr>
              <a:spLocks/>
            </p:cNvSpPr>
            <p:nvPr/>
          </p:nvSpPr>
          <p:spPr bwMode="auto">
            <a:xfrm>
              <a:off x="1081" y="2426"/>
              <a:ext cx="112" cy="63"/>
            </a:xfrm>
            <a:custGeom>
              <a:avLst/>
              <a:gdLst>
                <a:gd name="T0" fmla="*/ 0 w 296"/>
                <a:gd name="T1" fmla="*/ 0 h 166"/>
                <a:gd name="T2" fmla="*/ 0 w 296"/>
                <a:gd name="T3" fmla="*/ 0 h 166"/>
                <a:gd name="T4" fmla="*/ 0 w 296"/>
                <a:gd name="T5" fmla="*/ 0 h 166"/>
                <a:gd name="T6" fmla="*/ 0 w 296"/>
                <a:gd name="T7" fmla="*/ 0 h 166"/>
                <a:gd name="T8" fmla="*/ 0 w 296"/>
                <a:gd name="T9" fmla="*/ 0 h 166"/>
                <a:gd name="T10" fmla="*/ 0 w 296"/>
                <a:gd name="T11" fmla="*/ 0 h 166"/>
                <a:gd name="T12" fmla="*/ 0 w 296"/>
                <a:gd name="T13" fmla="*/ 0 h 166"/>
                <a:gd name="T14" fmla="*/ 0 w 296"/>
                <a:gd name="T15" fmla="*/ 0 h 166"/>
                <a:gd name="T16" fmla="*/ 0 w 296"/>
                <a:gd name="T17" fmla="*/ 0 h 166"/>
                <a:gd name="T18" fmla="*/ 0 w 296"/>
                <a:gd name="T19" fmla="*/ 0 h 166"/>
                <a:gd name="T20" fmla="*/ 0 w 296"/>
                <a:gd name="T21" fmla="*/ 0 h 166"/>
                <a:gd name="T22" fmla="*/ 0 w 296"/>
                <a:gd name="T23" fmla="*/ 0 h 166"/>
                <a:gd name="T24" fmla="*/ 0 w 296"/>
                <a:gd name="T25" fmla="*/ 0 h 166"/>
                <a:gd name="T26" fmla="*/ 0 w 296"/>
                <a:gd name="T27" fmla="*/ 0 h 166"/>
                <a:gd name="T28" fmla="*/ 0 w 296"/>
                <a:gd name="T29" fmla="*/ 0 h 166"/>
                <a:gd name="T30" fmla="*/ 0 w 296"/>
                <a:gd name="T31" fmla="*/ 0 h 166"/>
                <a:gd name="T32" fmla="*/ 0 w 296"/>
                <a:gd name="T33" fmla="*/ 0 h 166"/>
                <a:gd name="T34" fmla="*/ 0 w 296"/>
                <a:gd name="T35" fmla="*/ 0 h 166"/>
                <a:gd name="T36" fmla="*/ 0 w 296"/>
                <a:gd name="T37" fmla="*/ 0 h 166"/>
                <a:gd name="T38" fmla="*/ 0 w 296"/>
                <a:gd name="T39" fmla="*/ 0 h 166"/>
                <a:gd name="T40" fmla="*/ 0 w 296"/>
                <a:gd name="T41" fmla="*/ 0 h 166"/>
                <a:gd name="T42" fmla="*/ 0 w 296"/>
                <a:gd name="T43" fmla="*/ 0 h 166"/>
                <a:gd name="T44" fmla="*/ 0 w 296"/>
                <a:gd name="T45" fmla="*/ 0 h 166"/>
                <a:gd name="T46" fmla="*/ 0 w 296"/>
                <a:gd name="T47" fmla="*/ 0 h 166"/>
                <a:gd name="T48" fmla="*/ 0 w 296"/>
                <a:gd name="T49" fmla="*/ 0 h 166"/>
                <a:gd name="T50" fmla="*/ 0 w 296"/>
                <a:gd name="T51" fmla="*/ 0 h 166"/>
                <a:gd name="T52" fmla="*/ 0 w 296"/>
                <a:gd name="T53" fmla="*/ 0 h 166"/>
                <a:gd name="T54" fmla="*/ 0 w 296"/>
                <a:gd name="T55" fmla="*/ 0 h 166"/>
                <a:gd name="T56" fmla="*/ 0 w 296"/>
                <a:gd name="T57" fmla="*/ 0 h 166"/>
                <a:gd name="T58" fmla="*/ 0 w 296"/>
                <a:gd name="T59" fmla="*/ 0 h 166"/>
                <a:gd name="T60" fmla="*/ 0 w 296"/>
                <a:gd name="T61" fmla="*/ 0 h 166"/>
                <a:gd name="T62" fmla="*/ 0 w 296"/>
                <a:gd name="T63" fmla="*/ 0 h 166"/>
                <a:gd name="T64" fmla="*/ 0 w 296"/>
                <a:gd name="T65" fmla="*/ 0 h 166"/>
                <a:gd name="T66" fmla="*/ 0 w 296"/>
                <a:gd name="T67" fmla="*/ 0 h 166"/>
                <a:gd name="T68" fmla="*/ 0 w 296"/>
                <a:gd name="T69" fmla="*/ 0 h 166"/>
                <a:gd name="T70" fmla="*/ 0 w 296"/>
                <a:gd name="T71" fmla="*/ 0 h 166"/>
                <a:gd name="T72" fmla="*/ 0 w 296"/>
                <a:gd name="T73" fmla="*/ 0 h 166"/>
                <a:gd name="T74" fmla="*/ 0 w 296"/>
                <a:gd name="T75" fmla="*/ 0 h 166"/>
                <a:gd name="T76" fmla="*/ 0 w 296"/>
                <a:gd name="T77" fmla="*/ 0 h 166"/>
                <a:gd name="T78" fmla="*/ 0 w 296"/>
                <a:gd name="T79" fmla="*/ 0 h 166"/>
                <a:gd name="T80" fmla="*/ 0 w 296"/>
                <a:gd name="T81" fmla="*/ 0 h 166"/>
                <a:gd name="T82" fmla="*/ 0 w 296"/>
                <a:gd name="T83" fmla="*/ 0 h 16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6"/>
                <a:gd name="T127" fmla="*/ 0 h 166"/>
                <a:gd name="T128" fmla="*/ 296 w 296"/>
                <a:gd name="T129" fmla="*/ 166 h 16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6" h="166">
                  <a:moveTo>
                    <a:pt x="103" y="162"/>
                  </a:moveTo>
                  <a:cubicBezTo>
                    <a:pt x="109" y="160"/>
                    <a:pt x="105" y="151"/>
                    <a:pt x="105" y="151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100" y="122"/>
                    <a:pt x="115" y="122"/>
                  </a:cubicBezTo>
                  <a:cubicBezTo>
                    <a:pt x="130" y="122"/>
                    <a:pt x="135" y="123"/>
                    <a:pt x="135" y="123"/>
                  </a:cubicBezTo>
                  <a:cubicBezTo>
                    <a:pt x="135" y="123"/>
                    <a:pt x="140" y="108"/>
                    <a:pt x="148" y="109"/>
                  </a:cubicBezTo>
                  <a:cubicBezTo>
                    <a:pt x="156" y="110"/>
                    <a:pt x="147" y="118"/>
                    <a:pt x="162" y="118"/>
                  </a:cubicBezTo>
                  <a:cubicBezTo>
                    <a:pt x="177" y="118"/>
                    <a:pt x="189" y="95"/>
                    <a:pt x="189" y="95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203" y="84"/>
                    <a:pt x="203" y="84"/>
                    <a:pt x="203" y="84"/>
                  </a:cubicBezTo>
                  <a:cubicBezTo>
                    <a:pt x="203" y="84"/>
                    <a:pt x="204" y="64"/>
                    <a:pt x="213" y="65"/>
                  </a:cubicBezTo>
                  <a:cubicBezTo>
                    <a:pt x="222" y="66"/>
                    <a:pt x="228" y="77"/>
                    <a:pt x="238" y="76"/>
                  </a:cubicBezTo>
                  <a:cubicBezTo>
                    <a:pt x="248" y="75"/>
                    <a:pt x="247" y="66"/>
                    <a:pt x="251" y="66"/>
                  </a:cubicBezTo>
                  <a:cubicBezTo>
                    <a:pt x="255" y="66"/>
                    <a:pt x="262" y="66"/>
                    <a:pt x="262" y="66"/>
                  </a:cubicBezTo>
                  <a:cubicBezTo>
                    <a:pt x="281" y="65"/>
                    <a:pt x="281" y="65"/>
                    <a:pt x="281" y="65"/>
                  </a:cubicBezTo>
                  <a:cubicBezTo>
                    <a:pt x="282" y="61"/>
                    <a:pt x="296" y="62"/>
                    <a:pt x="294" y="55"/>
                  </a:cubicBezTo>
                  <a:cubicBezTo>
                    <a:pt x="292" y="48"/>
                    <a:pt x="283" y="41"/>
                    <a:pt x="283" y="41"/>
                  </a:cubicBezTo>
                  <a:cubicBezTo>
                    <a:pt x="268" y="35"/>
                    <a:pt x="268" y="35"/>
                    <a:pt x="268" y="35"/>
                  </a:cubicBezTo>
                  <a:cubicBezTo>
                    <a:pt x="268" y="35"/>
                    <a:pt x="257" y="27"/>
                    <a:pt x="248" y="18"/>
                  </a:cubicBezTo>
                  <a:cubicBezTo>
                    <a:pt x="239" y="9"/>
                    <a:pt x="230" y="13"/>
                    <a:pt x="230" y="13"/>
                  </a:cubicBezTo>
                  <a:cubicBezTo>
                    <a:pt x="230" y="13"/>
                    <a:pt x="226" y="1"/>
                    <a:pt x="214" y="1"/>
                  </a:cubicBezTo>
                  <a:cubicBezTo>
                    <a:pt x="202" y="1"/>
                    <a:pt x="192" y="9"/>
                    <a:pt x="192" y="9"/>
                  </a:cubicBezTo>
                  <a:cubicBezTo>
                    <a:pt x="192" y="9"/>
                    <a:pt x="178" y="0"/>
                    <a:pt x="171" y="0"/>
                  </a:cubicBezTo>
                  <a:cubicBezTo>
                    <a:pt x="164" y="0"/>
                    <a:pt x="148" y="18"/>
                    <a:pt x="148" y="18"/>
                  </a:cubicBezTo>
                  <a:cubicBezTo>
                    <a:pt x="125" y="17"/>
                    <a:pt x="125" y="17"/>
                    <a:pt x="125" y="17"/>
                  </a:cubicBezTo>
                  <a:cubicBezTo>
                    <a:pt x="125" y="17"/>
                    <a:pt x="112" y="11"/>
                    <a:pt x="109" y="11"/>
                  </a:cubicBezTo>
                  <a:cubicBezTo>
                    <a:pt x="106" y="11"/>
                    <a:pt x="89" y="16"/>
                    <a:pt x="89" y="16"/>
                  </a:cubicBezTo>
                  <a:cubicBezTo>
                    <a:pt x="89" y="16"/>
                    <a:pt x="84" y="2"/>
                    <a:pt x="81" y="2"/>
                  </a:cubicBezTo>
                  <a:cubicBezTo>
                    <a:pt x="78" y="2"/>
                    <a:pt x="59" y="15"/>
                    <a:pt x="59" y="15"/>
                  </a:cubicBezTo>
                  <a:cubicBezTo>
                    <a:pt x="59" y="15"/>
                    <a:pt x="54" y="26"/>
                    <a:pt x="39" y="34"/>
                  </a:cubicBezTo>
                  <a:cubicBezTo>
                    <a:pt x="24" y="42"/>
                    <a:pt x="11" y="58"/>
                    <a:pt x="11" y="58"/>
                  </a:cubicBezTo>
                  <a:cubicBezTo>
                    <a:pt x="11" y="58"/>
                    <a:pt x="12" y="70"/>
                    <a:pt x="9" y="79"/>
                  </a:cubicBezTo>
                  <a:cubicBezTo>
                    <a:pt x="8" y="82"/>
                    <a:pt x="4" y="85"/>
                    <a:pt x="0" y="86"/>
                  </a:cubicBezTo>
                  <a:cubicBezTo>
                    <a:pt x="2" y="91"/>
                    <a:pt x="6" y="102"/>
                    <a:pt x="13" y="102"/>
                  </a:cubicBezTo>
                  <a:cubicBezTo>
                    <a:pt x="22" y="102"/>
                    <a:pt x="28" y="102"/>
                    <a:pt x="28" y="102"/>
                  </a:cubicBezTo>
                  <a:cubicBezTo>
                    <a:pt x="28" y="102"/>
                    <a:pt x="27" y="120"/>
                    <a:pt x="36" y="118"/>
                  </a:cubicBezTo>
                  <a:cubicBezTo>
                    <a:pt x="45" y="116"/>
                    <a:pt x="47" y="111"/>
                    <a:pt x="52" y="112"/>
                  </a:cubicBezTo>
                  <a:cubicBezTo>
                    <a:pt x="57" y="113"/>
                    <a:pt x="67" y="114"/>
                    <a:pt x="67" y="114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92" y="158"/>
                    <a:pt x="89" y="166"/>
                    <a:pt x="89" y="166"/>
                  </a:cubicBezTo>
                  <a:cubicBezTo>
                    <a:pt x="89" y="166"/>
                    <a:pt x="97" y="164"/>
                    <a:pt x="103" y="162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899" name="Freeform 15"/>
            <p:cNvSpPr>
              <a:spLocks/>
            </p:cNvSpPr>
            <p:nvPr/>
          </p:nvSpPr>
          <p:spPr bwMode="auto">
            <a:xfrm>
              <a:off x="1627" y="2631"/>
              <a:ext cx="75" cy="86"/>
            </a:xfrm>
            <a:custGeom>
              <a:avLst/>
              <a:gdLst>
                <a:gd name="T0" fmla="*/ 0 w 199"/>
                <a:gd name="T1" fmla="*/ 0 h 228"/>
                <a:gd name="T2" fmla="*/ 0 w 199"/>
                <a:gd name="T3" fmla="*/ 0 h 228"/>
                <a:gd name="T4" fmla="*/ 0 w 199"/>
                <a:gd name="T5" fmla="*/ 0 h 228"/>
                <a:gd name="T6" fmla="*/ 0 w 199"/>
                <a:gd name="T7" fmla="*/ 0 h 228"/>
                <a:gd name="T8" fmla="*/ 0 w 199"/>
                <a:gd name="T9" fmla="*/ 0 h 228"/>
                <a:gd name="T10" fmla="*/ 0 w 199"/>
                <a:gd name="T11" fmla="*/ 0 h 228"/>
                <a:gd name="T12" fmla="*/ 0 w 199"/>
                <a:gd name="T13" fmla="*/ 0 h 228"/>
                <a:gd name="T14" fmla="*/ 0 w 199"/>
                <a:gd name="T15" fmla="*/ 0 h 228"/>
                <a:gd name="T16" fmla="*/ 0 w 199"/>
                <a:gd name="T17" fmla="*/ 0 h 228"/>
                <a:gd name="T18" fmla="*/ 0 w 199"/>
                <a:gd name="T19" fmla="*/ 0 h 228"/>
                <a:gd name="T20" fmla="*/ 0 w 199"/>
                <a:gd name="T21" fmla="*/ 0 h 228"/>
                <a:gd name="T22" fmla="*/ 0 w 199"/>
                <a:gd name="T23" fmla="*/ 0 h 228"/>
                <a:gd name="T24" fmla="*/ 0 w 199"/>
                <a:gd name="T25" fmla="*/ 0 h 228"/>
                <a:gd name="T26" fmla="*/ 0 w 199"/>
                <a:gd name="T27" fmla="*/ 0 h 228"/>
                <a:gd name="T28" fmla="*/ 0 w 199"/>
                <a:gd name="T29" fmla="*/ 0 h 228"/>
                <a:gd name="T30" fmla="*/ 0 w 199"/>
                <a:gd name="T31" fmla="*/ 0 h 228"/>
                <a:gd name="T32" fmla="*/ 0 w 199"/>
                <a:gd name="T33" fmla="*/ 0 h 228"/>
                <a:gd name="T34" fmla="*/ 0 w 199"/>
                <a:gd name="T35" fmla="*/ 0 h 228"/>
                <a:gd name="T36" fmla="*/ 0 w 199"/>
                <a:gd name="T37" fmla="*/ 0 h 228"/>
                <a:gd name="T38" fmla="*/ 0 w 199"/>
                <a:gd name="T39" fmla="*/ 0 h 228"/>
                <a:gd name="T40" fmla="*/ 0 w 199"/>
                <a:gd name="T41" fmla="*/ 0 h 228"/>
                <a:gd name="T42" fmla="*/ 0 w 199"/>
                <a:gd name="T43" fmla="*/ 0 h 228"/>
                <a:gd name="T44" fmla="*/ 0 w 199"/>
                <a:gd name="T45" fmla="*/ 0 h 228"/>
                <a:gd name="T46" fmla="*/ 0 w 199"/>
                <a:gd name="T47" fmla="*/ 0 h 228"/>
                <a:gd name="T48" fmla="*/ 0 w 199"/>
                <a:gd name="T49" fmla="*/ 0 h 228"/>
                <a:gd name="T50" fmla="*/ 0 w 199"/>
                <a:gd name="T51" fmla="*/ 0 h 228"/>
                <a:gd name="T52" fmla="*/ 0 w 199"/>
                <a:gd name="T53" fmla="*/ 0 h 228"/>
                <a:gd name="T54" fmla="*/ 0 w 199"/>
                <a:gd name="T55" fmla="*/ 0 h 228"/>
                <a:gd name="T56" fmla="*/ 0 w 199"/>
                <a:gd name="T57" fmla="*/ 0 h 228"/>
                <a:gd name="T58" fmla="*/ 0 w 199"/>
                <a:gd name="T59" fmla="*/ 0 h 228"/>
                <a:gd name="T60" fmla="*/ 0 w 199"/>
                <a:gd name="T61" fmla="*/ 0 h 228"/>
                <a:gd name="T62" fmla="*/ 0 w 199"/>
                <a:gd name="T63" fmla="*/ 0 h 228"/>
                <a:gd name="T64" fmla="*/ 0 w 199"/>
                <a:gd name="T65" fmla="*/ 0 h 228"/>
                <a:gd name="T66" fmla="*/ 0 w 199"/>
                <a:gd name="T67" fmla="*/ 0 h 228"/>
                <a:gd name="T68" fmla="*/ 0 w 199"/>
                <a:gd name="T69" fmla="*/ 0 h 22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9"/>
                <a:gd name="T106" fmla="*/ 0 h 228"/>
                <a:gd name="T107" fmla="*/ 199 w 199"/>
                <a:gd name="T108" fmla="*/ 228 h 22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9" h="228">
                  <a:moveTo>
                    <a:pt x="43" y="52"/>
                  </a:moveTo>
                  <a:cubicBezTo>
                    <a:pt x="31" y="55"/>
                    <a:pt x="13" y="52"/>
                    <a:pt x="10" y="61"/>
                  </a:cubicBezTo>
                  <a:cubicBezTo>
                    <a:pt x="7" y="70"/>
                    <a:pt x="11" y="89"/>
                    <a:pt x="11" y="89"/>
                  </a:cubicBezTo>
                  <a:cubicBezTo>
                    <a:pt x="11" y="89"/>
                    <a:pt x="0" y="96"/>
                    <a:pt x="1" y="107"/>
                  </a:cubicBezTo>
                  <a:cubicBezTo>
                    <a:pt x="2" y="117"/>
                    <a:pt x="12" y="115"/>
                    <a:pt x="12" y="122"/>
                  </a:cubicBezTo>
                  <a:cubicBezTo>
                    <a:pt x="12" y="129"/>
                    <a:pt x="22" y="143"/>
                    <a:pt x="26" y="144"/>
                  </a:cubicBezTo>
                  <a:cubicBezTo>
                    <a:pt x="30" y="145"/>
                    <a:pt x="39" y="130"/>
                    <a:pt x="40" y="137"/>
                  </a:cubicBezTo>
                  <a:cubicBezTo>
                    <a:pt x="41" y="144"/>
                    <a:pt x="31" y="165"/>
                    <a:pt x="40" y="173"/>
                  </a:cubicBezTo>
                  <a:cubicBezTo>
                    <a:pt x="49" y="181"/>
                    <a:pt x="65" y="212"/>
                    <a:pt x="65" y="212"/>
                  </a:cubicBezTo>
                  <a:cubicBezTo>
                    <a:pt x="65" y="212"/>
                    <a:pt x="94" y="228"/>
                    <a:pt x="103" y="224"/>
                  </a:cubicBezTo>
                  <a:cubicBezTo>
                    <a:pt x="112" y="220"/>
                    <a:pt x="98" y="210"/>
                    <a:pt x="95" y="204"/>
                  </a:cubicBezTo>
                  <a:cubicBezTo>
                    <a:pt x="92" y="198"/>
                    <a:pt x="96" y="188"/>
                    <a:pt x="102" y="187"/>
                  </a:cubicBezTo>
                  <a:cubicBezTo>
                    <a:pt x="108" y="186"/>
                    <a:pt x="107" y="195"/>
                    <a:pt x="107" y="195"/>
                  </a:cubicBezTo>
                  <a:cubicBezTo>
                    <a:pt x="125" y="195"/>
                    <a:pt x="125" y="195"/>
                    <a:pt x="125" y="195"/>
                  </a:cubicBezTo>
                  <a:cubicBezTo>
                    <a:pt x="125" y="195"/>
                    <a:pt x="134" y="184"/>
                    <a:pt x="142" y="183"/>
                  </a:cubicBezTo>
                  <a:cubicBezTo>
                    <a:pt x="150" y="182"/>
                    <a:pt x="154" y="193"/>
                    <a:pt x="154" y="193"/>
                  </a:cubicBezTo>
                  <a:cubicBezTo>
                    <a:pt x="167" y="199"/>
                    <a:pt x="167" y="199"/>
                    <a:pt x="167" y="199"/>
                  </a:cubicBezTo>
                  <a:cubicBezTo>
                    <a:pt x="167" y="199"/>
                    <a:pt x="173" y="185"/>
                    <a:pt x="174" y="182"/>
                  </a:cubicBezTo>
                  <a:cubicBezTo>
                    <a:pt x="175" y="179"/>
                    <a:pt x="186" y="175"/>
                    <a:pt x="186" y="175"/>
                  </a:cubicBezTo>
                  <a:cubicBezTo>
                    <a:pt x="184" y="147"/>
                    <a:pt x="184" y="147"/>
                    <a:pt x="184" y="147"/>
                  </a:cubicBezTo>
                  <a:cubicBezTo>
                    <a:pt x="184" y="147"/>
                    <a:pt x="196" y="142"/>
                    <a:pt x="195" y="132"/>
                  </a:cubicBezTo>
                  <a:cubicBezTo>
                    <a:pt x="194" y="122"/>
                    <a:pt x="175" y="117"/>
                    <a:pt x="174" y="105"/>
                  </a:cubicBezTo>
                  <a:cubicBezTo>
                    <a:pt x="173" y="92"/>
                    <a:pt x="163" y="71"/>
                    <a:pt x="173" y="55"/>
                  </a:cubicBezTo>
                  <a:cubicBezTo>
                    <a:pt x="184" y="38"/>
                    <a:pt x="195" y="39"/>
                    <a:pt x="195" y="32"/>
                  </a:cubicBezTo>
                  <a:cubicBezTo>
                    <a:pt x="195" y="27"/>
                    <a:pt x="195" y="18"/>
                    <a:pt x="199" y="11"/>
                  </a:cubicBezTo>
                  <a:cubicBezTo>
                    <a:pt x="199" y="11"/>
                    <a:pt x="199" y="11"/>
                    <a:pt x="199" y="11"/>
                  </a:cubicBezTo>
                  <a:cubicBezTo>
                    <a:pt x="198" y="10"/>
                    <a:pt x="197" y="10"/>
                    <a:pt x="197" y="9"/>
                  </a:cubicBezTo>
                  <a:cubicBezTo>
                    <a:pt x="190" y="0"/>
                    <a:pt x="143" y="0"/>
                    <a:pt x="143" y="0"/>
                  </a:cubicBezTo>
                  <a:cubicBezTo>
                    <a:pt x="139" y="9"/>
                    <a:pt x="139" y="9"/>
                    <a:pt x="139" y="9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7"/>
                    <a:pt x="39" y="21"/>
                    <a:pt x="39" y="29"/>
                  </a:cubicBezTo>
                  <a:cubicBezTo>
                    <a:pt x="39" y="37"/>
                    <a:pt x="55" y="49"/>
                    <a:pt x="43" y="52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00" name="Freeform 16"/>
            <p:cNvSpPr>
              <a:spLocks/>
            </p:cNvSpPr>
            <p:nvPr/>
          </p:nvSpPr>
          <p:spPr bwMode="auto">
            <a:xfrm>
              <a:off x="1568" y="2582"/>
              <a:ext cx="85" cy="147"/>
            </a:xfrm>
            <a:custGeom>
              <a:avLst/>
              <a:gdLst>
                <a:gd name="T0" fmla="*/ 0 w 225"/>
                <a:gd name="T1" fmla="*/ 0 h 388"/>
                <a:gd name="T2" fmla="*/ 0 w 225"/>
                <a:gd name="T3" fmla="*/ 0 h 388"/>
                <a:gd name="T4" fmla="*/ 0 w 225"/>
                <a:gd name="T5" fmla="*/ 0 h 388"/>
                <a:gd name="T6" fmla="*/ 0 w 225"/>
                <a:gd name="T7" fmla="*/ 0 h 388"/>
                <a:gd name="T8" fmla="*/ 0 w 225"/>
                <a:gd name="T9" fmla="*/ 0 h 388"/>
                <a:gd name="T10" fmla="*/ 0 w 225"/>
                <a:gd name="T11" fmla="*/ 0 h 388"/>
                <a:gd name="T12" fmla="*/ 0 w 225"/>
                <a:gd name="T13" fmla="*/ 0 h 388"/>
                <a:gd name="T14" fmla="*/ 0 w 225"/>
                <a:gd name="T15" fmla="*/ 0 h 388"/>
                <a:gd name="T16" fmla="*/ 0 w 225"/>
                <a:gd name="T17" fmla="*/ 0 h 388"/>
                <a:gd name="T18" fmla="*/ 0 w 225"/>
                <a:gd name="T19" fmla="*/ 0 h 388"/>
                <a:gd name="T20" fmla="*/ 0 w 225"/>
                <a:gd name="T21" fmla="*/ 0 h 388"/>
                <a:gd name="T22" fmla="*/ 0 w 225"/>
                <a:gd name="T23" fmla="*/ 0 h 388"/>
                <a:gd name="T24" fmla="*/ 0 w 225"/>
                <a:gd name="T25" fmla="*/ 0 h 388"/>
                <a:gd name="T26" fmla="*/ 0 w 225"/>
                <a:gd name="T27" fmla="*/ 0 h 388"/>
                <a:gd name="T28" fmla="*/ 0 w 225"/>
                <a:gd name="T29" fmla="*/ 0 h 388"/>
                <a:gd name="T30" fmla="*/ 0 w 225"/>
                <a:gd name="T31" fmla="*/ 0 h 388"/>
                <a:gd name="T32" fmla="*/ 0 w 225"/>
                <a:gd name="T33" fmla="*/ 0 h 388"/>
                <a:gd name="T34" fmla="*/ 0 w 225"/>
                <a:gd name="T35" fmla="*/ 0 h 388"/>
                <a:gd name="T36" fmla="*/ 0 w 225"/>
                <a:gd name="T37" fmla="*/ 0 h 388"/>
                <a:gd name="T38" fmla="*/ 0 w 225"/>
                <a:gd name="T39" fmla="*/ 0 h 388"/>
                <a:gd name="T40" fmla="*/ 0 w 225"/>
                <a:gd name="T41" fmla="*/ 0 h 388"/>
                <a:gd name="T42" fmla="*/ 0 w 225"/>
                <a:gd name="T43" fmla="*/ 0 h 388"/>
                <a:gd name="T44" fmla="*/ 0 w 225"/>
                <a:gd name="T45" fmla="*/ 0 h 388"/>
                <a:gd name="T46" fmla="*/ 0 w 225"/>
                <a:gd name="T47" fmla="*/ 0 h 388"/>
                <a:gd name="T48" fmla="*/ 0 w 225"/>
                <a:gd name="T49" fmla="*/ 0 h 388"/>
                <a:gd name="T50" fmla="*/ 0 w 225"/>
                <a:gd name="T51" fmla="*/ 0 h 388"/>
                <a:gd name="T52" fmla="*/ 0 w 225"/>
                <a:gd name="T53" fmla="*/ 0 h 388"/>
                <a:gd name="T54" fmla="*/ 0 w 225"/>
                <a:gd name="T55" fmla="*/ 0 h 388"/>
                <a:gd name="T56" fmla="*/ 0 w 225"/>
                <a:gd name="T57" fmla="*/ 0 h 388"/>
                <a:gd name="T58" fmla="*/ 0 w 225"/>
                <a:gd name="T59" fmla="*/ 0 h 388"/>
                <a:gd name="T60" fmla="*/ 0 w 225"/>
                <a:gd name="T61" fmla="*/ 0 h 388"/>
                <a:gd name="T62" fmla="*/ 0 w 225"/>
                <a:gd name="T63" fmla="*/ 0 h 388"/>
                <a:gd name="T64" fmla="*/ 0 w 225"/>
                <a:gd name="T65" fmla="*/ 0 h 388"/>
                <a:gd name="T66" fmla="*/ 0 w 225"/>
                <a:gd name="T67" fmla="*/ 0 h 388"/>
                <a:gd name="T68" fmla="*/ 0 w 225"/>
                <a:gd name="T69" fmla="*/ 0 h 388"/>
                <a:gd name="T70" fmla="*/ 0 w 225"/>
                <a:gd name="T71" fmla="*/ 0 h 388"/>
                <a:gd name="T72" fmla="*/ 0 w 225"/>
                <a:gd name="T73" fmla="*/ 0 h 388"/>
                <a:gd name="T74" fmla="*/ 0 w 225"/>
                <a:gd name="T75" fmla="*/ 0 h 388"/>
                <a:gd name="T76" fmla="*/ 0 w 225"/>
                <a:gd name="T77" fmla="*/ 0 h 388"/>
                <a:gd name="T78" fmla="*/ 0 w 225"/>
                <a:gd name="T79" fmla="*/ 0 h 388"/>
                <a:gd name="T80" fmla="*/ 0 w 225"/>
                <a:gd name="T81" fmla="*/ 0 h 388"/>
                <a:gd name="T82" fmla="*/ 0 w 225"/>
                <a:gd name="T83" fmla="*/ 0 h 388"/>
                <a:gd name="T84" fmla="*/ 0 w 225"/>
                <a:gd name="T85" fmla="*/ 0 h 388"/>
                <a:gd name="T86" fmla="*/ 0 w 225"/>
                <a:gd name="T87" fmla="*/ 0 h 388"/>
                <a:gd name="T88" fmla="*/ 0 w 225"/>
                <a:gd name="T89" fmla="*/ 0 h 388"/>
                <a:gd name="T90" fmla="*/ 0 w 225"/>
                <a:gd name="T91" fmla="*/ 0 h 388"/>
                <a:gd name="T92" fmla="*/ 0 w 225"/>
                <a:gd name="T93" fmla="*/ 0 h 388"/>
                <a:gd name="T94" fmla="*/ 0 w 225"/>
                <a:gd name="T95" fmla="*/ 0 h 388"/>
                <a:gd name="T96" fmla="*/ 0 w 225"/>
                <a:gd name="T97" fmla="*/ 0 h 388"/>
                <a:gd name="T98" fmla="*/ 0 w 225"/>
                <a:gd name="T99" fmla="*/ 0 h 388"/>
                <a:gd name="T100" fmla="*/ 0 w 225"/>
                <a:gd name="T101" fmla="*/ 0 h 388"/>
                <a:gd name="T102" fmla="*/ 0 w 225"/>
                <a:gd name="T103" fmla="*/ 0 h 38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25"/>
                <a:gd name="T157" fmla="*/ 0 h 388"/>
                <a:gd name="T158" fmla="*/ 225 w 225"/>
                <a:gd name="T159" fmla="*/ 388 h 38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25" h="388">
                  <a:moveTo>
                    <a:pt x="62" y="28"/>
                  </a:moveTo>
                  <a:cubicBezTo>
                    <a:pt x="56" y="30"/>
                    <a:pt x="40" y="35"/>
                    <a:pt x="42" y="44"/>
                  </a:cubicBezTo>
                  <a:cubicBezTo>
                    <a:pt x="44" y="53"/>
                    <a:pt x="42" y="64"/>
                    <a:pt x="46" y="64"/>
                  </a:cubicBezTo>
                  <a:cubicBezTo>
                    <a:pt x="50" y="64"/>
                    <a:pt x="57" y="64"/>
                    <a:pt x="57" y="67"/>
                  </a:cubicBezTo>
                  <a:cubicBezTo>
                    <a:pt x="57" y="71"/>
                    <a:pt x="58" y="81"/>
                    <a:pt x="47" y="85"/>
                  </a:cubicBezTo>
                  <a:cubicBezTo>
                    <a:pt x="36" y="89"/>
                    <a:pt x="11" y="88"/>
                    <a:pt x="11" y="93"/>
                  </a:cubicBezTo>
                  <a:cubicBezTo>
                    <a:pt x="11" y="98"/>
                    <a:pt x="31" y="109"/>
                    <a:pt x="22" y="116"/>
                  </a:cubicBezTo>
                  <a:cubicBezTo>
                    <a:pt x="13" y="124"/>
                    <a:pt x="0" y="123"/>
                    <a:pt x="4" y="134"/>
                  </a:cubicBezTo>
                  <a:cubicBezTo>
                    <a:pt x="8" y="145"/>
                    <a:pt x="35" y="172"/>
                    <a:pt x="35" y="172"/>
                  </a:cubicBezTo>
                  <a:cubicBezTo>
                    <a:pt x="51" y="174"/>
                    <a:pt x="51" y="174"/>
                    <a:pt x="51" y="174"/>
                  </a:cubicBezTo>
                  <a:cubicBezTo>
                    <a:pt x="56" y="167"/>
                    <a:pt x="56" y="167"/>
                    <a:pt x="56" y="167"/>
                  </a:cubicBezTo>
                  <a:cubicBezTo>
                    <a:pt x="56" y="167"/>
                    <a:pt x="65" y="168"/>
                    <a:pt x="68" y="182"/>
                  </a:cubicBezTo>
                  <a:cubicBezTo>
                    <a:pt x="71" y="196"/>
                    <a:pt x="59" y="208"/>
                    <a:pt x="59" y="208"/>
                  </a:cubicBezTo>
                  <a:cubicBezTo>
                    <a:pt x="59" y="217"/>
                    <a:pt x="81" y="211"/>
                    <a:pt x="81" y="211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80" y="230"/>
                    <a:pt x="89" y="234"/>
                    <a:pt x="88" y="240"/>
                  </a:cubicBezTo>
                  <a:cubicBezTo>
                    <a:pt x="87" y="246"/>
                    <a:pt x="74" y="258"/>
                    <a:pt x="74" y="258"/>
                  </a:cubicBezTo>
                  <a:cubicBezTo>
                    <a:pt x="69" y="286"/>
                    <a:pt x="69" y="286"/>
                    <a:pt x="69" y="286"/>
                  </a:cubicBezTo>
                  <a:cubicBezTo>
                    <a:pt x="69" y="286"/>
                    <a:pt x="61" y="302"/>
                    <a:pt x="61" y="312"/>
                  </a:cubicBezTo>
                  <a:cubicBezTo>
                    <a:pt x="61" y="322"/>
                    <a:pt x="78" y="325"/>
                    <a:pt x="78" y="333"/>
                  </a:cubicBezTo>
                  <a:cubicBezTo>
                    <a:pt x="78" y="341"/>
                    <a:pt x="78" y="353"/>
                    <a:pt x="78" y="353"/>
                  </a:cubicBezTo>
                  <a:cubicBezTo>
                    <a:pt x="99" y="377"/>
                    <a:pt x="99" y="377"/>
                    <a:pt x="99" y="377"/>
                  </a:cubicBezTo>
                  <a:cubicBezTo>
                    <a:pt x="108" y="377"/>
                    <a:pt x="108" y="377"/>
                    <a:pt x="108" y="377"/>
                  </a:cubicBezTo>
                  <a:cubicBezTo>
                    <a:pt x="112" y="388"/>
                    <a:pt x="112" y="388"/>
                    <a:pt x="112" y="388"/>
                  </a:cubicBezTo>
                  <a:cubicBezTo>
                    <a:pt x="112" y="388"/>
                    <a:pt x="122" y="388"/>
                    <a:pt x="132" y="387"/>
                  </a:cubicBezTo>
                  <a:cubicBezTo>
                    <a:pt x="142" y="386"/>
                    <a:pt x="137" y="373"/>
                    <a:pt x="143" y="369"/>
                  </a:cubicBezTo>
                  <a:cubicBezTo>
                    <a:pt x="149" y="365"/>
                    <a:pt x="161" y="368"/>
                    <a:pt x="161" y="368"/>
                  </a:cubicBezTo>
                  <a:cubicBezTo>
                    <a:pt x="162" y="360"/>
                    <a:pt x="162" y="360"/>
                    <a:pt x="162" y="360"/>
                  </a:cubicBezTo>
                  <a:cubicBezTo>
                    <a:pt x="183" y="359"/>
                    <a:pt x="183" y="359"/>
                    <a:pt x="183" y="359"/>
                  </a:cubicBezTo>
                  <a:cubicBezTo>
                    <a:pt x="183" y="359"/>
                    <a:pt x="187" y="343"/>
                    <a:pt x="197" y="342"/>
                  </a:cubicBezTo>
                  <a:cubicBezTo>
                    <a:pt x="207" y="341"/>
                    <a:pt x="209" y="352"/>
                    <a:pt x="217" y="350"/>
                  </a:cubicBezTo>
                  <a:cubicBezTo>
                    <a:pt x="225" y="348"/>
                    <a:pt x="221" y="341"/>
                    <a:pt x="221" y="341"/>
                  </a:cubicBezTo>
                  <a:cubicBezTo>
                    <a:pt x="221" y="341"/>
                    <a:pt x="205" y="310"/>
                    <a:pt x="196" y="302"/>
                  </a:cubicBezTo>
                  <a:cubicBezTo>
                    <a:pt x="187" y="294"/>
                    <a:pt x="197" y="273"/>
                    <a:pt x="196" y="266"/>
                  </a:cubicBezTo>
                  <a:cubicBezTo>
                    <a:pt x="195" y="259"/>
                    <a:pt x="186" y="274"/>
                    <a:pt x="182" y="273"/>
                  </a:cubicBezTo>
                  <a:cubicBezTo>
                    <a:pt x="178" y="272"/>
                    <a:pt x="168" y="258"/>
                    <a:pt x="168" y="251"/>
                  </a:cubicBezTo>
                  <a:cubicBezTo>
                    <a:pt x="168" y="244"/>
                    <a:pt x="158" y="246"/>
                    <a:pt x="157" y="236"/>
                  </a:cubicBezTo>
                  <a:cubicBezTo>
                    <a:pt x="156" y="225"/>
                    <a:pt x="167" y="218"/>
                    <a:pt x="167" y="218"/>
                  </a:cubicBezTo>
                  <a:cubicBezTo>
                    <a:pt x="167" y="218"/>
                    <a:pt x="163" y="199"/>
                    <a:pt x="166" y="190"/>
                  </a:cubicBezTo>
                  <a:cubicBezTo>
                    <a:pt x="169" y="181"/>
                    <a:pt x="187" y="184"/>
                    <a:pt x="199" y="181"/>
                  </a:cubicBezTo>
                  <a:cubicBezTo>
                    <a:pt x="211" y="178"/>
                    <a:pt x="195" y="166"/>
                    <a:pt x="195" y="158"/>
                  </a:cubicBezTo>
                  <a:cubicBezTo>
                    <a:pt x="195" y="150"/>
                    <a:pt x="206" y="136"/>
                    <a:pt x="206" y="136"/>
                  </a:cubicBezTo>
                  <a:cubicBezTo>
                    <a:pt x="206" y="136"/>
                    <a:pt x="206" y="125"/>
                    <a:pt x="203" y="117"/>
                  </a:cubicBezTo>
                  <a:cubicBezTo>
                    <a:pt x="200" y="109"/>
                    <a:pt x="185" y="117"/>
                    <a:pt x="185" y="117"/>
                  </a:cubicBezTo>
                  <a:cubicBezTo>
                    <a:pt x="183" y="102"/>
                    <a:pt x="183" y="102"/>
                    <a:pt x="183" y="102"/>
                  </a:cubicBezTo>
                  <a:cubicBezTo>
                    <a:pt x="183" y="102"/>
                    <a:pt x="166" y="87"/>
                    <a:pt x="153" y="85"/>
                  </a:cubicBezTo>
                  <a:cubicBezTo>
                    <a:pt x="140" y="83"/>
                    <a:pt x="133" y="109"/>
                    <a:pt x="133" y="109"/>
                  </a:cubicBezTo>
                  <a:cubicBezTo>
                    <a:pt x="133" y="109"/>
                    <a:pt x="142" y="69"/>
                    <a:pt x="144" y="61"/>
                  </a:cubicBezTo>
                  <a:cubicBezTo>
                    <a:pt x="146" y="53"/>
                    <a:pt x="132" y="30"/>
                    <a:pt x="126" y="22"/>
                  </a:cubicBezTo>
                  <a:cubicBezTo>
                    <a:pt x="120" y="14"/>
                    <a:pt x="83" y="0"/>
                    <a:pt x="83" y="0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69" y="26"/>
                    <a:pt x="62" y="28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01" name="Freeform 17"/>
            <p:cNvSpPr>
              <a:spLocks noEditPoints="1"/>
            </p:cNvSpPr>
            <p:nvPr/>
          </p:nvSpPr>
          <p:spPr bwMode="auto">
            <a:xfrm>
              <a:off x="1356" y="2504"/>
              <a:ext cx="243" cy="237"/>
            </a:xfrm>
            <a:custGeom>
              <a:avLst/>
              <a:gdLst>
                <a:gd name="T0" fmla="*/ 0 w 642"/>
                <a:gd name="T1" fmla="*/ 0 h 625"/>
                <a:gd name="T2" fmla="*/ 0 w 642"/>
                <a:gd name="T3" fmla="*/ 0 h 625"/>
                <a:gd name="T4" fmla="*/ 0 w 642"/>
                <a:gd name="T5" fmla="*/ 0 h 625"/>
                <a:gd name="T6" fmla="*/ 0 w 642"/>
                <a:gd name="T7" fmla="*/ 0 h 625"/>
                <a:gd name="T8" fmla="*/ 0 w 642"/>
                <a:gd name="T9" fmla="*/ 0 h 625"/>
                <a:gd name="T10" fmla="*/ 0 w 642"/>
                <a:gd name="T11" fmla="*/ 0 h 625"/>
                <a:gd name="T12" fmla="*/ 0 w 642"/>
                <a:gd name="T13" fmla="*/ 0 h 625"/>
                <a:gd name="T14" fmla="*/ 0 w 642"/>
                <a:gd name="T15" fmla="*/ 0 h 625"/>
                <a:gd name="T16" fmla="*/ 0 w 642"/>
                <a:gd name="T17" fmla="*/ 0 h 625"/>
                <a:gd name="T18" fmla="*/ 0 w 642"/>
                <a:gd name="T19" fmla="*/ 0 h 625"/>
                <a:gd name="T20" fmla="*/ 0 w 642"/>
                <a:gd name="T21" fmla="*/ 0 h 625"/>
                <a:gd name="T22" fmla="*/ 0 w 642"/>
                <a:gd name="T23" fmla="*/ 0 h 625"/>
                <a:gd name="T24" fmla="*/ 0 w 642"/>
                <a:gd name="T25" fmla="*/ 0 h 625"/>
                <a:gd name="T26" fmla="*/ 0 w 642"/>
                <a:gd name="T27" fmla="*/ 0 h 625"/>
                <a:gd name="T28" fmla="*/ 0 w 642"/>
                <a:gd name="T29" fmla="*/ 0 h 625"/>
                <a:gd name="T30" fmla="*/ 0 w 642"/>
                <a:gd name="T31" fmla="*/ 0 h 625"/>
                <a:gd name="T32" fmla="*/ 0 w 642"/>
                <a:gd name="T33" fmla="*/ 0 h 625"/>
                <a:gd name="T34" fmla="*/ 0 w 642"/>
                <a:gd name="T35" fmla="*/ 0 h 625"/>
                <a:gd name="T36" fmla="*/ 0 w 642"/>
                <a:gd name="T37" fmla="*/ 0 h 625"/>
                <a:gd name="T38" fmla="*/ 0 w 642"/>
                <a:gd name="T39" fmla="*/ 0 h 625"/>
                <a:gd name="T40" fmla="*/ 0 w 642"/>
                <a:gd name="T41" fmla="*/ 0 h 625"/>
                <a:gd name="T42" fmla="*/ 0 w 642"/>
                <a:gd name="T43" fmla="*/ 0 h 625"/>
                <a:gd name="T44" fmla="*/ 0 w 642"/>
                <a:gd name="T45" fmla="*/ 0 h 625"/>
                <a:gd name="T46" fmla="*/ 0 w 642"/>
                <a:gd name="T47" fmla="*/ 0 h 625"/>
                <a:gd name="T48" fmla="*/ 0 w 642"/>
                <a:gd name="T49" fmla="*/ 0 h 625"/>
                <a:gd name="T50" fmla="*/ 0 w 642"/>
                <a:gd name="T51" fmla="*/ 0 h 625"/>
                <a:gd name="T52" fmla="*/ 0 w 642"/>
                <a:gd name="T53" fmla="*/ 0 h 625"/>
                <a:gd name="T54" fmla="*/ 0 w 642"/>
                <a:gd name="T55" fmla="*/ 0 h 625"/>
                <a:gd name="T56" fmla="*/ 0 w 642"/>
                <a:gd name="T57" fmla="*/ 0 h 625"/>
                <a:gd name="T58" fmla="*/ 0 w 642"/>
                <a:gd name="T59" fmla="*/ 0 h 625"/>
                <a:gd name="T60" fmla="*/ 0 w 642"/>
                <a:gd name="T61" fmla="*/ 0 h 625"/>
                <a:gd name="T62" fmla="*/ 0 w 642"/>
                <a:gd name="T63" fmla="*/ 0 h 625"/>
                <a:gd name="T64" fmla="*/ 0 w 642"/>
                <a:gd name="T65" fmla="*/ 0 h 625"/>
                <a:gd name="T66" fmla="*/ 0 w 642"/>
                <a:gd name="T67" fmla="*/ 0 h 625"/>
                <a:gd name="T68" fmla="*/ 0 w 642"/>
                <a:gd name="T69" fmla="*/ 0 h 625"/>
                <a:gd name="T70" fmla="*/ 0 w 642"/>
                <a:gd name="T71" fmla="*/ 0 h 625"/>
                <a:gd name="T72" fmla="*/ 0 w 642"/>
                <a:gd name="T73" fmla="*/ 0 h 625"/>
                <a:gd name="T74" fmla="*/ 0 w 642"/>
                <a:gd name="T75" fmla="*/ 0 h 625"/>
                <a:gd name="T76" fmla="*/ 0 w 642"/>
                <a:gd name="T77" fmla="*/ 0 h 625"/>
                <a:gd name="T78" fmla="*/ 0 w 642"/>
                <a:gd name="T79" fmla="*/ 0 h 625"/>
                <a:gd name="T80" fmla="*/ 0 w 642"/>
                <a:gd name="T81" fmla="*/ 0 h 625"/>
                <a:gd name="T82" fmla="*/ 0 w 642"/>
                <a:gd name="T83" fmla="*/ 0 h 625"/>
                <a:gd name="T84" fmla="*/ 0 w 642"/>
                <a:gd name="T85" fmla="*/ 0 h 625"/>
                <a:gd name="T86" fmla="*/ 0 w 642"/>
                <a:gd name="T87" fmla="*/ 0 h 625"/>
                <a:gd name="T88" fmla="*/ 0 w 642"/>
                <a:gd name="T89" fmla="*/ 0 h 625"/>
                <a:gd name="T90" fmla="*/ 0 w 642"/>
                <a:gd name="T91" fmla="*/ 0 h 625"/>
                <a:gd name="T92" fmla="*/ 0 w 642"/>
                <a:gd name="T93" fmla="*/ 0 h 625"/>
                <a:gd name="T94" fmla="*/ 0 w 642"/>
                <a:gd name="T95" fmla="*/ 0 h 625"/>
                <a:gd name="T96" fmla="*/ 0 w 642"/>
                <a:gd name="T97" fmla="*/ 0 h 625"/>
                <a:gd name="T98" fmla="*/ 0 w 642"/>
                <a:gd name="T99" fmla="*/ 0 h 625"/>
                <a:gd name="T100" fmla="*/ 0 w 642"/>
                <a:gd name="T101" fmla="*/ 0 h 625"/>
                <a:gd name="T102" fmla="*/ 0 w 642"/>
                <a:gd name="T103" fmla="*/ 0 h 625"/>
                <a:gd name="T104" fmla="*/ 0 w 642"/>
                <a:gd name="T105" fmla="*/ 0 h 625"/>
                <a:gd name="T106" fmla="*/ 0 w 642"/>
                <a:gd name="T107" fmla="*/ 0 h 625"/>
                <a:gd name="T108" fmla="*/ 0 w 642"/>
                <a:gd name="T109" fmla="*/ 0 h 625"/>
                <a:gd name="T110" fmla="*/ 0 w 642"/>
                <a:gd name="T111" fmla="*/ 0 h 625"/>
                <a:gd name="T112" fmla="*/ 0 w 642"/>
                <a:gd name="T113" fmla="*/ 0 h 625"/>
                <a:gd name="T114" fmla="*/ 0 w 642"/>
                <a:gd name="T115" fmla="*/ 0 h 625"/>
                <a:gd name="T116" fmla="*/ 0 w 642"/>
                <a:gd name="T117" fmla="*/ 0 h 625"/>
                <a:gd name="T118" fmla="*/ 0 w 642"/>
                <a:gd name="T119" fmla="*/ 0 h 625"/>
                <a:gd name="T120" fmla="*/ 0 w 642"/>
                <a:gd name="T121" fmla="*/ 0 h 625"/>
                <a:gd name="T122" fmla="*/ 0 w 642"/>
                <a:gd name="T123" fmla="*/ 0 h 62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42"/>
                <a:gd name="T187" fmla="*/ 0 h 625"/>
                <a:gd name="T188" fmla="*/ 642 w 642"/>
                <a:gd name="T189" fmla="*/ 625 h 62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42" h="625">
                  <a:moveTo>
                    <a:pt x="182" y="33"/>
                  </a:moveTo>
                  <a:cubicBezTo>
                    <a:pt x="182" y="33"/>
                    <a:pt x="187" y="6"/>
                    <a:pt x="175" y="3"/>
                  </a:cubicBezTo>
                  <a:cubicBezTo>
                    <a:pt x="164" y="0"/>
                    <a:pt x="158" y="7"/>
                    <a:pt x="158" y="13"/>
                  </a:cubicBezTo>
                  <a:cubicBezTo>
                    <a:pt x="158" y="18"/>
                    <a:pt x="165" y="34"/>
                    <a:pt x="165" y="34"/>
                  </a:cubicBezTo>
                  <a:lnTo>
                    <a:pt x="182" y="33"/>
                  </a:lnTo>
                  <a:close/>
                  <a:moveTo>
                    <a:pt x="630" y="190"/>
                  </a:moveTo>
                  <a:cubicBezTo>
                    <a:pt x="626" y="184"/>
                    <a:pt x="611" y="201"/>
                    <a:pt x="611" y="201"/>
                  </a:cubicBezTo>
                  <a:cubicBezTo>
                    <a:pt x="611" y="201"/>
                    <a:pt x="601" y="197"/>
                    <a:pt x="595" y="194"/>
                  </a:cubicBezTo>
                  <a:cubicBezTo>
                    <a:pt x="589" y="191"/>
                    <a:pt x="575" y="208"/>
                    <a:pt x="575" y="208"/>
                  </a:cubicBezTo>
                  <a:cubicBezTo>
                    <a:pt x="553" y="194"/>
                    <a:pt x="553" y="194"/>
                    <a:pt x="553" y="194"/>
                  </a:cubicBezTo>
                  <a:cubicBezTo>
                    <a:pt x="553" y="194"/>
                    <a:pt x="579" y="194"/>
                    <a:pt x="583" y="187"/>
                  </a:cubicBezTo>
                  <a:cubicBezTo>
                    <a:pt x="587" y="180"/>
                    <a:pt x="586" y="167"/>
                    <a:pt x="586" y="167"/>
                  </a:cubicBezTo>
                  <a:cubicBezTo>
                    <a:pt x="586" y="167"/>
                    <a:pt x="596" y="166"/>
                    <a:pt x="598" y="153"/>
                  </a:cubicBezTo>
                  <a:cubicBezTo>
                    <a:pt x="600" y="140"/>
                    <a:pt x="572" y="143"/>
                    <a:pt x="572" y="143"/>
                  </a:cubicBezTo>
                  <a:cubicBezTo>
                    <a:pt x="572" y="143"/>
                    <a:pt x="568" y="129"/>
                    <a:pt x="561" y="128"/>
                  </a:cubicBezTo>
                  <a:cubicBezTo>
                    <a:pt x="554" y="127"/>
                    <a:pt x="556" y="143"/>
                    <a:pt x="556" y="143"/>
                  </a:cubicBezTo>
                  <a:cubicBezTo>
                    <a:pt x="556" y="143"/>
                    <a:pt x="550" y="134"/>
                    <a:pt x="550" y="128"/>
                  </a:cubicBezTo>
                  <a:cubicBezTo>
                    <a:pt x="550" y="122"/>
                    <a:pt x="536" y="123"/>
                    <a:pt x="536" y="123"/>
                  </a:cubicBezTo>
                  <a:cubicBezTo>
                    <a:pt x="532" y="143"/>
                    <a:pt x="532" y="143"/>
                    <a:pt x="532" y="143"/>
                  </a:cubicBezTo>
                  <a:cubicBezTo>
                    <a:pt x="532" y="143"/>
                    <a:pt x="524" y="135"/>
                    <a:pt x="522" y="129"/>
                  </a:cubicBezTo>
                  <a:cubicBezTo>
                    <a:pt x="520" y="123"/>
                    <a:pt x="519" y="109"/>
                    <a:pt x="519" y="109"/>
                  </a:cubicBezTo>
                  <a:cubicBezTo>
                    <a:pt x="498" y="117"/>
                    <a:pt x="498" y="117"/>
                    <a:pt x="498" y="117"/>
                  </a:cubicBezTo>
                  <a:cubicBezTo>
                    <a:pt x="498" y="117"/>
                    <a:pt x="514" y="108"/>
                    <a:pt x="514" y="103"/>
                  </a:cubicBezTo>
                  <a:cubicBezTo>
                    <a:pt x="514" y="98"/>
                    <a:pt x="501" y="98"/>
                    <a:pt x="501" y="93"/>
                  </a:cubicBezTo>
                  <a:cubicBezTo>
                    <a:pt x="501" y="88"/>
                    <a:pt x="543" y="88"/>
                    <a:pt x="547" y="82"/>
                  </a:cubicBezTo>
                  <a:cubicBezTo>
                    <a:pt x="551" y="76"/>
                    <a:pt x="457" y="84"/>
                    <a:pt x="457" y="84"/>
                  </a:cubicBezTo>
                  <a:cubicBezTo>
                    <a:pt x="466" y="94"/>
                    <a:pt x="466" y="94"/>
                    <a:pt x="466" y="94"/>
                  </a:cubicBezTo>
                  <a:cubicBezTo>
                    <a:pt x="466" y="94"/>
                    <a:pt x="444" y="96"/>
                    <a:pt x="435" y="99"/>
                  </a:cubicBezTo>
                  <a:cubicBezTo>
                    <a:pt x="426" y="102"/>
                    <a:pt x="402" y="119"/>
                    <a:pt x="402" y="119"/>
                  </a:cubicBezTo>
                  <a:cubicBezTo>
                    <a:pt x="378" y="120"/>
                    <a:pt x="346" y="88"/>
                    <a:pt x="346" y="88"/>
                  </a:cubicBezTo>
                  <a:cubicBezTo>
                    <a:pt x="346" y="88"/>
                    <a:pt x="265" y="93"/>
                    <a:pt x="255" y="92"/>
                  </a:cubicBezTo>
                  <a:cubicBezTo>
                    <a:pt x="245" y="91"/>
                    <a:pt x="242" y="82"/>
                    <a:pt x="242" y="68"/>
                  </a:cubicBezTo>
                  <a:cubicBezTo>
                    <a:pt x="242" y="54"/>
                    <a:pt x="236" y="44"/>
                    <a:pt x="210" y="39"/>
                  </a:cubicBezTo>
                  <a:cubicBezTo>
                    <a:pt x="184" y="34"/>
                    <a:pt x="147" y="56"/>
                    <a:pt x="147" y="56"/>
                  </a:cubicBezTo>
                  <a:cubicBezTo>
                    <a:pt x="147" y="56"/>
                    <a:pt x="120" y="62"/>
                    <a:pt x="104" y="76"/>
                  </a:cubicBezTo>
                  <a:cubicBezTo>
                    <a:pt x="88" y="90"/>
                    <a:pt x="111" y="116"/>
                    <a:pt x="113" y="136"/>
                  </a:cubicBezTo>
                  <a:cubicBezTo>
                    <a:pt x="115" y="156"/>
                    <a:pt x="88" y="172"/>
                    <a:pt x="88" y="172"/>
                  </a:cubicBezTo>
                  <a:cubicBezTo>
                    <a:pt x="89" y="154"/>
                    <a:pt x="89" y="154"/>
                    <a:pt x="89" y="154"/>
                  </a:cubicBezTo>
                  <a:cubicBezTo>
                    <a:pt x="89" y="154"/>
                    <a:pt x="71" y="149"/>
                    <a:pt x="65" y="139"/>
                  </a:cubicBezTo>
                  <a:cubicBezTo>
                    <a:pt x="59" y="129"/>
                    <a:pt x="75" y="111"/>
                    <a:pt x="82" y="102"/>
                  </a:cubicBezTo>
                  <a:cubicBezTo>
                    <a:pt x="89" y="93"/>
                    <a:pt x="88" y="77"/>
                    <a:pt x="88" y="65"/>
                  </a:cubicBezTo>
                  <a:cubicBezTo>
                    <a:pt x="88" y="53"/>
                    <a:pt x="77" y="38"/>
                    <a:pt x="77" y="38"/>
                  </a:cubicBezTo>
                  <a:cubicBezTo>
                    <a:pt x="77" y="38"/>
                    <a:pt x="76" y="53"/>
                    <a:pt x="65" y="56"/>
                  </a:cubicBezTo>
                  <a:cubicBezTo>
                    <a:pt x="54" y="60"/>
                    <a:pt x="45" y="64"/>
                    <a:pt x="38" y="77"/>
                  </a:cubicBezTo>
                  <a:cubicBezTo>
                    <a:pt x="30" y="90"/>
                    <a:pt x="30" y="110"/>
                    <a:pt x="30" y="110"/>
                  </a:cubicBezTo>
                  <a:cubicBezTo>
                    <a:pt x="24" y="115"/>
                    <a:pt x="24" y="115"/>
                    <a:pt x="24" y="115"/>
                  </a:cubicBezTo>
                  <a:cubicBezTo>
                    <a:pt x="24" y="133"/>
                    <a:pt x="24" y="133"/>
                    <a:pt x="24" y="133"/>
                  </a:cubicBezTo>
                  <a:cubicBezTo>
                    <a:pt x="24" y="133"/>
                    <a:pt x="0" y="154"/>
                    <a:pt x="5" y="162"/>
                  </a:cubicBezTo>
                  <a:cubicBezTo>
                    <a:pt x="10" y="171"/>
                    <a:pt x="14" y="157"/>
                    <a:pt x="21" y="157"/>
                  </a:cubicBezTo>
                  <a:cubicBezTo>
                    <a:pt x="28" y="157"/>
                    <a:pt x="35" y="171"/>
                    <a:pt x="35" y="180"/>
                  </a:cubicBezTo>
                  <a:cubicBezTo>
                    <a:pt x="35" y="189"/>
                    <a:pt x="36" y="195"/>
                    <a:pt x="36" y="195"/>
                  </a:cubicBezTo>
                  <a:cubicBezTo>
                    <a:pt x="36" y="195"/>
                    <a:pt x="52" y="204"/>
                    <a:pt x="50" y="216"/>
                  </a:cubicBezTo>
                  <a:cubicBezTo>
                    <a:pt x="48" y="229"/>
                    <a:pt x="42" y="232"/>
                    <a:pt x="42" y="232"/>
                  </a:cubicBezTo>
                  <a:cubicBezTo>
                    <a:pt x="41" y="259"/>
                    <a:pt x="41" y="259"/>
                    <a:pt x="41" y="259"/>
                  </a:cubicBezTo>
                  <a:cubicBezTo>
                    <a:pt x="51" y="259"/>
                    <a:pt x="51" y="259"/>
                    <a:pt x="51" y="259"/>
                  </a:cubicBezTo>
                  <a:cubicBezTo>
                    <a:pt x="51" y="259"/>
                    <a:pt x="50" y="277"/>
                    <a:pt x="59" y="280"/>
                  </a:cubicBezTo>
                  <a:cubicBezTo>
                    <a:pt x="68" y="283"/>
                    <a:pt x="79" y="278"/>
                    <a:pt x="83" y="278"/>
                  </a:cubicBezTo>
                  <a:cubicBezTo>
                    <a:pt x="88" y="278"/>
                    <a:pt x="106" y="285"/>
                    <a:pt x="111" y="284"/>
                  </a:cubicBezTo>
                  <a:cubicBezTo>
                    <a:pt x="116" y="283"/>
                    <a:pt x="117" y="277"/>
                    <a:pt x="122" y="277"/>
                  </a:cubicBezTo>
                  <a:cubicBezTo>
                    <a:pt x="127" y="277"/>
                    <a:pt x="136" y="284"/>
                    <a:pt x="136" y="284"/>
                  </a:cubicBezTo>
                  <a:cubicBezTo>
                    <a:pt x="154" y="285"/>
                    <a:pt x="154" y="285"/>
                    <a:pt x="154" y="285"/>
                  </a:cubicBezTo>
                  <a:cubicBezTo>
                    <a:pt x="154" y="285"/>
                    <a:pt x="173" y="327"/>
                    <a:pt x="181" y="330"/>
                  </a:cubicBezTo>
                  <a:cubicBezTo>
                    <a:pt x="189" y="332"/>
                    <a:pt x="197" y="329"/>
                    <a:pt x="197" y="329"/>
                  </a:cubicBezTo>
                  <a:cubicBezTo>
                    <a:pt x="197" y="329"/>
                    <a:pt x="195" y="322"/>
                    <a:pt x="203" y="322"/>
                  </a:cubicBezTo>
                  <a:cubicBezTo>
                    <a:pt x="211" y="322"/>
                    <a:pt x="213" y="329"/>
                    <a:pt x="221" y="330"/>
                  </a:cubicBezTo>
                  <a:cubicBezTo>
                    <a:pt x="229" y="331"/>
                    <a:pt x="232" y="324"/>
                    <a:pt x="232" y="324"/>
                  </a:cubicBezTo>
                  <a:cubicBezTo>
                    <a:pt x="251" y="326"/>
                    <a:pt x="251" y="326"/>
                    <a:pt x="251" y="326"/>
                  </a:cubicBezTo>
                  <a:cubicBezTo>
                    <a:pt x="251" y="326"/>
                    <a:pt x="270" y="311"/>
                    <a:pt x="276" y="323"/>
                  </a:cubicBezTo>
                  <a:cubicBezTo>
                    <a:pt x="282" y="336"/>
                    <a:pt x="265" y="344"/>
                    <a:pt x="265" y="344"/>
                  </a:cubicBezTo>
                  <a:cubicBezTo>
                    <a:pt x="265" y="344"/>
                    <a:pt x="266" y="359"/>
                    <a:pt x="263" y="362"/>
                  </a:cubicBezTo>
                  <a:cubicBezTo>
                    <a:pt x="260" y="365"/>
                    <a:pt x="250" y="370"/>
                    <a:pt x="251" y="375"/>
                  </a:cubicBezTo>
                  <a:cubicBezTo>
                    <a:pt x="252" y="380"/>
                    <a:pt x="254" y="398"/>
                    <a:pt x="254" y="404"/>
                  </a:cubicBezTo>
                  <a:cubicBezTo>
                    <a:pt x="254" y="410"/>
                    <a:pt x="252" y="433"/>
                    <a:pt x="252" y="433"/>
                  </a:cubicBezTo>
                  <a:cubicBezTo>
                    <a:pt x="252" y="433"/>
                    <a:pt x="261" y="437"/>
                    <a:pt x="261" y="440"/>
                  </a:cubicBezTo>
                  <a:cubicBezTo>
                    <a:pt x="261" y="443"/>
                    <a:pt x="262" y="452"/>
                    <a:pt x="262" y="452"/>
                  </a:cubicBezTo>
                  <a:cubicBezTo>
                    <a:pt x="262" y="452"/>
                    <a:pt x="278" y="466"/>
                    <a:pt x="278" y="476"/>
                  </a:cubicBezTo>
                  <a:cubicBezTo>
                    <a:pt x="278" y="486"/>
                    <a:pt x="249" y="504"/>
                    <a:pt x="249" y="504"/>
                  </a:cubicBezTo>
                  <a:cubicBezTo>
                    <a:pt x="259" y="507"/>
                    <a:pt x="259" y="507"/>
                    <a:pt x="259" y="507"/>
                  </a:cubicBezTo>
                  <a:cubicBezTo>
                    <a:pt x="259" y="507"/>
                    <a:pt x="281" y="521"/>
                    <a:pt x="281" y="525"/>
                  </a:cubicBezTo>
                  <a:cubicBezTo>
                    <a:pt x="281" y="529"/>
                    <a:pt x="284" y="549"/>
                    <a:pt x="284" y="549"/>
                  </a:cubicBezTo>
                  <a:cubicBezTo>
                    <a:pt x="284" y="549"/>
                    <a:pt x="295" y="575"/>
                    <a:pt x="294" y="580"/>
                  </a:cubicBezTo>
                  <a:cubicBezTo>
                    <a:pt x="293" y="585"/>
                    <a:pt x="299" y="594"/>
                    <a:pt x="299" y="594"/>
                  </a:cubicBezTo>
                  <a:cubicBezTo>
                    <a:pt x="299" y="594"/>
                    <a:pt x="306" y="607"/>
                    <a:pt x="310" y="612"/>
                  </a:cubicBezTo>
                  <a:cubicBezTo>
                    <a:pt x="314" y="617"/>
                    <a:pt x="326" y="619"/>
                    <a:pt x="326" y="619"/>
                  </a:cubicBezTo>
                  <a:cubicBezTo>
                    <a:pt x="336" y="625"/>
                    <a:pt x="347" y="603"/>
                    <a:pt x="356" y="605"/>
                  </a:cubicBezTo>
                  <a:cubicBezTo>
                    <a:pt x="365" y="607"/>
                    <a:pt x="354" y="624"/>
                    <a:pt x="362" y="624"/>
                  </a:cubicBezTo>
                  <a:cubicBezTo>
                    <a:pt x="370" y="624"/>
                    <a:pt x="376" y="599"/>
                    <a:pt x="382" y="595"/>
                  </a:cubicBezTo>
                  <a:cubicBezTo>
                    <a:pt x="388" y="591"/>
                    <a:pt x="400" y="593"/>
                    <a:pt x="400" y="593"/>
                  </a:cubicBezTo>
                  <a:cubicBezTo>
                    <a:pt x="402" y="587"/>
                    <a:pt x="402" y="587"/>
                    <a:pt x="402" y="587"/>
                  </a:cubicBezTo>
                  <a:cubicBezTo>
                    <a:pt x="402" y="587"/>
                    <a:pt x="407" y="583"/>
                    <a:pt x="420" y="579"/>
                  </a:cubicBezTo>
                  <a:cubicBezTo>
                    <a:pt x="433" y="575"/>
                    <a:pt x="432" y="550"/>
                    <a:pt x="432" y="550"/>
                  </a:cubicBezTo>
                  <a:cubicBezTo>
                    <a:pt x="432" y="550"/>
                    <a:pt x="445" y="553"/>
                    <a:pt x="457" y="547"/>
                  </a:cubicBezTo>
                  <a:cubicBezTo>
                    <a:pt x="469" y="541"/>
                    <a:pt x="462" y="527"/>
                    <a:pt x="462" y="527"/>
                  </a:cubicBezTo>
                  <a:cubicBezTo>
                    <a:pt x="432" y="524"/>
                    <a:pt x="432" y="524"/>
                    <a:pt x="432" y="524"/>
                  </a:cubicBezTo>
                  <a:cubicBezTo>
                    <a:pt x="432" y="524"/>
                    <a:pt x="432" y="515"/>
                    <a:pt x="432" y="508"/>
                  </a:cubicBezTo>
                  <a:cubicBezTo>
                    <a:pt x="432" y="501"/>
                    <a:pt x="419" y="490"/>
                    <a:pt x="419" y="490"/>
                  </a:cubicBezTo>
                  <a:cubicBezTo>
                    <a:pt x="419" y="490"/>
                    <a:pt x="434" y="466"/>
                    <a:pt x="412" y="455"/>
                  </a:cubicBezTo>
                  <a:cubicBezTo>
                    <a:pt x="390" y="444"/>
                    <a:pt x="400" y="425"/>
                    <a:pt x="400" y="425"/>
                  </a:cubicBezTo>
                  <a:cubicBezTo>
                    <a:pt x="400" y="425"/>
                    <a:pt x="403" y="431"/>
                    <a:pt x="406" y="434"/>
                  </a:cubicBezTo>
                  <a:cubicBezTo>
                    <a:pt x="409" y="437"/>
                    <a:pt x="418" y="429"/>
                    <a:pt x="429" y="433"/>
                  </a:cubicBezTo>
                  <a:cubicBezTo>
                    <a:pt x="440" y="437"/>
                    <a:pt x="434" y="446"/>
                    <a:pt x="436" y="449"/>
                  </a:cubicBezTo>
                  <a:cubicBezTo>
                    <a:pt x="438" y="452"/>
                    <a:pt x="450" y="444"/>
                    <a:pt x="450" y="444"/>
                  </a:cubicBezTo>
                  <a:cubicBezTo>
                    <a:pt x="460" y="450"/>
                    <a:pt x="460" y="450"/>
                    <a:pt x="460" y="450"/>
                  </a:cubicBezTo>
                  <a:cubicBezTo>
                    <a:pt x="460" y="450"/>
                    <a:pt x="465" y="442"/>
                    <a:pt x="469" y="446"/>
                  </a:cubicBezTo>
                  <a:cubicBezTo>
                    <a:pt x="473" y="450"/>
                    <a:pt x="484" y="469"/>
                    <a:pt x="493" y="469"/>
                  </a:cubicBezTo>
                  <a:cubicBezTo>
                    <a:pt x="502" y="469"/>
                    <a:pt x="499" y="435"/>
                    <a:pt x="507" y="432"/>
                  </a:cubicBezTo>
                  <a:cubicBezTo>
                    <a:pt x="515" y="429"/>
                    <a:pt x="521" y="437"/>
                    <a:pt x="528" y="437"/>
                  </a:cubicBezTo>
                  <a:cubicBezTo>
                    <a:pt x="535" y="437"/>
                    <a:pt x="549" y="430"/>
                    <a:pt x="551" y="424"/>
                  </a:cubicBezTo>
                  <a:cubicBezTo>
                    <a:pt x="553" y="418"/>
                    <a:pt x="565" y="413"/>
                    <a:pt x="565" y="413"/>
                  </a:cubicBezTo>
                  <a:cubicBezTo>
                    <a:pt x="583" y="414"/>
                    <a:pt x="583" y="414"/>
                    <a:pt x="583" y="414"/>
                  </a:cubicBezTo>
                  <a:cubicBezTo>
                    <a:pt x="581" y="404"/>
                    <a:pt x="581" y="404"/>
                    <a:pt x="581" y="404"/>
                  </a:cubicBezTo>
                  <a:cubicBezTo>
                    <a:pt x="581" y="404"/>
                    <a:pt x="592" y="406"/>
                    <a:pt x="596" y="399"/>
                  </a:cubicBezTo>
                  <a:cubicBezTo>
                    <a:pt x="600" y="392"/>
                    <a:pt x="594" y="378"/>
                    <a:pt x="594" y="378"/>
                  </a:cubicBezTo>
                  <a:cubicBezTo>
                    <a:pt x="594" y="378"/>
                    <a:pt x="567" y="351"/>
                    <a:pt x="563" y="340"/>
                  </a:cubicBezTo>
                  <a:cubicBezTo>
                    <a:pt x="559" y="329"/>
                    <a:pt x="572" y="330"/>
                    <a:pt x="581" y="322"/>
                  </a:cubicBezTo>
                  <a:cubicBezTo>
                    <a:pt x="590" y="315"/>
                    <a:pt x="570" y="304"/>
                    <a:pt x="570" y="299"/>
                  </a:cubicBezTo>
                  <a:cubicBezTo>
                    <a:pt x="570" y="294"/>
                    <a:pt x="595" y="295"/>
                    <a:pt x="606" y="291"/>
                  </a:cubicBezTo>
                  <a:cubicBezTo>
                    <a:pt x="617" y="287"/>
                    <a:pt x="616" y="277"/>
                    <a:pt x="616" y="273"/>
                  </a:cubicBezTo>
                  <a:cubicBezTo>
                    <a:pt x="616" y="270"/>
                    <a:pt x="609" y="270"/>
                    <a:pt x="605" y="270"/>
                  </a:cubicBezTo>
                  <a:cubicBezTo>
                    <a:pt x="601" y="270"/>
                    <a:pt x="603" y="259"/>
                    <a:pt x="601" y="250"/>
                  </a:cubicBezTo>
                  <a:cubicBezTo>
                    <a:pt x="599" y="241"/>
                    <a:pt x="615" y="236"/>
                    <a:pt x="621" y="234"/>
                  </a:cubicBezTo>
                  <a:cubicBezTo>
                    <a:pt x="628" y="232"/>
                    <a:pt x="635" y="218"/>
                    <a:pt x="635" y="218"/>
                  </a:cubicBezTo>
                  <a:cubicBezTo>
                    <a:pt x="642" y="206"/>
                    <a:pt x="642" y="206"/>
                    <a:pt x="642" y="206"/>
                  </a:cubicBezTo>
                  <a:cubicBezTo>
                    <a:pt x="642" y="206"/>
                    <a:pt x="634" y="196"/>
                    <a:pt x="630" y="190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02" name="Freeform 18"/>
            <p:cNvSpPr>
              <a:spLocks/>
            </p:cNvSpPr>
            <p:nvPr/>
          </p:nvSpPr>
          <p:spPr bwMode="auto">
            <a:xfrm>
              <a:off x="1181" y="2556"/>
              <a:ext cx="106" cy="54"/>
            </a:xfrm>
            <a:custGeom>
              <a:avLst/>
              <a:gdLst>
                <a:gd name="T0" fmla="*/ 0 w 279"/>
                <a:gd name="T1" fmla="*/ 0 h 141"/>
                <a:gd name="T2" fmla="*/ 0 w 279"/>
                <a:gd name="T3" fmla="*/ 0 h 141"/>
                <a:gd name="T4" fmla="*/ 0 w 279"/>
                <a:gd name="T5" fmla="*/ 0 h 141"/>
                <a:gd name="T6" fmla="*/ 0 w 279"/>
                <a:gd name="T7" fmla="*/ 0 h 141"/>
                <a:gd name="T8" fmla="*/ 0 w 279"/>
                <a:gd name="T9" fmla="*/ 0 h 141"/>
                <a:gd name="T10" fmla="*/ 0 w 279"/>
                <a:gd name="T11" fmla="*/ 0 h 141"/>
                <a:gd name="T12" fmla="*/ 0 w 279"/>
                <a:gd name="T13" fmla="*/ 0 h 141"/>
                <a:gd name="T14" fmla="*/ 0 w 279"/>
                <a:gd name="T15" fmla="*/ 0 h 141"/>
                <a:gd name="T16" fmla="*/ 0 w 279"/>
                <a:gd name="T17" fmla="*/ 0 h 141"/>
                <a:gd name="T18" fmla="*/ 0 w 279"/>
                <a:gd name="T19" fmla="*/ 0 h 141"/>
                <a:gd name="T20" fmla="*/ 0 w 279"/>
                <a:gd name="T21" fmla="*/ 0 h 141"/>
                <a:gd name="T22" fmla="*/ 0 w 279"/>
                <a:gd name="T23" fmla="*/ 0 h 141"/>
                <a:gd name="T24" fmla="*/ 0 w 279"/>
                <a:gd name="T25" fmla="*/ 0 h 141"/>
                <a:gd name="T26" fmla="*/ 0 w 279"/>
                <a:gd name="T27" fmla="*/ 0 h 141"/>
                <a:gd name="T28" fmla="*/ 0 w 279"/>
                <a:gd name="T29" fmla="*/ 0 h 141"/>
                <a:gd name="T30" fmla="*/ 0 w 279"/>
                <a:gd name="T31" fmla="*/ 0 h 141"/>
                <a:gd name="T32" fmla="*/ 0 w 279"/>
                <a:gd name="T33" fmla="*/ 0 h 141"/>
                <a:gd name="T34" fmla="*/ 0 w 279"/>
                <a:gd name="T35" fmla="*/ 0 h 141"/>
                <a:gd name="T36" fmla="*/ 0 w 279"/>
                <a:gd name="T37" fmla="*/ 0 h 141"/>
                <a:gd name="T38" fmla="*/ 0 w 279"/>
                <a:gd name="T39" fmla="*/ 0 h 141"/>
                <a:gd name="T40" fmla="*/ 0 w 279"/>
                <a:gd name="T41" fmla="*/ 0 h 141"/>
                <a:gd name="T42" fmla="*/ 0 w 279"/>
                <a:gd name="T43" fmla="*/ 0 h 141"/>
                <a:gd name="T44" fmla="*/ 0 w 279"/>
                <a:gd name="T45" fmla="*/ 0 h 141"/>
                <a:gd name="T46" fmla="*/ 0 w 279"/>
                <a:gd name="T47" fmla="*/ 0 h 141"/>
                <a:gd name="T48" fmla="*/ 0 w 279"/>
                <a:gd name="T49" fmla="*/ 0 h 141"/>
                <a:gd name="T50" fmla="*/ 0 w 279"/>
                <a:gd name="T51" fmla="*/ 0 h 141"/>
                <a:gd name="T52" fmla="*/ 0 w 279"/>
                <a:gd name="T53" fmla="*/ 0 h 141"/>
                <a:gd name="T54" fmla="*/ 0 w 279"/>
                <a:gd name="T55" fmla="*/ 0 h 141"/>
                <a:gd name="T56" fmla="*/ 0 w 279"/>
                <a:gd name="T57" fmla="*/ 0 h 141"/>
                <a:gd name="T58" fmla="*/ 0 w 279"/>
                <a:gd name="T59" fmla="*/ 0 h 141"/>
                <a:gd name="T60" fmla="*/ 0 w 279"/>
                <a:gd name="T61" fmla="*/ 0 h 141"/>
                <a:gd name="T62" fmla="*/ 0 w 279"/>
                <a:gd name="T63" fmla="*/ 0 h 141"/>
                <a:gd name="T64" fmla="*/ 0 w 279"/>
                <a:gd name="T65" fmla="*/ 0 h 141"/>
                <a:gd name="T66" fmla="*/ 0 w 279"/>
                <a:gd name="T67" fmla="*/ 0 h 141"/>
                <a:gd name="T68" fmla="*/ 0 w 279"/>
                <a:gd name="T69" fmla="*/ 0 h 141"/>
                <a:gd name="T70" fmla="*/ 0 w 279"/>
                <a:gd name="T71" fmla="*/ 0 h 141"/>
                <a:gd name="T72" fmla="*/ 0 w 279"/>
                <a:gd name="T73" fmla="*/ 0 h 141"/>
                <a:gd name="T74" fmla="*/ 0 w 279"/>
                <a:gd name="T75" fmla="*/ 0 h 141"/>
                <a:gd name="T76" fmla="*/ 0 w 279"/>
                <a:gd name="T77" fmla="*/ 0 h 141"/>
                <a:gd name="T78" fmla="*/ 0 w 279"/>
                <a:gd name="T79" fmla="*/ 0 h 141"/>
                <a:gd name="T80" fmla="*/ 0 w 279"/>
                <a:gd name="T81" fmla="*/ 0 h 141"/>
                <a:gd name="T82" fmla="*/ 0 w 279"/>
                <a:gd name="T83" fmla="*/ 0 h 141"/>
                <a:gd name="T84" fmla="*/ 0 w 279"/>
                <a:gd name="T85" fmla="*/ 0 h 141"/>
                <a:gd name="T86" fmla="*/ 0 w 279"/>
                <a:gd name="T87" fmla="*/ 0 h 141"/>
                <a:gd name="T88" fmla="*/ 0 w 279"/>
                <a:gd name="T89" fmla="*/ 0 h 141"/>
                <a:gd name="T90" fmla="*/ 0 w 279"/>
                <a:gd name="T91" fmla="*/ 0 h 141"/>
                <a:gd name="T92" fmla="*/ 0 w 279"/>
                <a:gd name="T93" fmla="*/ 0 h 14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79"/>
                <a:gd name="T142" fmla="*/ 0 h 141"/>
                <a:gd name="T143" fmla="*/ 279 w 279"/>
                <a:gd name="T144" fmla="*/ 141 h 14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79" h="141">
                  <a:moveTo>
                    <a:pt x="209" y="47"/>
                  </a:moveTo>
                  <a:cubicBezTo>
                    <a:pt x="215" y="51"/>
                    <a:pt x="224" y="66"/>
                    <a:pt x="224" y="66"/>
                  </a:cubicBezTo>
                  <a:cubicBezTo>
                    <a:pt x="232" y="63"/>
                    <a:pt x="232" y="63"/>
                    <a:pt x="232" y="63"/>
                  </a:cubicBezTo>
                  <a:cubicBezTo>
                    <a:pt x="254" y="81"/>
                    <a:pt x="254" y="81"/>
                    <a:pt x="254" y="81"/>
                  </a:cubicBezTo>
                  <a:cubicBezTo>
                    <a:pt x="232" y="71"/>
                    <a:pt x="232" y="71"/>
                    <a:pt x="232" y="71"/>
                  </a:cubicBezTo>
                  <a:cubicBezTo>
                    <a:pt x="232" y="71"/>
                    <a:pt x="229" y="100"/>
                    <a:pt x="229" y="106"/>
                  </a:cubicBezTo>
                  <a:cubicBezTo>
                    <a:pt x="229" y="111"/>
                    <a:pt x="240" y="124"/>
                    <a:pt x="243" y="128"/>
                  </a:cubicBezTo>
                  <a:cubicBezTo>
                    <a:pt x="243" y="128"/>
                    <a:pt x="243" y="128"/>
                    <a:pt x="243" y="128"/>
                  </a:cubicBezTo>
                  <a:cubicBezTo>
                    <a:pt x="253" y="107"/>
                    <a:pt x="253" y="107"/>
                    <a:pt x="253" y="107"/>
                  </a:cubicBezTo>
                  <a:cubicBezTo>
                    <a:pt x="253" y="107"/>
                    <a:pt x="260" y="117"/>
                    <a:pt x="269" y="109"/>
                  </a:cubicBezTo>
                  <a:cubicBezTo>
                    <a:pt x="279" y="101"/>
                    <a:pt x="279" y="84"/>
                    <a:pt x="279" y="84"/>
                  </a:cubicBezTo>
                  <a:cubicBezTo>
                    <a:pt x="279" y="84"/>
                    <a:pt x="266" y="77"/>
                    <a:pt x="266" y="70"/>
                  </a:cubicBezTo>
                  <a:cubicBezTo>
                    <a:pt x="266" y="64"/>
                    <a:pt x="269" y="59"/>
                    <a:pt x="270" y="58"/>
                  </a:cubicBezTo>
                  <a:cubicBezTo>
                    <a:pt x="255" y="46"/>
                    <a:pt x="255" y="46"/>
                    <a:pt x="255" y="46"/>
                  </a:cubicBezTo>
                  <a:cubicBezTo>
                    <a:pt x="255" y="46"/>
                    <a:pt x="251" y="24"/>
                    <a:pt x="236" y="18"/>
                  </a:cubicBezTo>
                  <a:cubicBezTo>
                    <a:pt x="221" y="12"/>
                    <a:pt x="196" y="13"/>
                    <a:pt x="196" y="13"/>
                  </a:cubicBezTo>
                  <a:cubicBezTo>
                    <a:pt x="195" y="4"/>
                    <a:pt x="195" y="4"/>
                    <a:pt x="195" y="4"/>
                  </a:cubicBezTo>
                  <a:cubicBezTo>
                    <a:pt x="195" y="4"/>
                    <a:pt x="169" y="0"/>
                    <a:pt x="163" y="7"/>
                  </a:cubicBezTo>
                  <a:cubicBezTo>
                    <a:pt x="157" y="14"/>
                    <a:pt x="144" y="27"/>
                    <a:pt x="144" y="27"/>
                  </a:cubicBezTo>
                  <a:cubicBezTo>
                    <a:pt x="144" y="27"/>
                    <a:pt x="134" y="18"/>
                    <a:pt x="126" y="25"/>
                  </a:cubicBezTo>
                  <a:cubicBezTo>
                    <a:pt x="118" y="32"/>
                    <a:pt x="104" y="50"/>
                    <a:pt x="94" y="50"/>
                  </a:cubicBezTo>
                  <a:cubicBezTo>
                    <a:pt x="84" y="50"/>
                    <a:pt x="75" y="43"/>
                    <a:pt x="75" y="43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45" y="44"/>
                    <a:pt x="40" y="35"/>
                  </a:cubicBezTo>
                  <a:cubicBezTo>
                    <a:pt x="35" y="26"/>
                    <a:pt x="42" y="16"/>
                    <a:pt x="35" y="10"/>
                  </a:cubicBezTo>
                  <a:cubicBezTo>
                    <a:pt x="33" y="8"/>
                    <a:pt x="30" y="7"/>
                    <a:pt x="27" y="5"/>
                  </a:cubicBezTo>
                  <a:cubicBezTo>
                    <a:pt x="23" y="6"/>
                    <a:pt x="16" y="9"/>
                    <a:pt x="10" y="11"/>
                  </a:cubicBezTo>
                  <a:cubicBezTo>
                    <a:pt x="0" y="14"/>
                    <a:pt x="10" y="33"/>
                    <a:pt x="10" y="33"/>
                  </a:cubicBezTo>
                  <a:cubicBezTo>
                    <a:pt x="10" y="33"/>
                    <a:pt x="24" y="35"/>
                    <a:pt x="24" y="40"/>
                  </a:cubicBezTo>
                  <a:cubicBezTo>
                    <a:pt x="24" y="45"/>
                    <a:pt x="11" y="51"/>
                    <a:pt x="11" y="51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0"/>
                    <a:pt x="59" y="102"/>
                    <a:pt x="67" y="107"/>
                  </a:cubicBezTo>
                  <a:cubicBezTo>
                    <a:pt x="75" y="112"/>
                    <a:pt x="86" y="102"/>
                    <a:pt x="86" y="102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101" y="141"/>
                    <a:pt x="115" y="134"/>
                  </a:cubicBezTo>
                  <a:cubicBezTo>
                    <a:pt x="129" y="127"/>
                    <a:pt x="143" y="118"/>
                    <a:pt x="143" y="118"/>
                  </a:cubicBezTo>
                  <a:cubicBezTo>
                    <a:pt x="143" y="118"/>
                    <a:pt x="105" y="91"/>
                    <a:pt x="116" y="81"/>
                  </a:cubicBezTo>
                  <a:cubicBezTo>
                    <a:pt x="127" y="71"/>
                    <a:pt x="138" y="70"/>
                    <a:pt x="147" y="62"/>
                  </a:cubicBezTo>
                  <a:cubicBezTo>
                    <a:pt x="156" y="54"/>
                    <a:pt x="167" y="34"/>
                    <a:pt x="177" y="36"/>
                  </a:cubicBezTo>
                  <a:cubicBezTo>
                    <a:pt x="187" y="38"/>
                    <a:pt x="203" y="43"/>
                    <a:pt x="209" y="47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03" name="Freeform 19"/>
            <p:cNvSpPr>
              <a:spLocks/>
            </p:cNvSpPr>
            <p:nvPr/>
          </p:nvSpPr>
          <p:spPr bwMode="auto">
            <a:xfrm>
              <a:off x="1249" y="2496"/>
              <a:ext cx="220" cy="342"/>
            </a:xfrm>
            <a:custGeom>
              <a:avLst/>
              <a:gdLst>
                <a:gd name="T0" fmla="*/ 0 w 581"/>
                <a:gd name="T1" fmla="*/ 0 h 902"/>
                <a:gd name="T2" fmla="*/ 0 w 581"/>
                <a:gd name="T3" fmla="*/ 0 h 902"/>
                <a:gd name="T4" fmla="*/ 0 w 581"/>
                <a:gd name="T5" fmla="*/ 0 h 902"/>
                <a:gd name="T6" fmla="*/ 0 w 581"/>
                <a:gd name="T7" fmla="*/ 0 h 902"/>
                <a:gd name="T8" fmla="*/ 0 w 581"/>
                <a:gd name="T9" fmla="*/ 0 h 902"/>
                <a:gd name="T10" fmla="*/ 0 w 581"/>
                <a:gd name="T11" fmla="*/ 0 h 902"/>
                <a:gd name="T12" fmla="*/ 0 w 581"/>
                <a:gd name="T13" fmla="*/ 0 h 902"/>
                <a:gd name="T14" fmla="*/ 0 w 581"/>
                <a:gd name="T15" fmla="*/ 0 h 902"/>
                <a:gd name="T16" fmla="*/ 0 w 581"/>
                <a:gd name="T17" fmla="*/ 0 h 902"/>
                <a:gd name="T18" fmla="*/ 0 w 581"/>
                <a:gd name="T19" fmla="*/ 0 h 902"/>
                <a:gd name="T20" fmla="*/ 0 w 581"/>
                <a:gd name="T21" fmla="*/ 0 h 902"/>
                <a:gd name="T22" fmla="*/ 0 w 581"/>
                <a:gd name="T23" fmla="*/ 0 h 902"/>
                <a:gd name="T24" fmla="*/ 0 w 581"/>
                <a:gd name="T25" fmla="*/ 0 h 902"/>
                <a:gd name="T26" fmla="*/ 0 w 581"/>
                <a:gd name="T27" fmla="*/ 0 h 902"/>
                <a:gd name="T28" fmla="*/ 0 w 581"/>
                <a:gd name="T29" fmla="*/ 0 h 902"/>
                <a:gd name="T30" fmla="*/ 0 w 581"/>
                <a:gd name="T31" fmla="*/ 0 h 902"/>
                <a:gd name="T32" fmla="*/ 0 w 581"/>
                <a:gd name="T33" fmla="*/ 0 h 902"/>
                <a:gd name="T34" fmla="*/ 0 w 581"/>
                <a:gd name="T35" fmla="*/ 0 h 902"/>
                <a:gd name="T36" fmla="*/ 0 w 581"/>
                <a:gd name="T37" fmla="*/ 0 h 902"/>
                <a:gd name="T38" fmla="*/ 0 w 581"/>
                <a:gd name="T39" fmla="*/ 0 h 902"/>
                <a:gd name="T40" fmla="*/ 0 w 581"/>
                <a:gd name="T41" fmla="*/ 0 h 902"/>
                <a:gd name="T42" fmla="*/ 0 w 581"/>
                <a:gd name="T43" fmla="*/ 0 h 902"/>
                <a:gd name="T44" fmla="*/ 0 w 581"/>
                <a:gd name="T45" fmla="*/ 0 h 902"/>
                <a:gd name="T46" fmla="*/ 0 w 581"/>
                <a:gd name="T47" fmla="*/ 0 h 902"/>
                <a:gd name="T48" fmla="*/ 0 w 581"/>
                <a:gd name="T49" fmla="*/ 0 h 902"/>
                <a:gd name="T50" fmla="*/ 0 w 581"/>
                <a:gd name="T51" fmla="*/ 0 h 902"/>
                <a:gd name="T52" fmla="*/ 0 w 581"/>
                <a:gd name="T53" fmla="*/ 0 h 902"/>
                <a:gd name="T54" fmla="*/ 0 w 581"/>
                <a:gd name="T55" fmla="*/ 0 h 902"/>
                <a:gd name="T56" fmla="*/ 0 w 581"/>
                <a:gd name="T57" fmla="*/ 0 h 902"/>
                <a:gd name="T58" fmla="*/ 0 w 581"/>
                <a:gd name="T59" fmla="*/ 0 h 902"/>
                <a:gd name="T60" fmla="*/ 0 w 581"/>
                <a:gd name="T61" fmla="*/ 0 h 902"/>
                <a:gd name="T62" fmla="*/ 0 w 581"/>
                <a:gd name="T63" fmla="*/ 0 h 902"/>
                <a:gd name="T64" fmla="*/ 0 w 581"/>
                <a:gd name="T65" fmla="*/ 0 h 902"/>
                <a:gd name="T66" fmla="*/ 0 w 581"/>
                <a:gd name="T67" fmla="*/ 0 h 902"/>
                <a:gd name="T68" fmla="*/ 0 w 581"/>
                <a:gd name="T69" fmla="*/ 0 h 902"/>
                <a:gd name="T70" fmla="*/ 0 w 581"/>
                <a:gd name="T71" fmla="*/ 0 h 902"/>
                <a:gd name="T72" fmla="*/ 0 w 581"/>
                <a:gd name="T73" fmla="*/ 0 h 902"/>
                <a:gd name="T74" fmla="*/ 0 w 581"/>
                <a:gd name="T75" fmla="*/ 0 h 902"/>
                <a:gd name="T76" fmla="*/ 0 w 581"/>
                <a:gd name="T77" fmla="*/ 0 h 902"/>
                <a:gd name="T78" fmla="*/ 0 w 581"/>
                <a:gd name="T79" fmla="*/ 0 h 902"/>
                <a:gd name="T80" fmla="*/ 0 w 581"/>
                <a:gd name="T81" fmla="*/ 0 h 902"/>
                <a:gd name="T82" fmla="*/ 0 w 581"/>
                <a:gd name="T83" fmla="*/ 0 h 902"/>
                <a:gd name="T84" fmla="*/ 0 w 581"/>
                <a:gd name="T85" fmla="*/ 0 h 902"/>
                <a:gd name="T86" fmla="*/ 0 w 581"/>
                <a:gd name="T87" fmla="*/ 0 h 902"/>
                <a:gd name="T88" fmla="*/ 0 w 581"/>
                <a:gd name="T89" fmla="*/ 0 h 902"/>
                <a:gd name="T90" fmla="*/ 0 w 581"/>
                <a:gd name="T91" fmla="*/ 0 h 902"/>
                <a:gd name="T92" fmla="*/ 0 w 581"/>
                <a:gd name="T93" fmla="*/ 0 h 90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81"/>
                <a:gd name="T142" fmla="*/ 0 h 902"/>
                <a:gd name="T143" fmla="*/ 581 w 581"/>
                <a:gd name="T144" fmla="*/ 902 h 90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81" h="902">
                  <a:moveTo>
                    <a:pt x="23" y="614"/>
                  </a:moveTo>
                  <a:cubicBezTo>
                    <a:pt x="34" y="620"/>
                    <a:pt x="42" y="632"/>
                    <a:pt x="42" y="632"/>
                  </a:cubicBezTo>
                  <a:cubicBezTo>
                    <a:pt x="42" y="632"/>
                    <a:pt x="55" y="627"/>
                    <a:pt x="65" y="635"/>
                  </a:cubicBezTo>
                  <a:cubicBezTo>
                    <a:pt x="75" y="643"/>
                    <a:pt x="68" y="650"/>
                    <a:pt x="77" y="656"/>
                  </a:cubicBezTo>
                  <a:cubicBezTo>
                    <a:pt x="86" y="662"/>
                    <a:pt x="97" y="657"/>
                    <a:pt x="97" y="657"/>
                  </a:cubicBezTo>
                  <a:cubicBezTo>
                    <a:pt x="97" y="657"/>
                    <a:pt x="113" y="667"/>
                    <a:pt x="120" y="665"/>
                  </a:cubicBezTo>
                  <a:cubicBezTo>
                    <a:pt x="127" y="663"/>
                    <a:pt x="115" y="650"/>
                    <a:pt x="132" y="653"/>
                  </a:cubicBezTo>
                  <a:cubicBezTo>
                    <a:pt x="149" y="656"/>
                    <a:pt x="141" y="674"/>
                    <a:pt x="154" y="675"/>
                  </a:cubicBezTo>
                  <a:cubicBezTo>
                    <a:pt x="166" y="676"/>
                    <a:pt x="178" y="676"/>
                    <a:pt x="185" y="680"/>
                  </a:cubicBezTo>
                  <a:cubicBezTo>
                    <a:pt x="192" y="684"/>
                    <a:pt x="222" y="708"/>
                    <a:pt x="222" y="708"/>
                  </a:cubicBezTo>
                  <a:cubicBezTo>
                    <a:pt x="230" y="732"/>
                    <a:pt x="230" y="732"/>
                    <a:pt x="230" y="732"/>
                  </a:cubicBezTo>
                  <a:cubicBezTo>
                    <a:pt x="238" y="732"/>
                    <a:pt x="238" y="732"/>
                    <a:pt x="238" y="732"/>
                  </a:cubicBezTo>
                  <a:cubicBezTo>
                    <a:pt x="249" y="745"/>
                    <a:pt x="249" y="745"/>
                    <a:pt x="249" y="745"/>
                  </a:cubicBezTo>
                  <a:cubicBezTo>
                    <a:pt x="249" y="745"/>
                    <a:pt x="257" y="742"/>
                    <a:pt x="259" y="748"/>
                  </a:cubicBezTo>
                  <a:cubicBezTo>
                    <a:pt x="262" y="754"/>
                    <a:pt x="264" y="772"/>
                    <a:pt x="264" y="772"/>
                  </a:cubicBezTo>
                  <a:cubicBezTo>
                    <a:pt x="264" y="772"/>
                    <a:pt x="282" y="773"/>
                    <a:pt x="283" y="781"/>
                  </a:cubicBezTo>
                  <a:cubicBezTo>
                    <a:pt x="284" y="788"/>
                    <a:pt x="269" y="803"/>
                    <a:pt x="288" y="808"/>
                  </a:cubicBezTo>
                  <a:cubicBezTo>
                    <a:pt x="307" y="813"/>
                    <a:pt x="329" y="813"/>
                    <a:pt x="329" y="813"/>
                  </a:cubicBezTo>
                  <a:cubicBezTo>
                    <a:pt x="329" y="813"/>
                    <a:pt x="330" y="792"/>
                    <a:pt x="344" y="795"/>
                  </a:cubicBezTo>
                  <a:cubicBezTo>
                    <a:pt x="358" y="798"/>
                    <a:pt x="359" y="805"/>
                    <a:pt x="367" y="805"/>
                  </a:cubicBezTo>
                  <a:cubicBezTo>
                    <a:pt x="376" y="805"/>
                    <a:pt x="384" y="796"/>
                    <a:pt x="388" y="797"/>
                  </a:cubicBezTo>
                  <a:cubicBezTo>
                    <a:pt x="392" y="798"/>
                    <a:pt x="400" y="810"/>
                    <a:pt x="400" y="810"/>
                  </a:cubicBezTo>
                  <a:cubicBezTo>
                    <a:pt x="400" y="810"/>
                    <a:pt x="428" y="809"/>
                    <a:pt x="428" y="823"/>
                  </a:cubicBezTo>
                  <a:cubicBezTo>
                    <a:pt x="428" y="838"/>
                    <a:pt x="420" y="846"/>
                    <a:pt x="415" y="846"/>
                  </a:cubicBezTo>
                  <a:cubicBezTo>
                    <a:pt x="410" y="846"/>
                    <a:pt x="401" y="876"/>
                    <a:pt x="404" y="881"/>
                  </a:cubicBezTo>
                  <a:cubicBezTo>
                    <a:pt x="407" y="887"/>
                    <a:pt x="421" y="882"/>
                    <a:pt x="421" y="882"/>
                  </a:cubicBezTo>
                  <a:cubicBezTo>
                    <a:pt x="427" y="898"/>
                    <a:pt x="427" y="898"/>
                    <a:pt x="427" y="898"/>
                  </a:cubicBezTo>
                  <a:cubicBezTo>
                    <a:pt x="438" y="902"/>
                    <a:pt x="438" y="902"/>
                    <a:pt x="438" y="902"/>
                  </a:cubicBezTo>
                  <a:cubicBezTo>
                    <a:pt x="441" y="893"/>
                    <a:pt x="442" y="881"/>
                    <a:pt x="442" y="881"/>
                  </a:cubicBezTo>
                  <a:cubicBezTo>
                    <a:pt x="444" y="831"/>
                    <a:pt x="444" y="831"/>
                    <a:pt x="444" y="831"/>
                  </a:cubicBezTo>
                  <a:cubicBezTo>
                    <a:pt x="455" y="801"/>
                    <a:pt x="455" y="801"/>
                    <a:pt x="455" y="801"/>
                  </a:cubicBezTo>
                  <a:cubicBezTo>
                    <a:pt x="453" y="767"/>
                    <a:pt x="453" y="767"/>
                    <a:pt x="453" y="767"/>
                  </a:cubicBezTo>
                  <a:cubicBezTo>
                    <a:pt x="453" y="767"/>
                    <a:pt x="463" y="756"/>
                    <a:pt x="464" y="749"/>
                  </a:cubicBezTo>
                  <a:cubicBezTo>
                    <a:pt x="465" y="742"/>
                    <a:pt x="451" y="727"/>
                    <a:pt x="451" y="727"/>
                  </a:cubicBezTo>
                  <a:cubicBezTo>
                    <a:pt x="451" y="727"/>
                    <a:pt x="450" y="715"/>
                    <a:pt x="448" y="706"/>
                  </a:cubicBezTo>
                  <a:cubicBezTo>
                    <a:pt x="446" y="697"/>
                    <a:pt x="425" y="688"/>
                    <a:pt x="425" y="688"/>
                  </a:cubicBezTo>
                  <a:cubicBezTo>
                    <a:pt x="427" y="646"/>
                    <a:pt x="427" y="646"/>
                    <a:pt x="427" y="646"/>
                  </a:cubicBezTo>
                  <a:cubicBezTo>
                    <a:pt x="449" y="641"/>
                    <a:pt x="449" y="641"/>
                    <a:pt x="449" y="641"/>
                  </a:cubicBezTo>
                  <a:cubicBezTo>
                    <a:pt x="449" y="641"/>
                    <a:pt x="458" y="645"/>
                    <a:pt x="471" y="643"/>
                  </a:cubicBezTo>
                  <a:cubicBezTo>
                    <a:pt x="484" y="641"/>
                    <a:pt x="465" y="621"/>
                    <a:pt x="465" y="621"/>
                  </a:cubicBezTo>
                  <a:cubicBezTo>
                    <a:pt x="458" y="623"/>
                    <a:pt x="458" y="623"/>
                    <a:pt x="458" y="623"/>
                  </a:cubicBezTo>
                  <a:cubicBezTo>
                    <a:pt x="442" y="616"/>
                    <a:pt x="442" y="616"/>
                    <a:pt x="442" y="616"/>
                  </a:cubicBezTo>
                  <a:cubicBezTo>
                    <a:pt x="442" y="616"/>
                    <a:pt x="434" y="587"/>
                    <a:pt x="443" y="582"/>
                  </a:cubicBezTo>
                  <a:cubicBezTo>
                    <a:pt x="452" y="577"/>
                    <a:pt x="466" y="590"/>
                    <a:pt x="466" y="590"/>
                  </a:cubicBezTo>
                  <a:cubicBezTo>
                    <a:pt x="510" y="586"/>
                    <a:pt x="510" y="586"/>
                    <a:pt x="510" y="586"/>
                  </a:cubicBezTo>
                  <a:cubicBezTo>
                    <a:pt x="510" y="586"/>
                    <a:pt x="510" y="569"/>
                    <a:pt x="516" y="569"/>
                  </a:cubicBezTo>
                  <a:cubicBezTo>
                    <a:pt x="522" y="569"/>
                    <a:pt x="527" y="585"/>
                    <a:pt x="533" y="584"/>
                  </a:cubicBezTo>
                  <a:cubicBezTo>
                    <a:pt x="539" y="583"/>
                    <a:pt x="548" y="560"/>
                    <a:pt x="555" y="563"/>
                  </a:cubicBezTo>
                  <a:cubicBezTo>
                    <a:pt x="562" y="566"/>
                    <a:pt x="557" y="573"/>
                    <a:pt x="557" y="573"/>
                  </a:cubicBezTo>
                  <a:cubicBezTo>
                    <a:pt x="557" y="573"/>
                    <a:pt x="560" y="574"/>
                    <a:pt x="562" y="580"/>
                  </a:cubicBezTo>
                  <a:cubicBezTo>
                    <a:pt x="564" y="586"/>
                    <a:pt x="564" y="614"/>
                    <a:pt x="564" y="614"/>
                  </a:cubicBezTo>
                  <a:cubicBezTo>
                    <a:pt x="581" y="614"/>
                    <a:pt x="581" y="614"/>
                    <a:pt x="581" y="614"/>
                  </a:cubicBezTo>
                  <a:cubicBezTo>
                    <a:pt x="581" y="614"/>
                    <a:pt x="575" y="605"/>
                    <a:pt x="576" y="600"/>
                  </a:cubicBezTo>
                  <a:cubicBezTo>
                    <a:pt x="577" y="595"/>
                    <a:pt x="566" y="569"/>
                    <a:pt x="566" y="569"/>
                  </a:cubicBezTo>
                  <a:cubicBezTo>
                    <a:pt x="566" y="569"/>
                    <a:pt x="563" y="549"/>
                    <a:pt x="563" y="545"/>
                  </a:cubicBezTo>
                  <a:cubicBezTo>
                    <a:pt x="563" y="541"/>
                    <a:pt x="541" y="527"/>
                    <a:pt x="541" y="527"/>
                  </a:cubicBezTo>
                  <a:cubicBezTo>
                    <a:pt x="531" y="524"/>
                    <a:pt x="531" y="524"/>
                    <a:pt x="531" y="524"/>
                  </a:cubicBezTo>
                  <a:cubicBezTo>
                    <a:pt x="531" y="524"/>
                    <a:pt x="560" y="506"/>
                    <a:pt x="560" y="496"/>
                  </a:cubicBezTo>
                  <a:cubicBezTo>
                    <a:pt x="560" y="486"/>
                    <a:pt x="544" y="472"/>
                    <a:pt x="544" y="472"/>
                  </a:cubicBezTo>
                  <a:cubicBezTo>
                    <a:pt x="544" y="472"/>
                    <a:pt x="543" y="463"/>
                    <a:pt x="543" y="460"/>
                  </a:cubicBezTo>
                  <a:cubicBezTo>
                    <a:pt x="543" y="457"/>
                    <a:pt x="534" y="453"/>
                    <a:pt x="534" y="453"/>
                  </a:cubicBezTo>
                  <a:cubicBezTo>
                    <a:pt x="534" y="453"/>
                    <a:pt x="536" y="430"/>
                    <a:pt x="536" y="424"/>
                  </a:cubicBezTo>
                  <a:cubicBezTo>
                    <a:pt x="536" y="418"/>
                    <a:pt x="534" y="400"/>
                    <a:pt x="533" y="395"/>
                  </a:cubicBezTo>
                  <a:cubicBezTo>
                    <a:pt x="532" y="390"/>
                    <a:pt x="542" y="385"/>
                    <a:pt x="545" y="382"/>
                  </a:cubicBezTo>
                  <a:cubicBezTo>
                    <a:pt x="548" y="379"/>
                    <a:pt x="547" y="364"/>
                    <a:pt x="547" y="364"/>
                  </a:cubicBezTo>
                  <a:cubicBezTo>
                    <a:pt x="547" y="364"/>
                    <a:pt x="564" y="356"/>
                    <a:pt x="558" y="343"/>
                  </a:cubicBezTo>
                  <a:cubicBezTo>
                    <a:pt x="552" y="331"/>
                    <a:pt x="533" y="346"/>
                    <a:pt x="533" y="346"/>
                  </a:cubicBezTo>
                  <a:cubicBezTo>
                    <a:pt x="514" y="344"/>
                    <a:pt x="514" y="344"/>
                    <a:pt x="514" y="344"/>
                  </a:cubicBezTo>
                  <a:cubicBezTo>
                    <a:pt x="514" y="344"/>
                    <a:pt x="511" y="351"/>
                    <a:pt x="503" y="350"/>
                  </a:cubicBezTo>
                  <a:cubicBezTo>
                    <a:pt x="495" y="349"/>
                    <a:pt x="493" y="342"/>
                    <a:pt x="485" y="342"/>
                  </a:cubicBezTo>
                  <a:cubicBezTo>
                    <a:pt x="477" y="342"/>
                    <a:pt x="479" y="349"/>
                    <a:pt x="479" y="349"/>
                  </a:cubicBezTo>
                  <a:cubicBezTo>
                    <a:pt x="479" y="349"/>
                    <a:pt x="471" y="352"/>
                    <a:pt x="463" y="350"/>
                  </a:cubicBezTo>
                  <a:cubicBezTo>
                    <a:pt x="455" y="347"/>
                    <a:pt x="436" y="305"/>
                    <a:pt x="436" y="305"/>
                  </a:cubicBezTo>
                  <a:cubicBezTo>
                    <a:pt x="418" y="304"/>
                    <a:pt x="418" y="304"/>
                    <a:pt x="418" y="304"/>
                  </a:cubicBezTo>
                  <a:cubicBezTo>
                    <a:pt x="418" y="304"/>
                    <a:pt x="409" y="297"/>
                    <a:pt x="404" y="297"/>
                  </a:cubicBezTo>
                  <a:cubicBezTo>
                    <a:pt x="399" y="297"/>
                    <a:pt x="398" y="303"/>
                    <a:pt x="393" y="304"/>
                  </a:cubicBezTo>
                  <a:cubicBezTo>
                    <a:pt x="388" y="305"/>
                    <a:pt x="370" y="298"/>
                    <a:pt x="365" y="298"/>
                  </a:cubicBezTo>
                  <a:cubicBezTo>
                    <a:pt x="361" y="298"/>
                    <a:pt x="350" y="303"/>
                    <a:pt x="341" y="300"/>
                  </a:cubicBezTo>
                  <a:cubicBezTo>
                    <a:pt x="332" y="297"/>
                    <a:pt x="333" y="279"/>
                    <a:pt x="333" y="279"/>
                  </a:cubicBezTo>
                  <a:cubicBezTo>
                    <a:pt x="323" y="279"/>
                    <a:pt x="323" y="279"/>
                    <a:pt x="323" y="279"/>
                  </a:cubicBezTo>
                  <a:cubicBezTo>
                    <a:pt x="324" y="252"/>
                    <a:pt x="324" y="252"/>
                    <a:pt x="324" y="252"/>
                  </a:cubicBezTo>
                  <a:cubicBezTo>
                    <a:pt x="324" y="252"/>
                    <a:pt x="330" y="249"/>
                    <a:pt x="332" y="236"/>
                  </a:cubicBezTo>
                  <a:cubicBezTo>
                    <a:pt x="334" y="224"/>
                    <a:pt x="318" y="215"/>
                    <a:pt x="318" y="215"/>
                  </a:cubicBezTo>
                  <a:cubicBezTo>
                    <a:pt x="318" y="215"/>
                    <a:pt x="317" y="209"/>
                    <a:pt x="317" y="200"/>
                  </a:cubicBezTo>
                  <a:cubicBezTo>
                    <a:pt x="317" y="191"/>
                    <a:pt x="310" y="177"/>
                    <a:pt x="303" y="177"/>
                  </a:cubicBezTo>
                  <a:cubicBezTo>
                    <a:pt x="296" y="177"/>
                    <a:pt x="292" y="191"/>
                    <a:pt x="287" y="182"/>
                  </a:cubicBezTo>
                  <a:cubicBezTo>
                    <a:pt x="282" y="174"/>
                    <a:pt x="306" y="153"/>
                    <a:pt x="306" y="153"/>
                  </a:cubicBezTo>
                  <a:cubicBezTo>
                    <a:pt x="306" y="135"/>
                    <a:pt x="306" y="135"/>
                    <a:pt x="306" y="135"/>
                  </a:cubicBezTo>
                  <a:cubicBezTo>
                    <a:pt x="312" y="130"/>
                    <a:pt x="312" y="130"/>
                    <a:pt x="312" y="130"/>
                  </a:cubicBezTo>
                  <a:cubicBezTo>
                    <a:pt x="312" y="130"/>
                    <a:pt x="312" y="110"/>
                    <a:pt x="320" y="97"/>
                  </a:cubicBezTo>
                  <a:cubicBezTo>
                    <a:pt x="327" y="84"/>
                    <a:pt x="336" y="80"/>
                    <a:pt x="347" y="76"/>
                  </a:cubicBezTo>
                  <a:cubicBezTo>
                    <a:pt x="358" y="73"/>
                    <a:pt x="359" y="58"/>
                    <a:pt x="359" y="58"/>
                  </a:cubicBezTo>
                  <a:cubicBezTo>
                    <a:pt x="359" y="58"/>
                    <a:pt x="376" y="48"/>
                    <a:pt x="381" y="47"/>
                  </a:cubicBezTo>
                  <a:cubicBezTo>
                    <a:pt x="386" y="46"/>
                    <a:pt x="401" y="42"/>
                    <a:pt x="402" y="21"/>
                  </a:cubicBezTo>
                  <a:cubicBezTo>
                    <a:pt x="403" y="0"/>
                    <a:pt x="361" y="16"/>
                    <a:pt x="355" y="17"/>
                  </a:cubicBezTo>
                  <a:cubicBezTo>
                    <a:pt x="349" y="18"/>
                    <a:pt x="349" y="38"/>
                    <a:pt x="342" y="45"/>
                  </a:cubicBezTo>
                  <a:cubicBezTo>
                    <a:pt x="335" y="52"/>
                    <a:pt x="324" y="45"/>
                    <a:pt x="317" y="46"/>
                  </a:cubicBezTo>
                  <a:cubicBezTo>
                    <a:pt x="310" y="47"/>
                    <a:pt x="296" y="70"/>
                    <a:pt x="296" y="70"/>
                  </a:cubicBezTo>
                  <a:cubicBezTo>
                    <a:pt x="271" y="74"/>
                    <a:pt x="271" y="74"/>
                    <a:pt x="271" y="74"/>
                  </a:cubicBezTo>
                  <a:cubicBezTo>
                    <a:pt x="271" y="74"/>
                    <a:pt x="265" y="65"/>
                    <a:pt x="258" y="69"/>
                  </a:cubicBezTo>
                  <a:cubicBezTo>
                    <a:pt x="251" y="74"/>
                    <a:pt x="251" y="86"/>
                    <a:pt x="251" y="86"/>
                  </a:cubicBezTo>
                  <a:cubicBezTo>
                    <a:pt x="251" y="86"/>
                    <a:pt x="246" y="100"/>
                    <a:pt x="239" y="101"/>
                  </a:cubicBezTo>
                  <a:cubicBezTo>
                    <a:pt x="232" y="103"/>
                    <a:pt x="240" y="92"/>
                    <a:pt x="240" y="92"/>
                  </a:cubicBezTo>
                  <a:cubicBezTo>
                    <a:pt x="240" y="92"/>
                    <a:pt x="234" y="87"/>
                    <a:pt x="230" y="87"/>
                  </a:cubicBezTo>
                  <a:cubicBezTo>
                    <a:pt x="227" y="87"/>
                    <a:pt x="212" y="91"/>
                    <a:pt x="207" y="94"/>
                  </a:cubicBezTo>
                  <a:cubicBezTo>
                    <a:pt x="202" y="98"/>
                    <a:pt x="187" y="112"/>
                    <a:pt x="183" y="119"/>
                  </a:cubicBezTo>
                  <a:cubicBezTo>
                    <a:pt x="180" y="126"/>
                    <a:pt x="188" y="135"/>
                    <a:pt x="188" y="135"/>
                  </a:cubicBezTo>
                  <a:cubicBezTo>
                    <a:pt x="177" y="155"/>
                    <a:pt x="177" y="155"/>
                    <a:pt x="177" y="155"/>
                  </a:cubicBezTo>
                  <a:cubicBezTo>
                    <a:pt x="184" y="171"/>
                    <a:pt x="184" y="171"/>
                    <a:pt x="184" y="171"/>
                  </a:cubicBezTo>
                  <a:cubicBezTo>
                    <a:pt x="184" y="171"/>
                    <a:pt x="168" y="172"/>
                    <a:pt x="162" y="175"/>
                  </a:cubicBezTo>
                  <a:cubicBezTo>
                    <a:pt x="156" y="177"/>
                    <a:pt x="150" y="191"/>
                    <a:pt x="147" y="198"/>
                  </a:cubicBezTo>
                  <a:cubicBezTo>
                    <a:pt x="143" y="205"/>
                    <a:pt x="129" y="207"/>
                    <a:pt x="129" y="207"/>
                  </a:cubicBezTo>
                  <a:cubicBezTo>
                    <a:pt x="115" y="213"/>
                    <a:pt x="115" y="213"/>
                    <a:pt x="115" y="213"/>
                  </a:cubicBezTo>
                  <a:cubicBezTo>
                    <a:pt x="123" y="229"/>
                    <a:pt x="123" y="229"/>
                    <a:pt x="123" y="229"/>
                  </a:cubicBezTo>
                  <a:cubicBezTo>
                    <a:pt x="123" y="229"/>
                    <a:pt x="126" y="252"/>
                    <a:pt x="118" y="254"/>
                  </a:cubicBezTo>
                  <a:cubicBezTo>
                    <a:pt x="110" y="256"/>
                    <a:pt x="116" y="246"/>
                    <a:pt x="115" y="236"/>
                  </a:cubicBezTo>
                  <a:cubicBezTo>
                    <a:pt x="113" y="227"/>
                    <a:pt x="93" y="215"/>
                    <a:pt x="93" y="215"/>
                  </a:cubicBezTo>
                  <a:cubicBezTo>
                    <a:pt x="93" y="215"/>
                    <a:pt x="89" y="221"/>
                    <a:pt x="89" y="228"/>
                  </a:cubicBezTo>
                  <a:cubicBezTo>
                    <a:pt x="89" y="235"/>
                    <a:pt x="102" y="242"/>
                    <a:pt x="102" y="242"/>
                  </a:cubicBezTo>
                  <a:cubicBezTo>
                    <a:pt x="102" y="242"/>
                    <a:pt x="102" y="259"/>
                    <a:pt x="92" y="267"/>
                  </a:cubicBezTo>
                  <a:cubicBezTo>
                    <a:pt x="83" y="275"/>
                    <a:pt x="76" y="265"/>
                    <a:pt x="76" y="265"/>
                  </a:cubicBezTo>
                  <a:cubicBezTo>
                    <a:pt x="66" y="286"/>
                    <a:pt x="66" y="286"/>
                    <a:pt x="66" y="286"/>
                  </a:cubicBezTo>
                  <a:cubicBezTo>
                    <a:pt x="74" y="301"/>
                    <a:pt x="74" y="301"/>
                    <a:pt x="74" y="301"/>
                  </a:cubicBezTo>
                  <a:cubicBezTo>
                    <a:pt x="74" y="308"/>
                    <a:pt x="74" y="308"/>
                    <a:pt x="74" y="308"/>
                  </a:cubicBezTo>
                  <a:cubicBezTo>
                    <a:pt x="74" y="308"/>
                    <a:pt x="81" y="313"/>
                    <a:pt x="87" y="325"/>
                  </a:cubicBezTo>
                  <a:cubicBezTo>
                    <a:pt x="93" y="337"/>
                    <a:pt x="77" y="338"/>
                    <a:pt x="77" y="338"/>
                  </a:cubicBezTo>
                  <a:cubicBezTo>
                    <a:pt x="87" y="353"/>
                    <a:pt x="87" y="353"/>
                    <a:pt x="87" y="353"/>
                  </a:cubicBezTo>
                  <a:cubicBezTo>
                    <a:pt x="92" y="375"/>
                    <a:pt x="92" y="375"/>
                    <a:pt x="92" y="375"/>
                  </a:cubicBezTo>
                  <a:cubicBezTo>
                    <a:pt x="77" y="378"/>
                    <a:pt x="77" y="378"/>
                    <a:pt x="77" y="378"/>
                  </a:cubicBezTo>
                  <a:cubicBezTo>
                    <a:pt x="87" y="391"/>
                    <a:pt x="87" y="391"/>
                    <a:pt x="87" y="391"/>
                  </a:cubicBezTo>
                  <a:cubicBezTo>
                    <a:pt x="87" y="431"/>
                    <a:pt x="87" y="431"/>
                    <a:pt x="87" y="431"/>
                  </a:cubicBezTo>
                  <a:cubicBezTo>
                    <a:pt x="87" y="431"/>
                    <a:pt x="74" y="441"/>
                    <a:pt x="74" y="454"/>
                  </a:cubicBezTo>
                  <a:cubicBezTo>
                    <a:pt x="74" y="467"/>
                    <a:pt x="91" y="467"/>
                    <a:pt x="92" y="482"/>
                  </a:cubicBezTo>
                  <a:cubicBezTo>
                    <a:pt x="93" y="497"/>
                    <a:pt x="65" y="514"/>
                    <a:pt x="65" y="514"/>
                  </a:cubicBezTo>
                  <a:cubicBezTo>
                    <a:pt x="74" y="522"/>
                    <a:pt x="74" y="522"/>
                    <a:pt x="74" y="522"/>
                  </a:cubicBezTo>
                  <a:cubicBezTo>
                    <a:pt x="55" y="539"/>
                    <a:pt x="55" y="539"/>
                    <a:pt x="55" y="539"/>
                  </a:cubicBezTo>
                  <a:cubicBezTo>
                    <a:pt x="55" y="539"/>
                    <a:pt x="34" y="539"/>
                    <a:pt x="26" y="548"/>
                  </a:cubicBezTo>
                  <a:cubicBezTo>
                    <a:pt x="18" y="558"/>
                    <a:pt x="26" y="580"/>
                    <a:pt x="26" y="580"/>
                  </a:cubicBezTo>
                  <a:cubicBezTo>
                    <a:pt x="26" y="580"/>
                    <a:pt x="1" y="572"/>
                    <a:pt x="0" y="586"/>
                  </a:cubicBezTo>
                  <a:cubicBezTo>
                    <a:pt x="0" y="588"/>
                    <a:pt x="0" y="590"/>
                    <a:pt x="0" y="592"/>
                  </a:cubicBezTo>
                  <a:cubicBezTo>
                    <a:pt x="5" y="598"/>
                    <a:pt x="15" y="611"/>
                    <a:pt x="23" y="614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04" name="Freeform 20"/>
            <p:cNvSpPr>
              <a:spLocks/>
            </p:cNvSpPr>
            <p:nvPr/>
          </p:nvSpPr>
          <p:spPr bwMode="auto">
            <a:xfrm>
              <a:off x="1571" y="3146"/>
              <a:ext cx="154" cy="172"/>
            </a:xfrm>
            <a:custGeom>
              <a:avLst/>
              <a:gdLst>
                <a:gd name="T0" fmla="*/ 0 w 407"/>
                <a:gd name="T1" fmla="*/ 0 h 452"/>
                <a:gd name="T2" fmla="*/ 0 w 407"/>
                <a:gd name="T3" fmla="*/ 0 h 452"/>
                <a:gd name="T4" fmla="*/ 0 w 407"/>
                <a:gd name="T5" fmla="*/ 0 h 452"/>
                <a:gd name="T6" fmla="*/ 0 w 407"/>
                <a:gd name="T7" fmla="*/ 0 h 452"/>
                <a:gd name="T8" fmla="*/ 0 w 407"/>
                <a:gd name="T9" fmla="*/ 0 h 452"/>
                <a:gd name="T10" fmla="*/ 0 w 407"/>
                <a:gd name="T11" fmla="*/ 0 h 452"/>
                <a:gd name="T12" fmla="*/ 0 w 407"/>
                <a:gd name="T13" fmla="*/ 0 h 452"/>
                <a:gd name="T14" fmla="*/ 0 w 407"/>
                <a:gd name="T15" fmla="*/ 0 h 452"/>
                <a:gd name="T16" fmla="*/ 0 w 407"/>
                <a:gd name="T17" fmla="*/ 0 h 452"/>
                <a:gd name="T18" fmla="*/ 0 w 407"/>
                <a:gd name="T19" fmla="*/ 0 h 452"/>
                <a:gd name="T20" fmla="*/ 0 w 407"/>
                <a:gd name="T21" fmla="*/ 0 h 452"/>
                <a:gd name="T22" fmla="*/ 0 w 407"/>
                <a:gd name="T23" fmla="*/ 0 h 452"/>
                <a:gd name="T24" fmla="*/ 0 w 407"/>
                <a:gd name="T25" fmla="*/ 0 h 452"/>
                <a:gd name="T26" fmla="*/ 0 w 407"/>
                <a:gd name="T27" fmla="*/ 0 h 452"/>
                <a:gd name="T28" fmla="*/ 0 w 407"/>
                <a:gd name="T29" fmla="*/ 0 h 452"/>
                <a:gd name="T30" fmla="*/ 0 w 407"/>
                <a:gd name="T31" fmla="*/ 0 h 452"/>
                <a:gd name="T32" fmla="*/ 0 w 407"/>
                <a:gd name="T33" fmla="*/ 0 h 452"/>
                <a:gd name="T34" fmla="*/ 0 w 407"/>
                <a:gd name="T35" fmla="*/ 0 h 452"/>
                <a:gd name="T36" fmla="*/ 0 w 407"/>
                <a:gd name="T37" fmla="*/ 0 h 452"/>
                <a:gd name="T38" fmla="*/ 0 w 407"/>
                <a:gd name="T39" fmla="*/ 0 h 452"/>
                <a:gd name="T40" fmla="*/ 0 w 407"/>
                <a:gd name="T41" fmla="*/ 0 h 452"/>
                <a:gd name="T42" fmla="*/ 0 w 407"/>
                <a:gd name="T43" fmla="*/ 0 h 452"/>
                <a:gd name="T44" fmla="*/ 0 w 407"/>
                <a:gd name="T45" fmla="*/ 0 h 452"/>
                <a:gd name="T46" fmla="*/ 0 w 407"/>
                <a:gd name="T47" fmla="*/ 0 h 452"/>
                <a:gd name="T48" fmla="*/ 0 w 407"/>
                <a:gd name="T49" fmla="*/ 0 h 452"/>
                <a:gd name="T50" fmla="*/ 0 w 407"/>
                <a:gd name="T51" fmla="*/ 0 h 452"/>
                <a:gd name="T52" fmla="*/ 0 w 407"/>
                <a:gd name="T53" fmla="*/ 0 h 452"/>
                <a:gd name="T54" fmla="*/ 0 w 407"/>
                <a:gd name="T55" fmla="*/ 0 h 452"/>
                <a:gd name="T56" fmla="*/ 0 w 407"/>
                <a:gd name="T57" fmla="*/ 0 h 452"/>
                <a:gd name="T58" fmla="*/ 0 w 407"/>
                <a:gd name="T59" fmla="*/ 0 h 452"/>
                <a:gd name="T60" fmla="*/ 0 w 407"/>
                <a:gd name="T61" fmla="*/ 0 h 452"/>
                <a:gd name="T62" fmla="*/ 0 w 407"/>
                <a:gd name="T63" fmla="*/ 0 h 452"/>
                <a:gd name="T64" fmla="*/ 0 w 407"/>
                <a:gd name="T65" fmla="*/ 0 h 452"/>
                <a:gd name="T66" fmla="*/ 0 w 407"/>
                <a:gd name="T67" fmla="*/ 0 h 452"/>
                <a:gd name="T68" fmla="*/ 0 w 407"/>
                <a:gd name="T69" fmla="*/ 0 h 452"/>
                <a:gd name="T70" fmla="*/ 0 w 407"/>
                <a:gd name="T71" fmla="*/ 0 h 452"/>
                <a:gd name="T72" fmla="*/ 0 w 407"/>
                <a:gd name="T73" fmla="*/ 0 h 452"/>
                <a:gd name="T74" fmla="*/ 0 w 407"/>
                <a:gd name="T75" fmla="*/ 0 h 452"/>
                <a:gd name="T76" fmla="*/ 0 w 407"/>
                <a:gd name="T77" fmla="*/ 0 h 452"/>
                <a:gd name="T78" fmla="*/ 0 w 407"/>
                <a:gd name="T79" fmla="*/ 0 h 452"/>
                <a:gd name="T80" fmla="*/ 0 w 407"/>
                <a:gd name="T81" fmla="*/ 0 h 452"/>
                <a:gd name="T82" fmla="*/ 0 w 407"/>
                <a:gd name="T83" fmla="*/ 0 h 452"/>
                <a:gd name="T84" fmla="*/ 0 w 407"/>
                <a:gd name="T85" fmla="*/ 0 h 452"/>
                <a:gd name="T86" fmla="*/ 0 w 407"/>
                <a:gd name="T87" fmla="*/ 0 h 4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07"/>
                <a:gd name="T133" fmla="*/ 0 h 452"/>
                <a:gd name="T134" fmla="*/ 407 w 407"/>
                <a:gd name="T135" fmla="*/ 452 h 4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07" h="452">
                  <a:moveTo>
                    <a:pt x="326" y="441"/>
                  </a:moveTo>
                  <a:cubicBezTo>
                    <a:pt x="333" y="452"/>
                    <a:pt x="333" y="452"/>
                    <a:pt x="333" y="452"/>
                  </a:cubicBezTo>
                  <a:cubicBezTo>
                    <a:pt x="333" y="452"/>
                    <a:pt x="333" y="433"/>
                    <a:pt x="342" y="435"/>
                  </a:cubicBezTo>
                  <a:cubicBezTo>
                    <a:pt x="351" y="437"/>
                    <a:pt x="352" y="446"/>
                    <a:pt x="356" y="439"/>
                  </a:cubicBezTo>
                  <a:cubicBezTo>
                    <a:pt x="360" y="432"/>
                    <a:pt x="362" y="415"/>
                    <a:pt x="369" y="415"/>
                  </a:cubicBezTo>
                  <a:cubicBezTo>
                    <a:pt x="376" y="415"/>
                    <a:pt x="397" y="401"/>
                    <a:pt x="399" y="390"/>
                  </a:cubicBezTo>
                  <a:cubicBezTo>
                    <a:pt x="401" y="379"/>
                    <a:pt x="399" y="344"/>
                    <a:pt x="399" y="344"/>
                  </a:cubicBezTo>
                  <a:cubicBezTo>
                    <a:pt x="396" y="331"/>
                    <a:pt x="396" y="331"/>
                    <a:pt x="396" y="331"/>
                  </a:cubicBezTo>
                  <a:cubicBezTo>
                    <a:pt x="396" y="331"/>
                    <a:pt x="397" y="316"/>
                    <a:pt x="399" y="311"/>
                  </a:cubicBezTo>
                  <a:cubicBezTo>
                    <a:pt x="401" y="306"/>
                    <a:pt x="403" y="296"/>
                    <a:pt x="405" y="276"/>
                  </a:cubicBezTo>
                  <a:cubicBezTo>
                    <a:pt x="407" y="256"/>
                    <a:pt x="403" y="248"/>
                    <a:pt x="388" y="244"/>
                  </a:cubicBezTo>
                  <a:cubicBezTo>
                    <a:pt x="373" y="240"/>
                    <a:pt x="369" y="256"/>
                    <a:pt x="358" y="254"/>
                  </a:cubicBezTo>
                  <a:cubicBezTo>
                    <a:pt x="347" y="252"/>
                    <a:pt x="343" y="231"/>
                    <a:pt x="338" y="211"/>
                  </a:cubicBezTo>
                  <a:cubicBezTo>
                    <a:pt x="333" y="191"/>
                    <a:pt x="337" y="174"/>
                    <a:pt x="333" y="166"/>
                  </a:cubicBezTo>
                  <a:cubicBezTo>
                    <a:pt x="329" y="158"/>
                    <a:pt x="311" y="158"/>
                    <a:pt x="296" y="161"/>
                  </a:cubicBezTo>
                  <a:cubicBezTo>
                    <a:pt x="281" y="164"/>
                    <a:pt x="237" y="157"/>
                    <a:pt x="221" y="148"/>
                  </a:cubicBezTo>
                  <a:cubicBezTo>
                    <a:pt x="205" y="139"/>
                    <a:pt x="220" y="103"/>
                    <a:pt x="220" y="94"/>
                  </a:cubicBezTo>
                  <a:cubicBezTo>
                    <a:pt x="220" y="85"/>
                    <a:pt x="215" y="90"/>
                    <a:pt x="211" y="86"/>
                  </a:cubicBezTo>
                  <a:cubicBezTo>
                    <a:pt x="207" y="82"/>
                    <a:pt x="213" y="73"/>
                    <a:pt x="211" y="66"/>
                  </a:cubicBezTo>
                  <a:cubicBezTo>
                    <a:pt x="209" y="59"/>
                    <a:pt x="200" y="57"/>
                    <a:pt x="200" y="51"/>
                  </a:cubicBezTo>
                  <a:cubicBezTo>
                    <a:pt x="187" y="28"/>
                    <a:pt x="187" y="28"/>
                    <a:pt x="187" y="28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14" y="52"/>
                    <a:pt x="7" y="56"/>
                  </a:cubicBezTo>
                  <a:cubicBezTo>
                    <a:pt x="0" y="60"/>
                    <a:pt x="15" y="82"/>
                    <a:pt x="16" y="89"/>
                  </a:cubicBezTo>
                  <a:cubicBezTo>
                    <a:pt x="18" y="95"/>
                    <a:pt x="10" y="163"/>
                    <a:pt x="10" y="163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23" y="175"/>
                    <a:pt x="39" y="204"/>
                    <a:pt x="48" y="209"/>
                  </a:cubicBezTo>
                  <a:cubicBezTo>
                    <a:pt x="57" y="214"/>
                    <a:pt x="84" y="231"/>
                    <a:pt x="84" y="231"/>
                  </a:cubicBezTo>
                  <a:cubicBezTo>
                    <a:pt x="88" y="245"/>
                    <a:pt x="88" y="245"/>
                    <a:pt x="88" y="245"/>
                  </a:cubicBezTo>
                  <a:cubicBezTo>
                    <a:pt x="88" y="245"/>
                    <a:pt x="123" y="265"/>
                    <a:pt x="133" y="261"/>
                  </a:cubicBezTo>
                  <a:cubicBezTo>
                    <a:pt x="143" y="257"/>
                    <a:pt x="164" y="277"/>
                    <a:pt x="164" y="277"/>
                  </a:cubicBezTo>
                  <a:cubicBezTo>
                    <a:pt x="164" y="277"/>
                    <a:pt x="214" y="305"/>
                    <a:pt x="220" y="306"/>
                  </a:cubicBezTo>
                  <a:cubicBezTo>
                    <a:pt x="226" y="307"/>
                    <a:pt x="260" y="314"/>
                    <a:pt x="258" y="322"/>
                  </a:cubicBezTo>
                  <a:cubicBezTo>
                    <a:pt x="256" y="330"/>
                    <a:pt x="246" y="347"/>
                    <a:pt x="246" y="347"/>
                  </a:cubicBezTo>
                  <a:cubicBezTo>
                    <a:pt x="246" y="347"/>
                    <a:pt x="259" y="355"/>
                    <a:pt x="255" y="362"/>
                  </a:cubicBezTo>
                  <a:cubicBezTo>
                    <a:pt x="251" y="369"/>
                    <a:pt x="239" y="369"/>
                    <a:pt x="239" y="369"/>
                  </a:cubicBezTo>
                  <a:cubicBezTo>
                    <a:pt x="239" y="391"/>
                    <a:pt x="239" y="391"/>
                    <a:pt x="239" y="391"/>
                  </a:cubicBezTo>
                  <a:cubicBezTo>
                    <a:pt x="239" y="391"/>
                    <a:pt x="219" y="418"/>
                    <a:pt x="224" y="425"/>
                  </a:cubicBezTo>
                  <a:cubicBezTo>
                    <a:pt x="229" y="432"/>
                    <a:pt x="245" y="422"/>
                    <a:pt x="254" y="425"/>
                  </a:cubicBezTo>
                  <a:cubicBezTo>
                    <a:pt x="263" y="428"/>
                    <a:pt x="270" y="435"/>
                    <a:pt x="287" y="439"/>
                  </a:cubicBezTo>
                  <a:cubicBezTo>
                    <a:pt x="304" y="443"/>
                    <a:pt x="326" y="441"/>
                    <a:pt x="326" y="44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05" name="Freeform 21"/>
            <p:cNvSpPr>
              <a:spLocks/>
            </p:cNvSpPr>
            <p:nvPr/>
          </p:nvSpPr>
          <p:spPr bwMode="auto">
            <a:xfrm>
              <a:off x="1679" y="3367"/>
              <a:ext cx="94" cy="98"/>
            </a:xfrm>
            <a:custGeom>
              <a:avLst/>
              <a:gdLst>
                <a:gd name="T0" fmla="*/ 0 w 246"/>
                <a:gd name="T1" fmla="*/ 0 h 258"/>
                <a:gd name="T2" fmla="*/ 0 w 246"/>
                <a:gd name="T3" fmla="*/ 0 h 258"/>
                <a:gd name="T4" fmla="*/ 0 w 246"/>
                <a:gd name="T5" fmla="*/ 0 h 258"/>
                <a:gd name="T6" fmla="*/ 0 w 246"/>
                <a:gd name="T7" fmla="*/ 0 h 258"/>
                <a:gd name="T8" fmla="*/ 0 w 246"/>
                <a:gd name="T9" fmla="*/ 0 h 258"/>
                <a:gd name="T10" fmla="*/ 0 w 246"/>
                <a:gd name="T11" fmla="*/ 0 h 258"/>
                <a:gd name="T12" fmla="*/ 0 w 246"/>
                <a:gd name="T13" fmla="*/ 0 h 258"/>
                <a:gd name="T14" fmla="*/ 0 w 246"/>
                <a:gd name="T15" fmla="*/ 0 h 258"/>
                <a:gd name="T16" fmla="*/ 0 w 246"/>
                <a:gd name="T17" fmla="*/ 0 h 258"/>
                <a:gd name="T18" fmla="*/ 0 w 246"/>
                <a:gd name="T19" fmla="*/ 0 h 258"/>
                <a:gd name="T20" fmla="*/ 0 w 246"/>
                <a:gd name="T21" fmla="*/ 0 h 258"/>
                <a:gd name="T22" fmla="*/ 0 w 246"/>
                <a:gd name="T23" fmla="*/ 0 h 258"/>
                <a:gd name="T24" fmla="*/ 0 w 246"/>
                <a:gd name="T25" fmla="*/ 0 h 258"/>
                <a:gd name="T26" fmla="*/ 0 w 246"/>
                <a:gd name="T27" fmla="*/ 0 h 258"/>
                <a:gd name="T28" fmla="*/ 0 w 246"/>
                <a:gd name="T29" fmla="*/ 0 h 258"/>
                <a:gd name="T30" fmla="*/ 0 w 246"/>
                <a:gd name="T31" fmla="*/ 0 h 258"/>
                <a:gd name="T32" fmla="*/ 0 w 246"/>
                <a:gd name="T33" fmla="*/ 0 h 258"/>
                <a:gd name="T34" fmla="*/ 0 w 246"/>
                <a:gd name="T35" fmla="*/ 0 h 258"/>
                <a:gd name="T36" fmla="*/ 0 w 246"/>
                <a:gd name="T37" fmla="*/ 0 h 258"/>
                <a:gd name="T38" fmla="*/ 0 w 246"/>
                <a:gd name="T39" fmla="*/ 0 h 258"/>
                <a:gd name="T40" fmla="*/ 0 w 246"/>
                <a:gd name="T41" fmla="*/ 0 h 258"/>
                <a:gd name="T42" fmla="*/ 0 w 246"/>
                <a:gd name="T43" fmla="*/ 0 h 258"/>
                <a:gd name="T44" fmla="*/ 0 w 246"/>
                <a:gd name="T45" fmla="*/ 0 h 258"/>
                <a:gd name="T46" fmla="*/ 0 w 246"/>
                <a:gd name="T47" fmla="*/ 0 h 258"/>
                <a:gd name="T48" fmla="*/ 0 w 246"/>
                <a:gd name="T49" fmla="*/ 0 h 258"/>
                <a:gd name="T50" fmla="*/ 0 w 246"/>
                <a:gd name="T51" fmla="*/ 0 h 258"/>
                <a:gd name="T52" fmla="*/ 0 w 246"/>
                <a:gd name="T53" fmla="*/ 0 h 258"/>
                <a:gd name="T54" fmla="*/ 0 w 246"/>
                <a:gd name="T55" fmla="*/ 0 h 258"/>
                <a:gd name="T56" fmla="*/ 0 w 246"/>
                <a:gd name="T57" fmla="*/ 0 h 258"/>
                <a:gd name="T58" fmla="*/ 0 w 246"/>
                <a:gd name="T59" fmla="*/ 0 h 258"/>
                <a:gd name="T60" fmla="*/ 0 w 246"/>
                <a:gd name="T61" fmla="*/ 0 h 258"/>
                <a:gd name="T62" fmla="*/ 0 w 246"/>
                <a:gd name="T63" fmla="*/ 0 h 258"/>
                <a:gd name="T64" fmla="*/ 0 w 246"/>
                <a:gd name="T65" fmla="*/ 0 h 258"/>
                <a:gd name="T66" fmla="*/ 0 w 246"/>
                <a:gd name="T67" fmla="*/ 0 h 258"/>
                <a:gd name="T68" fmla="*/ 0 w 246"/>
                <a:gd name="T69" fmla="*/ 0 h 258"/>
                <a:gd name="T70" fmla="*/ 0 w 246"/>
                <a:gd name="T71" fmla="*/ 0 h 25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46"/>
                <a:gd name="T109" fmla="*/ 0 h 258"/>
                <a:gd name="T110" fmla="*/ 246 w 246"/>
                <a:gd name="T111" fmla="*/ 258 h 25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46" h="258">
                  <a:moveTo>
                    <a:pt x="92" y="249"/>
                  </a:moveTo>
                  <a:cubicBezTo>
                    <a:pt x="92" y="249"/>
                    <a:pt x="119" y="248"/>
                    <a:pt x="152" y="253"/>
                  </a:cubicBezTo>
                  <a:cubicBezTo>
                    <a:pt x="185" y="258"/>
                    <a:pt x="204" y="257"/>
                    <a:pt x="220" y="244"/>
                  </a:cubicBezTo>
                  <a:cubicBezTo>
                    <a:pt x="234" y="233"/>
                    <a:pt x="241" y="203"/>
                    <a:pt x="243" y="196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4" y="176"/>
                    <a:pt x="234" y="176"/>
                    <a:pt x="234" y="176"/>
                  </a:cubicBezTo>
                  <a:cubicBezTo>
                    <a:pt x="234" y="176"/>
                    <a:pt x="228" y="176"/>
                    <a:pt x="227" y="169"/>
                  </a:cubicBezTo>
                  <a:cubicBezTo>
                    <a:pt x="226" y="162"/>
                    <a:pt x="236" y="149"/>
                    <a:pt x="241" y="140"/>
                  </a:cubicBezTo>
                  <a:cubicBezTo>
                    <a:pt x="246" y="131"/>
                    <a:pt x="227" y="132"/>
                    <a:pt x="219" y="127"/>
                  </a:cubicBezTo>
                  <a:cubicBezTo>
                    <a:pt x="211" y="122"/>
                    <a:pt x="201" y="98"/>
                    <a:pt x="201" y="98"/>
                  </a:cubicBezTo>
                  <a:cubicBezTo>
                    <a:pt x="201" y="98"/>
                    <a:pt x="194" y="99"/>
                    <a:pt x="182" y="95"/>
                  </a:cubicBezTo>
                  <a:cubicBezTo>
                    <a:pt x="170" y="91"/>
                    <a:pt x="168" y="78"/>
                    <a:pt x="164" y="76"/>
                  </a:cubicBezTo>
                  <a:cubicBezTo>
                    <a:pt x="160" y="74"/>
                    <a:pt x="152" y="67"/>
                    <a:pt x="152" y="67"/>
                  </a:cubicBezTo>
                  <a:cubicBezTo>
                    <a:pt x="152" y="67"/>
                    <a:pt x="145" y="68"/>
                    <a:pt x="140" y="65"/>
                  </a:cubicBezTo>
                  <a:cubicBezTo>
                    <a:pt x="135" y="62"/>
                    <a:pt x="126" y="46"/>
                    <a:pt x="116" y="43"/>
                  </a:cubicBezTo>
                  <a:cubicBezTo>
                    <a:pt x="106" y="40"/>
                    <a:pt x="107" y="54"/>
                    <a:pt x="101" y="54"/>
                  </a:cubicBezTo>
                  <a:cubicBezTo>
                    <a:pt x="95" y="54"/>
                    <a:pt x="85" y="31"/>
                    <a:pt x="85" y="31"/>
                  </a:cubicBezTo>
                  <a:cubicBezTo>
                    <a:pt x="85" y="31"/>
                    <a:pt x="60" y="4"/>
                    <a:pt x="48" y="2"/>
                  </a:cubicBezTo>
                  <a:cubicBezTo>
                    <a:pt x="36" y="0"/>
                    <a:pt x="30" y="10"/>
                    <a:pt x="30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0" y="20"/>
                    <a:pt x="0" y="24"/>
                  </a:cubicBezTo>
                  <a:cubicBezTo>
                    <a:pt x="0" y="28"/>
                    <a:pt x="21" y="41"/>
                    <a:pt x="21" y="41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20" y="85"/>
                    <a:pt x="20" y="85"/>
                    <a:pt x="20" y="85"/>
                  </a:cubicBezTo>
                  <a:cubicBezTo>
                    <a:pt x="20" y="85"/>
                    <a:pt x="1" y="84"/>
                    <a:pt x="2" y="93"/>
                  </a:cubicBezTo>
                  <a:cubicBezTo>
                    <a:pt x="3" y="102"/>
                    <a:pt x="16" y="114"/>
                    <a:pt x="16" y="114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9" y="124"/>
                    <a:pt x="29" y="147"/>
                    <a:pt x="28" y="152"/>
                  </a:cubicBezTo>
                  <a:cubicBezTo>
                    <a:pt x="27" y="157"/>
                    <a:pt x="4" y="158"/>
                    <a:pt x="4" y="158"/>
                  </a:cubicBezTo>
                  <a:cubicBezTo>
                    <a:pt x="4" y="190"/>
                    <a:pt x="4" y="190"/>
                    <a:pt x="4" y="190"/>
                  </a:cubicBezTo>
                  <a:cubicBezTo>
                    <a:pt x="24" y="215"/>
                    <a:pt x="24" y="215"/>
                    <a:pt x="24" y="215"/>
                  </a:cubicBezTo>
                  <a:cubicBezTo>
                    <a:pt x="32" y="209"/>
                    <a:pt x="46" y="227"/>
                    <a:pt x="51" y="234"/>
                  </a:cubicBezTo>
                  <a:cubicBezTo>
                    <a:pt x="58" y="238"/>
                    <a:pt x="58" y="238"/>
                    <a:pt x="58" y="238"/>
                  </a:cubicBezTo>
                  <a:cubicBezTo>
                    <a:pt x="85" y="238"/>
                    <a:pt x="85" y="238"/>
                    <a:pt x="85" y="238"/>
                  </a:cubicBezTo>
                  <a:lnTo>
                    <a:pt x="92" y="249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06" name="Freeform 22"/>
            <p:cNvSpPr>
              <a:spLocks noEditPoints="1"/>
            </p:cNvSpPr>
            <p:nvPr/>
          </p:nvSpPr>
          <p:spPr bwMode="auto">
            <a:xfrm>
              <a:off x="1465" y="3199"/>
              <a:ext cx="277" cy="617"/>
            </a:xfrm>
            <a:custGeom>
              <a:avLst/>
              <a:gdLst>
                <a:gd name="T0" fmla="*/ 0 w 732"/>
                <a:gd name="T1" fmla="*/ 0 h 1628"/>
                <a:gd name="T2" fmla="*/ 0 w 732"/>
                <a:gd name="T3" fmla="*/ 0 h 1628"/>
                <a:gd name="T4" fmla="*/ 0 w 732"/>
                <a:gd name="T5" fmla="*/ 0 h 1628"/>
                <a:gd name="T6" fmla="*/ 0 w 732"/>
                <a:gd name="T7" fmla="*/ 0 h 1628"/>
                <a:gd name="T8" fmla="*/ 0 w 732"/>
                <a:gd name="T9" fmla="*/ 0 h 1628"/>
                <a:gd name="T10" fmla="*/ 0 w 732"/>
                <a:gd name="T11" fmla="*/ 0 h 1628"/>
                <a:gd name="T12" fmla="*/ 0 w 732"/>
                <a:gd name="T13" fmla="*/ 0 h 1628"/>
                <a:gd name="T14" fmla="*/ 0 w 732"/>
                <a:gd name="T15" fmla="*/ 0 h 1628"/>
                <a:gd name="T16" fmla="*/ 0 w 732"/>
                <a:gd name="T17" fmla="*/ 0 h 1628"/>
                <a:gd name="T18" fmla="*/ 0 w 732"/>
                <a:gd name="T19" fmla="*/ 0 h 1628"/>
                <a:gd name="T20" fmla="*/ 0 w 732"/>
                <a:gd name="T21" fmla="*/ 0 h 1628"/>
                <a:gd name="T22" fmla="*/ 0 w 732"/>
                <a:gd name="T23" fmla="*/ 0 h 1628"/>
                <a:gd name="T24" fmla="*/ 0 w 732"/>
                <a:gd name="T25" fmla="*/ 0 h 1628"/>
                <a:gd name="T26" fmla="*/ 0 w 732"/>
                <a:gd name="T27" fmla="*/ 0 h 1628"/>
                <a:gd name="T28" fmla="*/ 0 w 732"/>
                <a:gd name="T29" fmla="*/ 0 h 1628"/>
                <a:gd name="T30" fmla="*/ 0 w 732"/>
                <a:gd name="T31" fmla="*/ 0 h 1628"/>
                <a:gd name="T32" fmla="*/ 0 w 732"/>
                <a:gd name="T33" fmla="*/ 0 h 1628"/>
                <a:gd name="T34" fmla="*/ 0 w 732"/>
                <a:gd name="T35" fmla="*/ 0 h 1628"/>
                <a:gd name="T36" fmla="*/ 0 w 732"/>
                <a:gd name="T37" fmla="*/ 0 h 1628"/>
                <a:gd name="T38" fmla="*/ 0 w 732"/>
                <a:gd name="T39" fmla="*/ 0 h 1628"/>
                <a:gd name="T40" fmla="*/ 0 w 732"/>
                <a:gd name="T41" fmla="*/ 0 h 1628"/>
                <a:gd name="T42" fmla="*/ 0 w 732"/>
                <a:gd name="T43" fmla="*/ 0 h 1628"/>
                <a:gd name="T44" fmla="*/ 0 w 732"/>
                <a:gd name="T45" fmla="*/ 0 h 1628"/>
                <a:gd name="T46" fmla="*/ 0 w 732"/>
                <a:gd name="T47" fmla="*/ 0 h 1628"/>
                <a:gd name="T48" fmla="*/ 0 w 732"/>
                <a:gd name="T49" fmla="*/ 0 h 1628"/>
                <a:gd name="T50" fmla="*/ 0 w 732"/>
                <a:gd name="T51" fmla="*/ 0 h 1628"/>
                <a:gd name="T52" fmla="*/ 0 w 732"/>
                <a:gd name="T53" fmla="*/ 0 h 1628"/>
                <a:gd name="T54" fmla="*/ 0 w 732"/>
                <a:gd name="T55" fmla="*/ 0 h 1628"/>
                <a:gd name="T56" fmla="*/ 0 w 732"/>
                <a:gd name="T57" fmla="*/ 0 h 1628"/>
                <a:gd name="T58" fmla="*/ 0 w 732"/>
                <a:gd name="T59" fmla="*/ 0 h 1628"/>
                <a:gd name="T60" fmla="*/ 0 w 732"/>
                <a:gd name="T61" fmla="*/ 0 h 1628"/>
                <a:gd name="T62" fmla="*/ 0 w 732"/>
                <a:gd name="T63" fmla="*/ 0 h 1628"/>
                <a:gd name="T64" fmla="*/ 0 w 732"/>
                <a:gd name="T65" fmla="*/ 0 h 1628"/>
                <a:gd name="T66" fmla="*/ 0 w 732"/>
                <a:gd name="T67" fmla="*/ 0 h 1628"/>
                <a:gd name="T68" fmla="*/ 0 w 732"/>
                <a:gd name="T69" fmla="*/ 0 h 1628"/>
                <a:gd name="T70" fmla="*/ 0 w 732"/>
                <a:gd name="T71" fmla="*/ 0 h 1628"/>
                <a:gd name="T72" fmla="*/ 0 w 732"/>
                <a:gd name="T73" fmla="*/ 0 h 1628"/>
                <a:gd name="T74" fmla="*/ 0 w 732"/>
                <a:gd name="T75" fmla="*/ 0 h 1628"/>
                <a:gd name="T76" fmla="*/ 0 w 732"/>
                <a:gd name="T77" fmla="*/ 0 h 1628"/>
                <a:gd name="T78" fmla="*/ 0 w 732"/>
                <a:gd name="T79" fmla="*/ 0 h 1628"/>
                <a:gd name="T80" fmla="*/ 0 w 732"/>
                <a:gd name="T81" fmla="*/ 0 h 1628"/>
                <a:gd name="T82" fmla="*/ 0 w 732"/>
                <a:gd name="T83" fmla="*/ 0 h 1628"/>
                <a:gd name="T84" fmla="*/ 0 w 732"/>
                <a:gd name="T85" fmla="*/ 0 h 1628"/>
                <a:gd name="T86" fmla="*/ 0 w 732"/>
                <a:gd name="T87" fmla="*/ 0 h 1628"/>
                <a:gd name="T88" fmla="*/ 0 w 732"/>
                <a:gd name="T89" fmla="*/ 0 h 1628"/>
                <a:gd name="T90" fmla="*/ 0 w 732"/>
                <a:gd name="T91" fmla="*/ 0 h 1628"/>
                <a:gd name="T92" fmla="*/ 0 w 732"/>
                <a:gd name="T93" fmla="*/ 0 h 1628"/>
                <a:gd name="T94" fmla="*/ 0 w 732"/>
                <a:gd name="T95" fmla="*/ 0 h 1628"/>
                <a:gd name="T96" fmla="*/ 0 w 732"/>
                <a:gd name="T97" fmla="*/ 0 h 1628"/>
                <a:gd name="T98" fmla="*/ 0 w 732"/>
                <a:gd name="T99" fmla="*/ 0 h 1628"/>
                <a:gd name="T100" fmla="*/ 0 w 732"/>
                <a:gd name="T101" fmla="*/ 0 h 1628"/>
                <a:gd name="T102" fmla="*/ 0 w 732"/>
                <a:gd name="T103" fmla="*/ 0 h 1628"/>
                <a:gd name="T104" fmla="*/ 0 w 732"/>
                <a:gd name="T105" fmla="*/ 0 h 1628"/>
                <a:gd name="T106" fmla="*/ 0 w 732"/>
                <a:gd name="T107" fmla="*/ 0 h 1628"/>
                <a:gd name="T108" fmla="*/ 0 w 732"/>
                <a:gd name="T109" fmla="*/ 0 h 1628"/>
                <a:gd name="T110" fmla="*/ 0 w 732"/>
                <a:gd name="T111" fmla="*/ 0 h 1628"/>
                <a:gd name="T112" fmla="*/ 0 w 732"/>
                <a:gd name="T113" fmla="*/ 0 h 1628"/>
                <a:gd name="T114" fmla="*/ 0 w 732"/>
                <a:gd name="T115" fmla="*/ 0 h 16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2"/>
                <a:gd name="T175" fmla="*/ 0 h 1628"/>
                <a:gd name="T176" fmla="*/ 732 w 732"/>
                <a:gd name="T177" fmla="*/ 1628 h 16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2" h="1628">
                  <a:moveTo>
                    <a:pt x="634" y="355"/>
                  </a:moveTo>
                  <a:cubicBezTo>
                    <a:pt x="650" y="351"/>
                    <a:pt x="650" y="351"/>
                    <a:pt x="650" y="351"/>
                  </a:cubicBezTo>
                  <a:cubicBezTo>
                    <a:pt x="653" y="335"/>
                    <a:pt x="653" y="335"/>
                    <a:pt x="653" y="335"/>
                  </a:cubicBezTo>
                  <a:cubicBezTo>
                    <a:pt x="659" y="333"/>
                    <a:pt x="659" y="333"/>
                    <a:pt x="659" y="333"/>
                  </a:cubicBezTo>
                  <a:cubicBezTo>
                    <a:pt x="660" y="322"/>
                    <a:pt x="660" y="322"/>
                    <a:pt x="660" y="322"/>
                  </a:cubicBezTo>
                  <a:cubicBezTo>
                    <a:pt x="681" y="320"/>
                    <a:pt x="681" y="320"/>
                    <a:pt x="681" y="320"/>
                  </a:cubicBezTo>
                  <a:cubicBezTo>
                    <a:pt x="681" y="320"/>
                    <a:pt x="681" y="302"/>
                    <a:pt x="692" y="297"/>
                  </a:cubicBezTo>
                  <a:cubicBezTo>
                    <a:pt x="703" y="292"/>
                    <a:pt x="720" y="290"/>
                    <a:pt x="726" y="284"/>
                  </a:cubicBezTo>
                  <a:cubicBezTo>
                    <a:pt x="732" y="278"/>
                    <a:pt x="724" y="240"/>
                    <a:pt x="724" y="231"/>
                  </a:cubicBezTo>
                  <a:cubicBezTo>
                    <a:pt x="724" y="222"/>
                    <a:pt x="713" y="223"/>
                    <a:pt x="713" y="223"/>
                  </a:cubicBezTo>
                  <a:cubicBezTo>
                    <a:pt x="713" y="223"/>
                    <a:pt x="709" y="202"/>
                    <a:pt x="702" y="198"/>
                  </a:cubicBezTo>
                  <a:cubicBezTo>
                    <a:pt x="695" y="194"/>
                    <a:pt x="679" y="205"/>
                    <a:pt x="679" y="205"/>
                  </a:cubicBezTo>
                  <a:cubicBezTo>
                    <a:pt x="679" y="205"/>
                    <a:pt x="681" y="240"/>
                    <a:pt x="679" y="251"/>
                  </a:cubicBezTo>
                  <a:cubicBezTo>
                    <a:pt x="677" y="262"/>
                    <a:pt x="656" y="276"/>
                    <a:pt x="649" y="276"/>
                  </a:cubicBezTo>
                  <a:cubicBezTo>
                    <a:pt x="642" y="276"/>
                    <a:pt x="640" y="293"/>
                    <a:pt x="636" y="300"/>
                  </a:cubicBezTo>
                  <a:cubicBezTo>
                    <a:pt x="632" y="307"/>
                    <a:pt x="631" y="298"/>
                    <a:pt x="622" y="296"/>
                  </a:cubicBezTo>
                  <a:cubicBezTo>
                    <a:pt x="613" y="294"/>
                    <a:pt x="613" y="313"/>
                    <a:pt x="613" y="313"/>
                  </a:cubicBezTo>
                  <a:cubicBezTo>
                    <a:pt x="606" y="302"/>
                    <a:pt x="606" y="302"/>
                    <a:pt x="606" y="302"/>
                  </a:cubicBezTo>
                  <a:cubicBezTo>
                    <a:pt x="606" y="302"/>
                    <a:pt x="584" y="304"/>
                    <a:pt x="567" y="300"/>
                  </a:cubicBezTo>
                  <a:cubicBezTo>
                    <a:pt x="550" y="296"/>
                    <a:pt x="543" y="289"/>
                    <a:pt x="534" y="286"/>
                  </a:cubicBezTo>
                  <a:cubicBezTo>
                    <a:pt x="525" y="283"/>
                    <a:pt x="509" y="293"/>
                    <a:pt x="504" y="286"/>
                  </a:cubicBezTo>
                  <a:cubicBezTo>
                    <a:pt x="499" y="279"/>
                    <a:pt x="519" y="252"/>
                    <a:pt x="519" y="252"/>
                  </a:cubicBezTo>
                  <a:cubicBezTo>
                    <a:pt x="519" y="230"/>
                    <a:pt x="519" y="230"/>
                    <a:pt x="519" y="230"/>
                  </a:cubicBezTo>
                  <a:cubicBezTo>
                    <a:pt x="519" y="230"/>
                    <a:pt x="531" y="230"/>
                    <a:pt x="535" y="223"/>
                  </a:cubicBezTo>
                  <a:cubicBezTo>
                    <a:pt x="539" y="216"/>
                    <a:pt x="526" y="208"/>
                    <a:pt x="526" y="208"/>
                  </a:cubicBezTo>
                  <a:cubicBezTo>
                    <a:pt x="526" y="208"/>
                    <a:pt x="536" y="191"/>
                    <a:pt x="538" y="183"/>
                  </a:cubicBezTo>
                  <a:cubicBezTo>
                    <a:pt x="540" y="175"/>
                    <a:pt x="506" y="168"/>
                    <a:pt x="500" y="167"/>
                  </a:cubicBezTo>
                  <a:cubicBezTo>
                    <a:pt x="494" y="166"/>
                    <a:pt x="444" y="138"/>
                    <a:pt x="444" y="138"/>
                  </a:cubicBezTo>
                  <a:cubicBezTo>
                    <a:pt x="444" y="138"/>
                    <a:pt x="423" y="118"/>
                    <a:pt x="413" y="122"/>
                  </a:cubicBezTo>
                  <a:cubicBezTo>
                    <a:pt x="403" y="126"/>
                    <a:pt x="368" y="106"/>
                    <a:pt x="368" y="106"/>
                  </a:cubicBezTo>
                  <a:cubicBezTo>
                    <a:pt x="364" y="92"/>
                    <a:pt x="364" y="92"/>
                    <a:pt x="364" y="92"/>
                  </a:cubicBezTo>
                  <a:cubicBezTo>
                    <a:pt x="364" y="92"/>
                    <a:pt x="337" y="75"/>
                    <a:pt x="328" y="70"/>
                  </a:cubicBezTo>
                  <a:cubicBezTo>
                    <a:pt x="319" y="65"/>
                    <a:pt x="303" y="36"/>
                    <a:pt x="303" y="36"/>
                  </a:cubicBezTo>
                  <a:cubicBezTo>
                    <a:pt x="290" y="24"/>
                    <a:pt x="290" y="24"/>
                    <a:pt x="290" y="24"/>
                  </a:cubicBezTo>
                  <a:cubicBezTo>
                    <a:pt x="267" y="7"/>
                    <a:pt x="267" y="7"/>
                    <a:pt x="267" y="7"/>
                  </a:cubicBezTo>
                  <a:cubicBezTo>
                    <a:pt x="216" y="13"/>
                    <a:pt x="216" y="13"/>
                    <a:pt x="216" y="13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47" y="17"/>
                    <a:pt x="134" y="13"/>
                  </a:cubicBezTo>
                  <a:cubicBezTo>
                    <a:pt x="120" y="9"/>
                    <a:pt x="115" y="0"/>
                    <a:pt x="115" y="0"/>
                  </a:cubicBezTo>
                  <a:cubicBezTo>
                    <a:pt x="107" y="17"/>
                    <a:pt x="107" y="17"/>
                    <a:pt x="107" y="17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1" y="51"/>
                    <a:pt x="78" y="52"/>
                    <a:pt x="74" y="52"/>
                  </a:cubicBezTo>
                  <a:cubicBezTo>
                    <a:pt x="74" y="52"/>
                    <a:pt x="75" y="52"/>
                    <a:pt x="75" y="52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76" y="119"/>
                    <a:pt x="76" y="119"/>
                    <a:pt x="76" y="119"/>
                  </a:cubicBezTo>
                  <a:cubicBezTo>
                    <a:pt x="76" y="119"/>
                    <a:pt x="21" y="143"/>
                    <a:pt x="22" y="157"/>
                  </a:cubicBezTo>
                  <a:cubicBezTo>
                    <a:pt x="23" y="171"/>
                    <a:pt x="50" y="165"/>
                    <a:pt x="41" y="174"/>
                  </a:cubicBezTo>
                  <a:cubicBezTo>
                    <a:pt x="32" y="183"/>
                    <a:pt x="22" y="192"/>
                    <a:pt x="27" y="199"/>
                  </a:cubicBezTo>
                  <a:cubicBezTo>
                    <a:pt x="32" y="206"/>
                    <a:pt x="51" y="214"/>
                    <a:pt x="50" y="224"/>
                  </a:cubicBezTo>
                  <a:cubicBezTo>
                    <a:pt x="49" y="234"/>
                    <a:pt x="32" y="246"/>
                    <a:pt x="32" y="246"/>
                  </a:cubicBezTo>
                  <a:cubicBezTo>
                    <a:pt x="32" y="246"/>
                    <a:pt x="63" y="257"/>
                    <a:pt x="60" y="268"/>
                  </a:cubicBezTo>
                  <a:cubicBezTo>
                    <a:pt x="57" y="279"/>
                    <a:pt x="35" y="280"/>
                    <a:pt x="35" y="280"/>
                  </a:cubicBezTo>
                  <a:cubicBezTo>
                    <a:pt x="35" y="280"/>
                    <a:pt x="29" y="318"/>
                    <a:pt x="28" y="323"/>
                  </a:cubicBezTo>
                  <a:cubicBezTo>
                    <a:pt x="27" y="328"/>
                    <a:pt x="9" y="336"/>
                    <a:pt x="9" y="346"/>
                  </a:cubicBezTo>
                  <a:cubicBezTo>
                    <a:pt x="9" y="356"/>
                    <a:pt x="14" y="381"/>
                    <a:pt x="12" y="385"/>
                  </a:cubicBezTo>
                  <a:cubicBezTo>
                    <a:pt x="10" y="389"/>
                    <a:pt x="1" y="397"/>
                    <a:pt x="2" y="401"/>
                  </a:cubicBezTo>
                  <a:cubicBezTo>
                    <a:pt x="3" y="405"/>
                    <a:pt x="26" y="450"/>
                    <a:pt x="21" y="455"/>
                  </a:cubicBezTo>
                  <a:cubicBezTo>
                    <a:pt x="16" y="460"/>
                    <a:pt x="7" y="455"/>
                    <a:pt x="7" y="455"/>
                  </a:cubicBezTo>
                  <a:cubicBezTo>
                    <a:pt x="10" y="494"/>
                    <a:pt x="10" y="494"/>
                    <a:pt x="10" y="494"/>
                  </a:cubicBezTo>
                  <a:cubicBezTo>
                    <a:pt x="10" y="494"/>
                    <a:pt x="0" y="495"/>
                    <a:pt x="0" y="500"/>
                  </a:cubicBezTo>
                  <a:cubicBezTo>
                    <a:pt x="0" y="505"/>
                    <a:pt x="2" y="522"/>
                    <a:pt x="2" y="522"/>
                  </a:cubicBezTo>
                  <a:cubicBezTo>
                    <a:pt x="2" y="522"/>
                    <a:pt x="25" y="537"/>
                    <a:pt x="23" y="541"/>
                  </a:cubicBezTo>
                  <a:cubicBezTo>
                    <a:pt x="21" y="545"/>
                    <a:pt x="19" y="554"/>
                    <a:pt x="19" y="554"/>
                  </a:cubicBezTo>
                  <a:cubicBezTo>
                    <a:pt x="32" y="564"/>
                    <a:pt x="32" y="564"/>
                    <a:pt x="32" y="564"/>
                  </a:cubicBezTo>
                  <a:cubicBezTo>
                    <a:pt x="40" y="585"/>
                    <a:pt x="40" y="585"/>
                    <a:pt x="40" y="585"/>
                  </a:cubicBezTo>
                  <a:cubicBezTo>
                    <a:pt x="43" y="591"/>
                    <a:pt x="43" y="591"/>
                    <a:pt x="43" y="591"/>
                  </a:cubicBezTo>
                  <a:cubicBezTo>
                    <a:pt x="43" y="591"/>
                    <a:pt x="35" y="610"/>
                    <a:pt x="47" y="613"/>
                  </a:cubicBezTo>
                  <a:cubicBezTo>
                    <a:pt x="59" y="616"/>
                    <a:pt x="63" y="614"/>
                    <a:pt x="63" y="614"/>
                  </a:cubicBezTo>
                  <a:cubicBezTo>
                    <a:pt x="65" y="639"/>
                    <a:pt x="65" y="639"/>
                    <a:pt x="65" y="639"/>
                  </a:cubicBezTo>
                  <a:cubicBezTo>
                    <a:pt x="65" y="639"/>
                    <a:pt x="80" y="658"/>
                    <a:pt x="77" y="664"/>
                  </a:cubicBezTo>
                  <a:cubicBezTo>
                    <a:pt x="74" y="670"/>
                    <a:pt x="65" y="677"/>
                    <a:pt x="65" y="681"/>
                  </a:cubicBezTo>
                  <a:cubicBezTo>
                    <a:pt x="65" y="685"/>
                    <a:pt x="64" y="724"/>
                    <a:pt x="64" y="724"/>
                  </a:cubicBezTo>
                  <a:cubicBezTo>
                    <a:pt x="55" y="725"/>
                    <a:pt x="55" y="725"/>
                    <a:pt x="55" y="725"/>
                  </a:cubicBezTo>
                  <a:cubicBezTo>
                    <a:pt x="55" y="725"/>
                    <a:pt x="72" y="743"/>
                    <a:pt x="73" y="753"/>
                  </a:cubicBezTo>
                  <a:cubicBezTo>
                    <a:pt x="74" y="763"/>
                    <a:pt x="70" y="774"/>
                    <a:pt x="70" y="774"/>
                  </a:cubicBezTo>
                  <a:cubicBezTo>
                    <a:pt x="68" y="786"/>
                    <a:pt x="68" y="786"/>
                    <a:pt x="68" y="786"/>
                  </a:cubicBezTo>
                  <a:cubicBezTo>
                    <a:pt x="51" y="787"/>
                    <a:pt x="51" y="787"/>
                    <a:pt x="51" y="787"/>
                  </a:cubicBezTo>
                  <a:cubicBezTo>
                    <a:pt x="51" y="787"/>
                    <a:pt x="63" y="820"/>
                    <a:pt x="63" y="827"/>
                  </a:cubicBezTo>
                  <a:cubicBezTo>
                    <a:pt x="63" y="834"/>
                    <a:pt x="63" y="855"/>
                    <a:pt x="63" y="855"/>
                  </a:cubicBezTo>
                  <a:cubicBezTo>
                    <a:pt x="83" y="872"/>
                    <a:pt x="83" y="872"/>
                    <a:pt x="83" y="872"/>
                  </a:cubicBezTo>
                  <a:cubicBezTo>
                    <a:pt x="84" y="884"/>
                    <a:pt x="84" y="884"/>
                    <a:pt x="84" y="884"/>
                  </a:cubicBezTo>
                  <a:cubicBezTo>
                    <a:pt x="84" y="884"/>
                    <a:pt x="103" y="893"/>
                    <a:pt x="98" y="902"/>
                  </a:cubicBezTo>
                  <a:cubicBezTo>
                    <a:pt x="93" y="911"/>
                    <a:pt x="79" y="916"/>
                    <a:pt x="79" y="916"/>
                  </a:cubicBezTo>
                  <a:cubicBezTo>
                    <a:pt x="87" y="944"/>
                    <a:pt x="87" y="944"/>
                    <a:pt x="87" y="944"/>
                  </a:cubicBezTo>
                  <a:cubicBezTo>
                    <a:pt x="74" y="953"/>
                    <a:pt x="74" y="953"/>
                    <a:pt x="74" y="953"/>
                  </a:cubicBezTo>
                  <a:cubicBezTo>
                    <a:pt x="74" y="953"/>
                    <a:pt x="84" y="958"/>
                    <a:pt x="85" y="966"/>
                  </a:cubicBezTo>
                  <a:cubicBezTo>
                    <a:pt x="86" y="974"/>
                    <a:pt x="81" y="982"/>
                    <a:pt x="81" y="982"/>
                  </a:cubicBezTo>
                  <a:cubicBezTo>
                    <a:pt x="95" y="990"/>
                    <a:pt x="95" y="990"/>
                    <a:pt x="95" y="990"/>
                  </a:cubicBezTo>
                  <a:cubicBezTo>
                    <a:pt x="95" y="990"/>
                    <a:pt x="90" y="1008"/>
                    <a:pt x="91" y="1014"/>
                  </a:cubicBezTo>
                  <a:cubicBezTo>
                    <a:pt x="92" y="1020"/>
                    <a:pt x="99" y="1031"/>
                    <a:pt x="99" y="1031"/>
                  </a:cubicBezTo>
                  <a:cubicBezTo>
                    <a:pt x="99" y="1031"/>
                    <a:pt x="99" y="1050"/>
                    <a:pt x="102" y="1056"/>
                  </a:cubicBezTo>
                  <a:cubicBezTo>
                    <a:pt x="105" y="1062"/>
                    <a:pt x="134" y="1083"/>
                    <a:pt x="129" y="1082"/>
                  </a:cubicBezTo>
                  <a:cubicBezTo>
                    <a:pt x="124" y="1081"/>
                    <a:pt x="113" y="1090"/>
                    <a:pt x="113" y="1090"/>
                  </a:cubicBezTo>
                  <a:cubicBezTo>
                    <a:pt x="113" y="1090"/>
                    <a:pt x="118" y="1120"/>
                    <a:pt x="121" y="1128"/>
                  </a:cubicBezTo>
                  <a:cubicBezTo>
                    <a:pt x="124" y="1136"/>
                    <a:pt x="133" y="1140"/>
                    <a:pt x="133" y="1140"/>
                  </a:cubicBezTo>
                  <a:cubicBezTo>
                    <a:pt x="143" y="1145"/>
                    <a:pt x="143" y="1145"/>
                    <a:pt x="143" y="1145"/>
                  </a:cubicBezTo>
                  <a:cubicBezTo>
                    <a:pt x="139" y="1163"/>
                    <a:pt x="139" y="1163"/>
                    <a:pt x="139" y="1163"/>
                  </a:cubicBezTo>
                  <a:cubicBezTo>
                    <a:pt x="139" y="1163"/>
                    <a:pt x="155" y="1164"/>
                    <a:pt x="156" y="1175"/>
                  </a:cubicBezTo>
                  <a:cubicBezTo>
                    <a:pt x="157" y="1186"/>
                    <a:pt x="158" y="1203"/>
                    <a:pt x="158" y="1203"/>
                  </a:cubicBezTo>
                  <a:cubicBezTo>
                    <a:pt x="158" y="1203"/>
                    <a:pt x="163" y="1213"/>
                    <a:pt x="170" y="1213"/>
                  </a:cubicBezTo>
                  <a:cubicBezTo>
                    <a:pt x="177" y="1213"/>
                    <a:pt x="196" y="1208"/>
                    <a:pt x="194" y="1219"/>
                  </a:cubicBezTo>
                  <a:cubicBezTo>
                    <a:pt x="192" y="1230"/>
                    <a:pt x="160" y="1227"/>
                    <a:pt x="161" y="1230"/>
                  </a:cubicBezTo>
                  <a:cubicBezTo>
                    <a:pt x="162" y="1233"/>
                    <a:pt x="185" y="1240"/>
                    <a:pt x="185" y="1240"/>
                  </a:cubicBezTo>
                  <a:cubicBezTo>
                    <a:pt x="185" y="1240"/>
                    <a:pt x="208" y="1249"/>
                    <a:pt x="205" y="1257"/>
                  </a:cubicBezTo>
                  <a:cubicBezTo>
                    <a:pt x="202" y="1265"/>
                    <a:pt x="189" y="1276"/>
                    <a:pt x="189" y="1276"/>
                  </a:cubicBezTo>
                  <a:cubicBezTo>
                    <a:pt x="205" y="1288"/>
                    <a:pt x="205" y="1288"/>
                    <a:pt x="205" y="1288"/>
                  </a:cubicBezTo>
                  <a:cubicBezTo>
                    <a:pt x="202" y="1303"/>
                    <a:pt x="202" y="1303"/>
                    <a:pt x="202" y="1303"/>
                  </a:cubicBezTo>
                  <a:cubicBezTo>
                    <a:pt x="217" y="1321"/>
                    <a:pt x="217" y="1321"/>
                    <a:pt x="217" y="1321"/>
                  </a:cubicBezTo>
                  <a:cubicBezTo>
                    <a:pt x="214" y="1343"/>
                    <a:pt x="214" y="1343"/>
                    <a:pt x="214" y="1343"/>
                  </a:cubicBezTo>
                  <a:cubicBezTo>
                    <a:pt x="224" y="1360"/>
                    <a:pt x="224" y="1360"/>
                    <a:pt x="224" y="1360"/>
                  </a:cubicBezTo>
                  <a:cubicBezTo>
                    <a:pt x="213" y="1364"/>
                    <a:pt x="213" y="1364"/>
                    <a:pt x="213" y="1364"/>
                  </a:cubicBezTo>
                  <a:cubicBezTo>
                    <a:pt x="210" y="1394"/>
                    <a:pt x="210" y="1394"/>
                    <a:pt x="210" y="1394"/>
                  </a:cubicBezTo>
                  <a:cubicBezTo>
                    <a:pt x="210" y="1394"/>
                    <a:pt x="229" y="1405"/>
                    <a:pt x="230" y="1408"/>
                  </a:cubicBezTo>
                  <a:cubicBezTo>
                    <a:pt x="231" y="1411"/>
                    <a:pt x="215" y="1420"/>
                    <a:pt x="215" y="1420"/>
                  </a:cubicBezTo>
                  <a:cubicBezTo>
                    <a:pt x="215" y="1420"/>
                    <a:pt x="235" y="1435"/>
                    <a:pt x="232" y="1440"/>
                  </a:cubicBezTo>
                  <a:cubicBezTo>
                    <a:pt x="229" y="1445"/>
                    <a:pt x="214" y="1450"/>
                    <a:pt x="214" y="1450"/>
                  </a:cubicBezTo>
                  <a:cubicBezTo>
                    <a:pt x="213" y="1463"/>
                    <a:pt x="213" y="1463"/>
                    <a:pt x="213" y="1463"/>
                  </a:cubicBezTo>
                  <a:cubicBezTo>
                    <a:pt x="206" y="1467"/>
                    <a:pt x="206" y="1467"/>
                    <a:pt x="206" y="1467"/>
                  </a:cubicBezTo>
                  <a:cubicBezTo>
                    <a:pt x="206" y="1467"/>
                    <a:pt x="208" y="1483"/>
                    <a:pt x="213" y="1488"/>
                  </a:cubicBezTo>
                  <a:cubicBezTo>
                    <a:pt x="218" y="1493"/>
                    <a:pt x="216" y="1513"/>
                    <a:pt x="216" y="1513"/>
                  </a:cubicBezTo>
                  <a:cubicBezTo>
                    <a:pt x="236" y="1517"/>
                    <a:pt x="236" y="1517"/>
                    <a:pt x="236" y="1517"/>
                  </a:cubicBezTo>
                  <a:cubicBezTo>
                    <a:pt x="236" y="1517"/>
                    <a:pt x="240" y="1542"/>
                    <a:pt x="250" y="1542"/>
                  </a:cubicBezTo>
                  <a:cubicBezTo>
                    <a:pt x="260" y="1542"/>
                    <a:pt x="266" y="1524"/>
                    <a:pt x="281" y="1537"/>
                  </a:cubicBezTo>
                  <a:cubicBezTo>
                    <a:pt x="296" y="1550"/>
                    <a:pt x="290" y="1562"/>
                    <a:pt x="290" y="1562"/>
                  </a:cubicBezTo>
                  <a:cubicBezTo>
                    <a:pt x="304" y="1578"/>
                    <a:pt x="304" y="1578"/>
                    <a:pt x="304" y="1578"/>
                  </a:cubicBezTo>
                  <a:cubicBezTo>
                    <a:pt x="311" y="1589"/>
                    <a:pt x="311" y="1589"/>
                    <a:pt x="311" y="1589"/>
                  </a:cubicBezTo>
                  <a:cubicBezTo>
                    <a:pt x="335" y="1600"/>
                    <a:pt x="335" y="1600"/>
                    <a:pt x="335" y="1600"/>
                  </a:cubicBezTo>
                  <a:cubicBezTo>
                    <a:pt x="347" y="1612"/>
                    <a:pt x="347" y="1612"/>
                    <a:pt x="347" y="1612"/>
                  </a:cubicBezTo>
                  <a:cubicBezTo>
                    <a:pt x="347" y="1612"/>
                    <a:pt x="373" y="1605"/>
                    <a:pt x="389" y="1607"/>
                  </a:cubicBezTo>
                  <a:cubicBezTo>
                    <a:pt x="405" y="1609"/>
                    <a:pt x="425" y="1608"/>
                    <a:pt x="425" y="1608"/>
                  </a:cubicBezTo>
                  <a:cubicBezTo>
                    <a:pt x="440" y="1620"/>
                    <a:pt x="440" y="1620"/>
                    <a:pt x="440" y="1620"/>
                  </a:cubicBezTo>
                  <a:cubicBezTo>
                    <a:pt x="437" y="1628"/>
                    <a:pt x="437" y="1628"/>
                    <a:pt x="437" y="1628"/>
                  </a:cubicBezTo>
                  <a:cubicBezTo>
                    <a:pt x="442" y="1616"/>
                    <a:pt x="442" y="1616"/>
                    <a:pt x="442" y="1616"/>
                  </a:cubicBezTo>
                  <a:cubicBezTo>
                    <a:pt x="449" y="1606"/>
                    <a:pt x="478" y="1625"/>
                    <a:pt x="478" y="1625"/>
                  </a:cubicBezTo>
                  <a:cubicBezTo>
                    <a:pt x="451" y="1588"/>
                    <a:pt x="451" y="1588"/>
                    <a:pt x="451" y="1588"/>
                  </a:cubicBezTo>
                  <a:cubicBezTo>
                    <a:pt x="438" y="1589"/>
                    <a:pt x="438" y="1589"/>
                    <a:pt x="438" y="1589"/>
                  </a:cubicBezTo>
                  <a:cubicBezTo>
                    <a:pt x="441" y="1579"/>
                    <a:pt x="441" y="1579"/>
                    <a:pt x="441" y="1579"/>
                  </a:cubicBezTo>
                  <a:cubicBezTo>
                    <a:pt x="417" y="1562"/>
                    <a:pt x="417" y="1562"/>
                    <a:pt x="417" y="1562"/>
                  </a:cubicBezTo>
                  <a:cubicBezTo>
                    <a:pt x="418" y="1538"/>
                    <a:pt x="418" y="1538"/>
                    <a:pt x="418" y="1538"/>
                  </a:cubicBezTo>
                  <a:cubicBezTo>
                    <a:pt x="409" y="1534"/>
                    <a:pt x="409" y="1534"/>
                    <a:pt x="409" y="1534"/>
                  </a:cubicBezTo>
                  <a:cubicBezTo>
                    <a:pt x="414" y="1522"/>
                    <a:pt x="414" y="1522"/>
                    <a:pt x="414" y="1522"/>
                  </a:cubicBezTo>
                  <a:cubicBezTo>
                    <a:pt x="414" y="1522"/>
                    <a:pt x="423" y="1522"/>
                    <a:pt x="426" y="1514"/>
                  </a:cubicBezTo>
                  <a:cubicBezTo>
                    <a:pt x="430" y="1506"/>
                    <a:pt x="400" y="1506"/>
                    <a:pt x="400" y="1506"/>
                  </a:cubicBezTo>
                  <a:cubicBezTo>
                    <a:pt x="412" y="1501"/>
                    <a:pt x="412" y="1501"/>
                    <a:pt x="412" y="1501"/>
                  </a:cubicBezTo>
                  <a:cubicBezTo>
                    <a:pt x="408" y="1488"/>
                    <a:pt x="408" y="1488"/>
                    <a:pt x="408" y="1488"/>
                  </a:cubicBezTo>
                  <a:cubicBezTo>
                    <a:pt x="424" y="1505"/>
                    <a:pt x="424" y="1505"/>
                    <a:pt x="424" y="1505"/>
                  </a:cubicBezTo>
                  <a:cubicBezTo>
                    <a:pt x="424" y="1505"/>
                    <a:pt x="438" y="1515"/>
                    <a:pt x="448" y="1503"/>
                  </a:cubicBezTo>
                  <a:cubicBezTo>
                    <a:pt x="458" y="1491"/>
                    <a:pt x="440" y="1465"/>
                    <a:pt x="441" y="1451"/>
                  </a:cubicBezTo>
                  <a:cubicBezTo>
                    <a:pt x="442" y="1438"/>
                    <a:pt x="485" y="1409"/>
                    <a:pt x="488" y="1400"/>
                  </a:cubicBezTo>
                  <a:cubicBezTo>
                    <a:pt x="492" y="1391"/>
                    <a:pt x="467" y="1391"/>
                    <a:pt x="467" y="1391"/>
                  </a:cubicBezTo>
                  <a:cubicBezTo>
                    <a:pt x="483" y="1389"/>
                    <a:pt x="483" y="1389"/>
                    <a:pt x="483" y="1389"/>
                  </a:cubicBezTo>
                  <a:cubicBezTo>
                    <a:pt x="483" y="1389"/>
                    <a:pt x="484" y="1369"/>
                    <a:pt x="476" y="1359"/>
                  </a:cubicBezTo>
                  <a:cubicBezTo>
                    <a:pt x="468" y="1349"/>
                    <a:pt x="456" y="1354"/>
                    <a:pt x="456" y="1354"/>
                  </a:cubicBezTo>
                  <a:cubicBezTo>
                    <a:pt x="444" y="1345"/>
                    <a:pt x="444" y="1345"/>
                    <a:pt x="444" y="1345"/>
                  </a:cubicBezTo>
                  <a:cubicBezTo>
                    <a:pt x="431" y="1345"/>
                    <a:pt x="431" y="1345"/>
                    <a:pt x="431" y="1345"/>
                  </a:cubicBezTo>
                  <a:cubicBezTo>
                    <a:pt x="431" y="1345"/>
                    <a:pt x="391" y="1328"/>
                    <a:pt x="379" y="1301"/>
                  </a:cubicBezTo>
                  <a:cubicBezTo>
                    <a:pt x="366" y="1274"/>
                    <a:pt x="386" y="1269"/>
                    <a:pt x="386" y="1269"/>
                  </a:cubicBezTo>
                  <a:cubicBezTo>
                    <a:pt x="392" y="1252"/>
                    <a:pt x="392" y="1252"/>
                    <a:pt x="392" y="1252"/>
                  </a:cubicBezTo>
                  <a:cubicBezTo>
                    <a:pt x="401" y="1252"/>
                    <a:pt x="401" y="1252"/>
                    <a:pt x="401" y="1252"/>
                  </a:cubicBezTo>
                  <a:cubicBezTo>
                    <a:pt x="407" y="1240"/>
                    <a:pt x="407" y="1240"/>
                    <a:pt x="407" y="1240"/>
                  </a:cubicBezTo>
                  <a:cubicBezTo>
                    <a:pt x="443" y="1239"/>
                    <a:pt x="443" y="1239"/>
                    <a:pt x="443" y="1239"/>
                  </a:cubicBezTo>
                  <a:cubicBezTo>
                    <a:pt x="435" y="1232"/>
                    <a:pt x="435" y="1232"/>
                    <a:pt x="435" y="1232"/>
                  </a:cubicBezTo>
                  <a:cubicBezTo>
                    <a:pt x="434" y="1218"/>
                    <a:pt x="434" y="1218"/>
                    <a:pt x="434" y="1218"/>
                  </a:cubicBezTo>
                  <a:cubicBezTo>
                    <a:pt x="443" y="1217"/>
                    <a:pt x="443" y="1217"/>
                    <a:pt x="443" y="1217"/>
                  </a:cubicBezTo>
                  <a:cubicBezTo>
                    <a:pt x="443" y="1217"/>
                    <a:pt x="448" y="1198"/>
                    <a:pt x="440" y="1191"/>
                  </a:cubicBezTo>
                  <a:cubicBezTo>
                    <a:pt x="432" y="1184"/>
                    <a:pt x="423" y="1168"/>
                    <a:pt x="430" y="1152"/>
                  </a:cubicBezTo>
                  <a:cubicBezTo>
                    <a:pt x="436" y="1137"/>
                    <a:pt x="456" y="1137"/>
                    <a:pt x="456" y="1137"/>
                  </a:cubicBezTo>
                  <a:cubicBezTo>
                    <a:pt x="456" y="1130"/>
                    <a:pt x="456" y="1130"/>
                    <a:pt x="456" y="1130"/>
                  </a:cubicBezTo>
                  <a:cubicBezTo>
                    <a:pt x="456" y="1130"/>
                    <a:pt x="439" y="1130"/>
                    <a:pt x="431" y="1125"/>
                  </a:cubicBezTo>
                  <a:cubicBezTo>
                    <a:pt x="423" y="1121"/>
                    <a:pt x="432" y="1112"/>
                    <a:pt x="440" y="1111"/>
                  </a:cubicBezTo>
                  <a:cubicBezTo>
                    <a:pt x="448" y="1110"/>
                    <a:pt x="462" y="1127"/>
                    <a:pt x="469" y="1127"/>
                  </a:cubicBezTo>
                  <a:cubicBezTo>
                    <a:pt x="476" y="1127"/>
                    <a:pt x="485" y="1123"/>
                    <a:pt x="486" y="1113"/>
                  </a:cubicBezTo>
                  <a:cubicBezTo>
                    <a:pt x="487" y="1103"/>
                    <a:pt x="474" y="1080"/>
                    <a:pt x="461" y="1085"/>
                  </a:cubicBezTo>
                  <a:cubicBezTo>
                    <a:pt x="449" y="1089"/>
                    <a:pt x="468" y="1099"/>
                    <a:pt x="456" y="1105"/>
                  </a:cubicBezTo>
                  <a:cubicBezTo>
                    <a:pt x="443" y="1111"/>
                    <a:pt x="431" y="1094"/>
                    <a:pt x="431" y="1094"/>
                  </a:cubicBezTo>
                  <a:cubicBezTo>
                    <a:pt x="431" y="1094"/>
                    <a:pt x="407" y="1096"/>
                    <a:pt x="404" y="1089"/>
                  </a:cubicBezTo>
                  <a:cubicBezTo>
                    <a:pt x="400" y="1083"/>
                    <a:pt x="404" y="1055"/>
                    <a:pt x="404" y="1052"/>
                  </a:cubicBezTo>
                  <a:cubicBezTo>
                    <a:pt x="404" y="1049"/>
                    <a:pt x="387" y="1032"/>
                    <a:pt x="391" y="1017"/>
                  </a:cubicBezTo>
                  <a:cubicBezTo>
                    <a:pt x="396" y="1003"/>
                    <a:pt x="409" y="1019"/>
                    <a:pt x="424" y="1023"/>
                  </a:cubicBezTo>
                  <a:cubicBezTo>
                    <a:pt x="439" y="1026"/>
                    <a:pt x="456" y="1039"/>
                    <a:pt x="465" y="1039"/>
                  </a:cubicBezTo>
                  <a:cubicBezTo>
                    <a:pt x="474" y="1039"/>
                    <a:pt x="507" y="1021"/>
                    <a:pt x="515" y="1015"/>
                  </a:cubicBezTo>
                  <a:cubicBezTo>
                    <a:pt x="523" y="1009"/>
                    <a:pt x="490" y="991"/>
                    <a:pt x="490" y="991"/>
                  </a:cubicBezTo>
                  <a:cubicBezTo>
                    <a:pt x="489" y="975"/>
                    <a:pt x="489" y="975"/>
                    <a:pt x="489" y="975"/>
                  </a:cubicBezTo>
                  <a:cubicBezTo>
                    <a:pt x="489" y="975"/>
                    <a:pt x="498" y="959"/>
                    <a:pt x="501" y="948"/>
                  </a:cubicBezTo>
                  <a:cubicBezTo>
                    <a:pt x="503" y="938"/>
                    <a:pt x="480" y="938"/>
                    <a:pt x="480" y="938"/>
                  </a:cubicBezTo>
                  <a:cubicBezTo>
                    <a:pt x="478" y="924"/>
                    <a:pt x="478" y="924"/>
                    <a:pt x="478" y="924"/>
                  </a:cubicBezTo>
                  <a:cubicBezTo>
                    <a:pt x="478" y="924"/>
                    <a:pt x="470" y="915"/>
                    <a:pt x="477" y="907"/>
                  </a:cubicBezTo>
                  <a:cubicBezTo>
                    <a:pt x="484" y="899"/>
                    <a:pt x="494" y="934"/>
                    <a:pt x="494" y="934"/>
                  </a:cubicBezTo>
                  <a:cubicBezTo>
                    <a:pt x="502" y="933"/>
                    <a:pt x="502" y="933"/>
                    <a:pt x="502" y="933"/>
                  </a:cubicBezTo>
                  <a:cubicBezTo>
                    <a:pt x="497" y="919"/>
                    <a:pt x="497" y="919"/>
                    <a:pt x="497" y="919"/>
                  </a:cubicBezTo>
                  <a:cubicBezTo>
                    <a:pt x="551" y="926"/>
                    <a:pt x="551" y="926"/>
                    <a:pt x="551" y="926"/>
                  </a:cubicBezTo>
                  <a:cubicBezTo>
                    <a:pt x="554" y="920"/>
                    <a:pt x="554" y="920"/>
                    <a:pt x="554" y="920"/>
                  </a:cubicBezTo>
                  <a:cubicBezTo>
                    <a:pt x="554" y="920"/>
                    <a:pt x="567" y="912"/>
                    <a:pt x="595" y="909"/>
                  </a:cubicBezTo>
                  <a:cubicBezTo>
                    <a:pt x="624" y="906"/>
                    <a:pt x="676" y="881"/>
                    <a:pt x="676" y="881"/>
                  </a:cubicBezTo>
                  <a:cubicBezTo>
                    <a:pt x="673" y="855"/>
                    <a:pt x="673" y="855"/>
                    <a:pt x="673" y="855"/>
                  </a:cubicBezTo>
                  <a:cubicBezTo>
                    <a:pt x="688" y="847"/>
                    <a:pt x="688" y="847"/>
                    <a:pt x="688" y="847"/>
                  </a:cubicBezTo>
                  <a:cubicBezTo>
                    <a:pt x="696" y="814"/>
                    <a:pt x="696" y="814"/>
                    <a:pt x="696" y="814"/>
                  </a:cubicBezTo>
                  <a:cubicBezTo>
                    <a:pt x="689" y="797"/>
                    <a:pt x="689" y="797"/>
                    <a:pt x="689" y="797"/>
                  </a:cubicBezTo>
                  <a:cubicBezTo>
                    <a:pt x="689" y="779"/>
                    <a:pt x="689" y="779"/>
                    <a:pt x="689" y="779"/>
                  </a:cubicBezTo>
                  <a:cubicBezTo>
                    <a:pt x="689" y="779"/>
                    <a:pt x="678" y="770"/>
                    <a:pt x="667" y="766"/>
                  </a:cubicBezTo>
                  <a:cubicBezTo>
                    <a:pt x="661" y="764"/>
                    <a:pt x="654" y="769"/>
                    <a:pt x="649" y="765"/>
                  </a:cubicBezTo>
                  <a:cubicBezTo>
                    <a:pt x="641" y="759"/>
                    <a:pt x="655" y="753"/>
                    <a:pt x="658" y="748"/>
                  </a:cubicBezTo>
                  <a:cubicBezTo>
                    <a:pt x="662" y="741"/>
                    <a:pt x="657" y="735"/>
                    <a:pt x="657" y="727"/>
                  </a:cubicBezTo>
                  <a:cubicBezTo>
                    <a:pt x="657" y="712"/>
                    <a:pt x="624" y="707"/>
                    <a:pt x="601" y="696"/>
                  </a:cubicBezTo>
                  <a:cubicBezTo>
                    <a:pt x="578" y="685"/>
                    <a:pt x="578" y="674"/>
                    <a:pt x="588" y="660"/>
                  </a:cubicBezTo>
                  <a:cubicBezTo>
                    <a:pt x="589" y="659"/>
                    <a:pt x="589" y="658"/>
                    <a:pt x="590" y="658"/>
                  </a:cubicBezTo>
                  <a:cubicBezTo>
                    <a:pt x="570" y="633"/>
                    <a:pt x="570" y="633"/>
                    <a:pt x="570" y="633"/>
                  </a:cubicBezTo>
                  <a:cubicBezTo>
                    <a:pt x="570" y="601"/>
                    <a:pt x="570" y="601"/>
                    <a:pt x="570" y="601"/>
                  </a:cubicBezTo>
                  <a:cubicBezTo>
                    <a:pt x="570" y="601"/>
                    <a:pt x="593" y="600"/>
                    <a:pt x="594" y="595"/>
                  </a:cubicBezTo>
                  <a:cubicBezTo>
                    <a:pt x="595" y="590"/>
                    <a:pt x="575" y="567"/>
                    <a:pt x="575" y="567"/>
                  </a:cubicBezTo>
                  <a:cubicBezTo>
                    <a:pt x="582" y="557"/>
                    <a:pt x="582" y="557"/>
                    <a:pt x="582" y="557"/>
                  </a:cubicBezTo>
                  <a:cubicBezTo>
                    <a:pt x="582" y="557"/>
                    <a:pt x="569" y="545"/>
                    <a:pt x="568" y="536"/>
                  </a:cubicBezTo>
                  <a:cubicBezTo>
                    <a:pt x="567" y="527"/>
                    <a:pt x="586" y="528"/>
                    <a:pt x="586" y="528"/>
                  </a:cubicBezTo>
                  <a:cubicBezTo>
                    <a:pt x="569" y="518"/>
                    <a:pt x="569" y="518"/>
                    <a:pt x="569" y="518"/>
                  </a:cubicBezTo>
                  <a:cubicBezTo>
                    <a:pt x="569" y="491"/>
                    <a:pt x="569" y="491"/>
                    <a:pt x="569" y="491"/>
                  </a:cubicBezTo>
                  <a:cubicBezTo>
                    <a:pt x="587" y="484"/>
                    <a:pt x="587" y="484"/>
                    <a:pt x="587" y="484"/>
                  </a:cubicBezTo>
                  <a:cubicBezTo>
                    <a:pt x="587" y="484"/>
                    <a:pt x="566" y="471"/>
                    <a:pt x="566" y="467"/>
                  </a:cubicBezTo>
                  <a:cubicBezTo>
                    <a:pt x="566" y="463"/>
                    <a:pt x="580" y="452"/>
                    <a:pt x="580" y="452"/>
                  </a:cubicBezTo>
                  <a:cubicBezTo>
                    <a:pt x="580" y="452"/>
                    <a:pt x="584" y="435"/>
                    <a:pt x="584" y="429"/>
                  </a:cubicBezTo>
                  <a:cubicBezTo>
                    <a:pt x="584" y="423"/>
                    <a:pt x="599" y="424"/>
                    <a:pt x="604" y="419"/>
                  </a:cubicBezTo>
                  <a:cubicBezTo>
                    <a:pt x="609" y="414"/>
                    <a:pt x="612" y="399"/>
                    <a:pt x="612" y="396"/>
                  </a:cubicBezTo>
                  <a:cubicBezTo>
                    <a:pt x="612" y="393"/>
                    <a:pt x="621" y="388"/>
                    <a:pt x="626" y="383"/>
                  </a:cubicBezTo>
                  <a:cubicBezTo>
                    <a:pt x="631" y="378"/>
                    <a:pt x="634" y="355"/>
                    <a:pt x="634" y="355"/>
                  </a:cubicBezTo>
                  <a:close/>
                  <a:moveTo>
                    <a:pt x="619" y="681"/>
                  </a:moveTo>
                  <a:cubicBezTo>
                    <a:pt x="624" y="681"/>
                    <a:pt x="624" y="681"/>
                    <a:pt x="624" y="681"/>
                  </a:cubicBezTo>
                  <a:cubicBezTo>
                    <a:pt x="617" y="677"/>
                    <a:pt x="617" y="677"/>
                    <a:pt x="617" y="677"/>
                  </a:cubicBezTo>
                  <a:cubicBezTo>
                    <a:pt x="617" y="677"/>
                    <a:pt x="617" y="677"/>
                    <a:pt x="617" y="677"/>
                  </a:cubicBezTo>
                  <a:cubicBezTo>
                    <a:pt x="618" y="679"/>
                    <a:pt x="619" y="681"/>
                    <a:pt x="619" y="68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07" name="Freeform 23"/>
            <p:cNvSpPr>
              <a:spLocks noEditPoints="1"/>
            </p:cNvSpPr>
            <p:nvPr/>
          </p:nvSpPr>
          <p:spPr bwMode="auto">
            <a:xfrm>
              <a:off x="1211" y="2721"/>
              <a:ext cx="107" cy="134"/>
            </a:xfrm>
            <a:custGeom>
              <a:avLst/>
              <a:gdLst>
                <a:gd name="T0" fmla="*/ 0 w 280"/>
                <a:gd name="T1" fmla="*/ 0 h 353"/>
                <a:gd name="T2" fmla="*/ 0 w 280"/>
                <a:gd name="T3" fmla="*/ 0 h 353"/>
                <a:gd name="T4" fmla="*/ 0 w 280"/>
                <a:gd name="T5" fmla="*/ 0 h 353"/>
                <a:gd name="T6" fmla="*/ 0 w 280"/>
                <a:gd name="T7" fmla="*/ 0 h 353"/>
                <a:gd name="T8" fmla="*/ 0 w 280"/>
                <a:gd name="T9" fmla="*/ 0 h 353"/>
                <a:gd name="T10" fmla="*/ 0 w 280"/>
                <a:gd name="T11" fmla="*/ 0 h 353"/>
                <a:gd name="T12" fmla="*/ 0 w 280"/>
                <a:gd name="T13" fmla="*/ 0 h 353"/>
                <a:gd name="T14" fmla="*/ 0 w 280"/>
                <a:gd name="T15" fmla="*/ 0 h 353"/>
                <a:gd name="T16" fmla="*/ 0 w 280"/>
                <a:gd name="T17" fmla="*/ 0 h 353"/>
                <a:gd name="T18" fmla="*/ 0 w 280"/>
                <a:gd name="T19" fmla="*/ 0 h 353"/>
                <a:gd name="T20" fmla="*/ 0 w 280"/>
                <a:gd name="T21" fmla="*/ 0 h 353"/>
                <a:gd name="T22" fmla="*/ 0 w 280"/>
                <a:gd name="T23" fmla="*/ 0 h 353"/>
                <a:gd name="T24" fmla="*/ 0 w 280"/>
                <a:gd name="T25" fmla="*/ 0 h 353"/>
                <a:gd name="T26" fmla="*/ 0 w 280"/>
                <a:gd name="T27" fmla="*/ 0 h 353"/>
                <a:gd name="T28" fmla="*/ 0 w 280"/>
                <a:gd name="T29" fmla="*/ 0 h 353"/>
                <a:gd name="T30" fmla="*/ 0 w 280"/>
                <a:gd name="T31" fmla="*/ 0 h 353"/>
                <a:gd name="T32" fmla="*/ 0 w 280"/>
                <a:gd name="T33" fmla="*/ 0 h 353"/>
                <a:gd name="T34" fmla="*/ 0 w 280"/>
                <a:gd name="T35" fmla="*/ 0 h 353"/>
                <a:gd name="T36" fmla="*/ 0 w 280"/>
                <a:gd name="T37" fmla="*/ 0 h 353"/>
                <a:gd name="T38" fmla="*/ 0 w 280"/>
                <a:gd name="T39" fmla="*/ 0 h 353"/>
                <a:gd name="T40" fmla="*/ 0 w 280"/>
                <a:gd name="T41" fmla="*/ 0 h 353"/>
                <a:gd name="T42" fmla="*/ 0 w 280"/>
                <a:gd name="T43" fmla="*/ 0 h 353"/>
                <a:gd name="T44" fmla="*/ 0 w 280"/>
                <a:gd name="T45" fmla="*/ 0 h 353"/>
                <a:gd name="T46" fmla="*/ 0 w 280"/>
                <a:gd name="T47" fmla="*/ 0 h 353"/>
                <a:gd name="T48" fmla="*/ 0 w 280"/>
                <a:gd name="T49" fmla="*/ 0 h 353"/>
                <a:gd name="T50" fmla="*/ 0 w 280"/>
                <a:gd name="T51" fmla="*/ 0 h 353"/>
                <a:gd name="T52" fmla="*/ 0 w 280"/>
                <a:gd name="T53" fmla="*/ 0 h 353"/>
                <a:gd name="T54" fmla="*/ 0 w 280"/>
                <a:gd name="T55" fmla="*/ 0 h 353"/>
                <a:gd name="T56" fmla="*/ 0 w 280"/>
                <a:gd name="T57" fmla="*/ 0 h 353"/>
                <a:gd name="T58" fmla="*/ 0 w 280"/>
                <a:gd name="T59" fmla="*/ 0 h 353"/>
                <a:gd name="T60" fmla="*/ 0 w 280"/>
                <a:gd name="T61" fmla="*/ 0 h 353"/>
                <a:gd name="T62" fmla="*/ 0 w 280"/>
                <a:gd name="T63" fmla="*/ 0 h 353"/>
                <a:gd name="T64" fmla="*/ 0 w 280"/>
                <a:gd name="T65" fmla="*/ 0 h 353"/>
                <a:gd name="T66" fmla="*/ 0 w 280"/>
                <a:gd name="T67" fmla="*/ 0 h 353"/>
                <a:gd name="T68" fmla="*/ 0 w 280"/>
                <a:gd name="T69" fmla="*/ 0 h 353"/>
                <a:gd name="T70" fmla="*/ 0 w 280"/>
                <a:gd name="T71" fmla="*/ 0 h 353"/>
                <a:gd name="T72" fmla="*/ 0 w 280"/>
                <a:gd name="T73" fmla="*/ 0 h 353"/>
                <a:gd name="T74" fmla="*/ 0 w 280"/>
                <a:gd name="T75" fmla="*/ 0 h 353"/>
                <a:gd name="T76" fmla="*/ 0 w 280"/>
                <a:gd name="T77" fmla="*/ 0 h 353"/>
                <a:gd name="T78" fmla="*/ 0 w 280"/>
                <a:gd name="T79" fmla="*/ 0 h 353"/>
                <a:gd name="T80" fmla="*/ 0 w 280"/>
                <a:gd name="T81" fmla="*/ 0 h 353"/>
                <a:gd name="T82" fmla="*/ 0 w 280"/>
                <a:gd name="T83" fmla="*/ 0 h 353"/>
                <a:gd name="T84" fmla="*/ 0 w 280"/>
                <a:gd name="T85" fmla="*/ 0 h 353"/>
                <a:gd name="T86" fmla="*/ 0 w 280"/>
                <a:gd name="T87" fmla="*/ 0 h 353"/>
                <a:gd name="T88" fmla="*/ 0 w 280"/>
                <a:gd name="T89" fmla="*/ 0 h 353"/>
                <a:gd name="T90" fmla="*/ 0 w 280"/>
                <a:gd name="T91" fmla="*/ 0 h 353"/>
                <a:gd name="T92" fmla="*/ 0 w 280"/>
                <a:gd name="T93" fmla="*/ 0 h 353"/>
                <a:gd name="T94" fmla="*/ 0 w 280"/>
                <a:gd name="T95" fmla="*/ 0 h 353"/>
                <a:gd name="T96" fmla="*/ 0 w 280"/>
                <a:gd name="T97" fmla="*/ 0 h 353"/>
                <a:gd name="T98" fmla="*/ 0 w 280"/>
                <a:gd name="T99" fmla="*/ 0 h 353"/>
                <a:gd name="T100" fmla="*/ 0 w 280"/>
                <a:gd name="T101" fmla="*/ 0 h 353"/>
                <a:gd name="T102" fmla="*/ 0 w 280"/>
                <a:gd name="T103" fmla="*/ 0 h 353"/>
                <a:gd name="T104" fmla="*/ 0 w 280"/>
                <a:gd name="T105" fmla="*/ 0 h 353"/>
                <a:gd name="T106" fmla="*/ 0 w 280"/>
                <a:gd name="T107" fmla="*/ 0 h 353"/>
                <a:gd name="T108" fmla="*/ 0 w 280"/>
                <a:gd name="T109" fmla="*/ 0 h 35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80"/>
                <a:gd name="T166" fmla="*/ 0 h 353"/>
                <a:gd name="T167" fmla="*/ 280 w 280"/>
                <a:gd name="T168" fmla="*/ 353 h 35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80" h="353">
                  <a:moveTo>
                    <a:pt x="42" y="249"/>
                  </a:moveTo>
                  <a:cubicBezTo>
                    <a:pt x="57" y="245"/>
                    <a:pt x="59" y="225"/>
                    <a:pt x="49" y="229"/>
                  </a:cubicBezTo>
                  <a:cubicBezTo>
                    <a:pt x="40" y="233"/>
                    <a:pt x="34" y="250"/>
                    <a:pt x="42" y="249"/>
                  </a:cubicBezTo>
                  <a:close/>
                  <a:moveTo>
                    <a:pt x="277" y="114"/>
                  </a:moveTo>
                  <a:cubicBezTo>
                    <a:pt x="261" y="102"/>
                    <a:pt x="261" y="102"/>
                    <a:pt x="261" y="102"/>
                  </a:cubicBezTo>
                  <a:cubicBezTo>
                    <a:pt x="261" y="102"/>
                    <a:pt x="272" y="102"/>
                    <a:pt x="271" y="84"/>
                  </a:cubicBezTo>
                  <a:cubicBezTo>
                    <a:pt x="265" y="83"/>
                    <a:pt x="258" y="83"/>
                    <a:pt x="252" y="83"/>
                  </a:cubicBezTo>
                  <a:cubicBezTo>
                    <a:pt x="239" y="82"/>
                    <a:pt x="247" y="64"/>
                    <a:pt x="230" y="61"/>
                  </a:cubicBezTo>
                  <a:cubicBezTo>
                    <a:pt x="213" y="58"/>
                    <a:pt x="225" y="71"/>
                    <a:pt x="218" y="73"/>
                  </a:cubicBezTo>
                  <a:cubicBezTo>
                    <a:pt x="211" y="75"/>
                    <a:pt x="195" y="65"/>
                    <a:pt x="195" y="65"/>
                  </a:cubicBezTo>
                  <a:cubicBezTo>
                    <a:pt x="195" y="65"/>
                    <a:pt x="184" y="70"/>
                    <a:pt x="175" y="64"/>
                  </a:cubicBezTo>
                  <a:cubicBezTo>
                    <a:pt x="166" y="58"/>
                    <a:pt x="173" y="51"/>
                    <a:pt x="163" y="43"/>
                  </a:cubicBezTo>
                  <a:cubicBezTo>
                    <a:pt x="153" y="35"/>
                    <a:pt x="140" y="40"/>
                    <a:pt x="140" y="40"/>
                  </a:cubicBezTo>
                  <a:cubicBezTo>
                    <a:pt x="140" y="40"/>
                    <a:pt x="132" y="28"/>
                    <a:pt x="121" y="22"/>
                  </a:cubicBezTo>
                  <a:cubicBezTo>
                    <a:pt x="113" y="19"/>
                    <a:pt x="103" y="6"/>
                    <a:pt x="98" y="0"/>
                  </a:cubicBezTo>
                  <a:cubicBezTo>
                    <a:pt x="99" y="10"/>
                    <a:pt x="105" y="14"/>
                    <a:pt x="101" y="23"/>
                  </a:cubicBezTo>
                  <a:cubicBezTo>
                    <a:pt x="98" y="32"/>
                    <a:pt x="68" y="37"/>
                    <a:pt x="68" y="3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7"/>
                    <a:pt x="46" y="38"/>
                    <a:pt x="44" y="46"/>
                  </a:cubicBezTo>
                  <a:cubicBezTo>
                    <a:pt x="41" y="54"/>
                    <a:pt x="51" y="64"/>
                    <a:pt x="49" y="77"/>
                  </a:cubicBezTo>
                  <a:cubicBezTo>
                    <a:pt x="48" y="90"/>
                    <a:pt x="35" y="89"/>
                    <a:pt x="31" y="97"/>
                  </a:cubicBezTo>
                  <a:cubicBezTo>
                    <a:pt x="26" y="105"/>
                    <a:pt x="39" y="119"/>
                    <a:pt x="39" y="119"/>
                  </a:cubicBezTo>
                  <a:cubicBezTo>
                    <a:pt x="27" y="119"/>
                    <a:pt x="27" y="119"/>
                    <a:pt x="27" y="119"/>
                  </a:cubicBezTo>
                  <a:cubicBezTo>
                    <a:pt x="26" y="130"/>
                    <a:pt x="26" y="130"/>
                    <a:pt x="26" y="130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3"/>
                    <a:pt x="19" y="176"/>
                    <a:pt x="18" y="187"/>
                  </a:cubicBezTo>
                  <a:cubicBezTo>
                    <a:pt x="16" y="198"/>
                    <a:pt x="3" y="201"/>
                    <a:pt x="3" y="201"/>
                  </a:cubicBezTo>
                  <a:cubicBezTo>
                    <a:pt x="12" y="207"/>
                    <a:pt x="12" y="207"/>
                    <a:pt x="12" y="207"/>
                  </a:cubicBezTo>
                  <a:cubicBezTo>
                    <a:pt x="12" y="207"/>
                    <a:pt x="0" y="221"/>
                    <a:pt x="22" y="228"/>
                  </a:cubicBezTo>
                  <a:cubicBezTo>
                    <a:pt x="45" y="235"/>
                    <a:pt x="48" y="214"/>
                    <a:pt x="48" y="214"/>
                  </a:cubicBezTo>
                  <a:cubicBezTo>
                    <a:pt x="65" y="219"/>
                    <a:pt x="65" y="219"/>
                    <a:pt x="65" y="219"/>
                  </a:cubicBezTo>
                  <a:cubicBezTo>
                    <a:pt x="73" y="227"/>
                    <a:pt x="64" y="246"/>
                    <a:pt x="61" y="258"/>
                  </a:cubicBezTo>
                  <a:cubicBezTo>
                    <a:pt x="59" y="270"/>
                    <a:pt x="36" y="271"/>
                    <a:pt x="36" y="271"/>
                  </a:cubicBezTo>
                  <a:cubicBezTo>
                    <a:pt x="36" y="271"/>
                    <a:pt x="60" y="277"/>
                    <a:pt x="51" y="286"/>
                  </a:cubicBezTo>
                  <a:cubicBezTo>
                    <a:pt x="43" y="295"/>
                    <a:pt x="30" y="307"/>
                    <a:pt x="30" y="307"/>
                  </a:cubicBezTo>
                  <a:cubicBezTo>
                    <a:pt x="40" y="315"/>
                    <a:pt x="40" y="315"/>
                    <a:pt x="40" y="315"/>
                  </a:cubicBezTo>
                  <a:cubicBezTo>
                    <a:pt x="40" y="315"/>
                    <a:pt x="24" y="324"/>
                    <a:pt x="33" y="329"/>
                  </a:cubicBezTo>
                  <a:cubicBezTo>
                    <a:pt x="43" y="333"/>
                    <a:pt x="53" y="315"/>
                    <a:pt x="53" y="315"/>
                  </a:cubicBezTo>
                  <a:cubicBezTo>
                    <a:pt x="62" y="326"/>
                    <a:pt x="62" y="326"/>
                    <a:pt x="62" y="326"/>
                  </a:cubicBezTo>
                  <a:cubicBezTo>
                    <a:pt x="62" y="326"/>
                    <a:pt x="75" y="320"/>
                    <a:pt x="81" y="324"/>
                  </a:cubicBezTo>
                  <a:cubicBezTo>
                    <a:pt x="86" y="329"/>
                    <a:pt x="82" y="353"/>
                    <a:pt x="96" y="353"/>
                  </a:cubicBezTo>
                  <a:cubicBezTo>
                    <a:pt x="109" y="353"/>
                    <a:pt x="104" y="342"/>
                    <a:pt x="108" y="339"/>
                  </a:cubicBezTo>
                  <a:cubicBezTo>
                    <a:pt x="112" y="337"/>
                    <a:pt x="121" y="335"/>
                    <a:pt x="121" y="335"/>
                  </a:cubicBezTo>
                  <a:cubicBezTo>
                    <a:pt x="121" y="335"/>
                    <a:pt x="124" y="308"/>
                    <a:pt x="125" y="299"/>
                  </a:cubicBezTo>
                  <a:cubicBezTo>
                    <a:pt x="127" y="289"/>
                    <a:pt x="135" y="284"/>
                    <a:pt x="135" y="284"/>
                  </a:cubicBezTo>
                  <a:cubicBezTo>
                    <a:pt x="132" y="272"/>
                    <a:pt x="132" y="272"/>
                    <a:pt x="132" y="272"/>
                  </a:cubicBezTo>
                  <a:cubicBezTo>
                    <a:pt x="140" y="269"/>
                    <a:pt x="140" y="269"/>
                    <a:pt x="140" y="269"/>
                  </a:cubicBezTo>
                  <a:cubicBezTo>
                    <a:pt x="140" y="269"/>
                    <a:pt x="140" y="262"/>
                    <a:pt x="154" y="251"/>
                  </a:cubicBezTo>
                  <a:cubicBezTo>
                    <a:pt x="167" y="240"/>
                    <a:pt x="188" y="240"/>
                    <a:pt x="211" y="226"/>
                  </a:cubicBezTo>
                  <a:cubicBezTo>
                    <a:pt x="234" y="211"/>
                    <a:pt x="262" y="170"/>
                    <a:pt x="262" y="170"/>
                  </a:cubicBezTo>
                  <a:cubicBezTo>
                    <a:pt x="270" y="141"/>
                    <a:pt x="270" y="141"/>
                    <a:pt x="270" y="141"/>
                  </a:cubicBezTo>
                  <a:cubicBezTo>
                    <a:pt x="280" y="136"/>
                    <a:pt x="280" y="136"/>
                    <a:pt x="280" y="136"/>
                  </a:cubicBezTo>
                  <a:lnTo>
                    <a:pt x="277" y="114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08" name="Freeform 24"/>
            <p:cNvSpPr>
              <a:spLocks/>
            </p:cNvSpPr>
            <p:nvPr/>
          </p:nvSpPr>
          <p:spPr bwMode="auto">
            <a:xfrm>
              <a:off x="4102" y="2554"/>
              <a:ext cx="51" cy="87"/>
            </a:xfrm>
            <a:custGeom>
              <a:avLst/>
              <a:gdLst>
                <a:gd name="T0" fmla="*/ 0 w 136"/>
                <a:gd name="T1" fmla="*/ 0 h 228"/>
                <a:gd name="T2" fmla="*/ 0 w 136"/>
                <a:gd name="T3" fmla="*/ 0 h 228"/>
                <a:gd name="T4" fmla="*/ 0 w 136"/>
                <a:gd name="T5" fmla="*/ 0 h 228"/>
                <a:gd name="T6" fmla="*/ 0 w 136"/>
                <a:gd name="T7" fmla="*/ 0 h 228"/>
                <a:gd name="T8" fmla="*/ 0 w 136"/>
                <a:gd name="T9" fmla="*/ 0 h 228"/>
                <a:gd name="T10" fmla="*/ 0 w 136"/>
                <a:gd name="T11" fmla="*/ 0 h 228"/>
                <a:gd name="T12" fmla="*/ 0 w 136"/>
                <a:gd name="T13" fmla="*/ 0 h 228"/>
                <a:gd name="T14" fmla="*/ 0 w 136"/>
                <a:gd name="T15" fmla="*/ 0 h 228"/>
                <a:gd name="T16" fmla="*/ 0 w 136"/>
                <a:gd name="T17" fmla="*/ 0 h 228"/>
                <a:gd name="T18" fmla="*/ 0 w 136"/>
                <a:gd name="T19" fmla="*/ 0 h 228"/>
                <a:gd name="T20" fmla="*/ 0 w 136"/>
                <a:gd name="T21" fmla="*/ 0 h 228"/>
                <a:gd name="T22" fmla="*/ 0 w 136"/>
                <a:gd name="T23" fmla="*/ 0 h 228"/>
                <a:gd name="T24" fmla="*/ 0 w 136"/>
                <a:gd name="T25" fmla="*/ 0 h 2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36"/>
                <a:gd name="T40" fmla="*/ 0 h 228"/>
                <a:gd name="T41" fmla="*/ 136 w 136"/>
                <a:gd name="T42" fmla="*/ 228 h 2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36" h="228">
                  <a:moveTo>
                    <a:pt x="19" y="9"/>
                  </a:moveTo>
                  <a:cubicBezTo>
                    <a:pt x="35" y="0"/>
                    <a:pt x="46" y="7"/>
                    <a:pt x="62" y="29"/>
                  </a:cubicBezTo>
                  <a:cubicBezTo>
                    <a:pt x="78" y="50"/>
                    <a:pt x="91" y="65"/>
                    <a:pt x="91" y="6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105" y="120"/>
                    <a:pt x="136" y="176"/>
                    <a:pt x="105" y="190"/>
                  </a:cubicBezTo>
                  <a:cubicBezTo>
                    <a:pt x="75" y="204"/>
                    <a:pt x="37" y="228"/>
                    <a:pt x="19" y="194"/>
                  </a:cubicBezTo>
                  <a:cubicBezTo>
                    <a:pt x="1" y="160"/>
                    <a:pt x="0" y="106"/>
                    <a:pt x="10" y="99"/>
                  </a:cubicBezTo>
                  <a:cubicBezTo>
                    <a:pt x="21" y="91"/>
                    <a:pt x="25" y="59"/>
                    <a:pt x="25" y="5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18" y="32"/>
                    <a:pt x="18" y="32"/>
                    <a:pt x="18" y="32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09" name="Freeform 25"/>
            <p:cNvSpPr>
              <a:spLocks noEditPoints="1"/>
            </p:cNvSpPr>
            <p:nvPr/>
          </p:nvSpPr>
          <p:spPr bwMode="auto">
            <a:xfrm>
              <a:off x="4773" y="2372"/>
              <a:ext cx="184" cy="303"/>
            </a:xfrm>
            <a:custGeom>
              <a:avLst/>
              <a:gdLst>
                <a:gd name="T0" fmla="*/ 0 w 487"/>
                <a:gd name="T1" fmla="*/ 0 h 801"/>
                <a:gd name="T2" fmla="*/ 0 w 487"/>
                <a:gd name="T3" fmla="*/ 0 h 801"/>
                <a:gd name="T4" fmla="*/ 0 w 487"/>
                <a:gd name="T5" fmla="*/ 0 h 801"/>
                <a:gd name="T6" fmla="*/ 0 w 487"/>
                <a:gd name="T7" fmla="*/ 0 h 801"/>
                <a:gd name="T8" fmla="*/ 0 w 487"/>
                <a:gd name="T9" fmla="*/ 0 h 801"/>
                <a:gd name="T10" fmla="*/ 0 w 487"/>
                <a:gd name="T11" fmla="*/ 0 h 801"/>
                <a:gd name="T12" fmla="*/ 0 w 487"/>
                <a:gd name="T13" fmla="*/ 0 h 801"/>
                <a:gd name="T14" fmla="*/ 0 w 487"/>
                <a:gd name="T15" fmla="*/ 0 h 801"/>
                <a:gd name="T16" fmla="*/ 0 w 487"/>
                <a:gd name="T17" fmla="*/ 0 h 801"/>
                <a:gd name="T18" fmla="*/ 0 w 487"/>
                <a:gd name="T19" fmla="*/ 0 h 801"/>
                <a:gd name="T20" fmla="*/ 0 w 487"/>
                <a:gd name="T21" fmla="*/ 0 h 801"/>
                <a:gd name="T22" fmla="*/ 0 w 487"/>
                <a:gd name="T23" fmla="*/ 0 h 801"/>
                <a:gd name="T24" fmla="*/ 0 w 487"/>
                <a:gd name="T25" fmla="*/ 0 h 801"/>
                <a:gd name="T26" fmla="*/ 0 w 487"/>
                <a:gd name="T27" fmla="*/ 0 h 801"/>
                <a:gd name="T28" fmla="*/ 0 w 487"/>
                <a:gd name="T29" fmla="*/ 0 h 801"/>
                <a:gd name="T30" fmla="*/ 0 w 487"/>
                <a:gd name="T31" fmla="*/ 0 h 801"/>
                <a:gd name="T32" fmla="*/ 0 w 487"/>
                <a:gd name="T33" fmla="*/ 0 h 801"/>
                <a:gd name="T34" fmla="*/ 0 w 487"/>
                <a:gd name="T35" fmla="*/ 0 h 801"/>
                <a:gd name="T36" fmla="*/ 0 w 487"/>
                <a:gd name="T37" fmla="*/ 0 h 801"/>
                <a:gd name="T38" fmla="*/ 0 w 487"/>
                <a:gd name="T39" fmla="*/ 0 h 801"/>
                <a:gd name="T40" fmla="*/ 0 w 487"/>
                <a:gd name="T41" fmla="*/ 0 h 801"/>
                <a:gd name="T42" fmla="*/ 0 w 487"/>
                <a:gd name="T43" fmla="*/ 0 h 801"/>
                <a:gd name="T44" fmla="*/ 0 w 487"/>
                <a:gd name="T45" fmla="*/ 0 h 801"/>
                <a:gd name="T46" fmla="*/ 0 w 487"/>
                <a:gd name="T47" fmla="*/ 0 h 801"/>
                <a:gd name="T48" fmla="*/ 0 w 487"/>
                <a:gd name="T49" fmla="*/ 0 h 801"/>
                <a:gd name="T50" fmla="*/ 0 w 487"/>
                <a:gd name="T51" fmla="*/ 0 h 801"/>
                <a:gd name="T52" fmla="*/ 0 w 487"/>
                <a:gd name="T53" fmla="*/ 0 h 801"/>
                <a:gd name="T54" fmla="*/ 0 w 487"/>
                <a:gd name="T55" fmla="*/ 0 h 801"/>
                <a:gd name="T56" fmla="*/ 0 w 487"/>
                <a:gd name="T57" fmla="*/ 0 h 801"/>
                <a:gd name="T58" fmla="*/ 0 w 487"/>
                <a:gd name="T59" fmla="*/ 0 h 801"/>
                <a:gd name="T60" fmla="*/ 0 w 487"/>
                <a:gd name="T61" fmla="*/ 0 h 801"/>
                <a:gd name="T62" fmla="*/ 0 w 487"/>
                <a:gd name="T63" fmla="*/ 0 h 801"/>
                <a:gd name="T64" fmla="*/ 0 w 487"/>
                <a:gd name="T65" fmla="*/ 0 h 801"/>
                <a:gd name="T66" fmla="*/ 0 w 487"/>
                <a:gd name="T67" fmla="*/ 0 h 801"/>
                <a:gd name="T68" fmla="*/ 0 w 487"/>
                <a:gd name="T69" fmla="*/ 0 h 801"/>
                <a:gd name="T70" fmla="*/ 0 w 487"/>
                <a:gd name="T71" fmla="*/ 0 h 801"/>
                <a:gd name="T72" fmla="*/ 0 w 487"/>
                <a:gd name="T73" fmla="*/ 0 h 801"/>
                <a:gd name="T74" fmla="*/ 0 w 487"/>
                <a:gd name="T75" fmla="*/ 0 h 801"/>
                <a:gd name="T76" fmla="*/ 0 w 487"/>
                <a:gd name="T77" fmla="*/ 0 h 801"/>
                <a:gd name="T78" fmla="*/ 0 w 487"/>
                <a:gd name="T79" fmla="*/ 0 h 801"/>
                <a:gd name="T80" fmla="*/ 0 w 487"/>
                <a:gd name="T81" fmla="*/ 0 h 801"/>
                <a:gd name="T82" fmla="*/ 0 w 487"/>
                <a:gd name="T83" fmla="*/ 0 h 801"/>
                <a:gd name="T84" fmla="*/ 0 w 487"/>
                <a:gd name="T85" fmla="*/ 0 h 801"/>
                <a:gd name="T86" fmla="*/ 0 w 487"/>
                <a:gd name="T87" fmla="*/ 0 h 801"/>
                <a:gd name="T88" fmla="*/ 0 w 487"/>
                <a:gd name="T89" fmla="*/ 0 h 801"/>
                <a:gd name="T90" fmla="*/ 0 w 487"/>
                <a:gd name="T91" fmla="*/ 0 h 801"/>
                <a:gd name="T92" fmla="*/ 0 w 487"/>
                <a:gd name="T93" fmla="*/ 0 h 801"/>
                <a:gd name="T94" fmla="*/ 0 w 487"/>
                <a:gd name="T95" fmla="*/ 0 h 801"/>
                <a:gd name="T96" fmla="*/ 0 w 487"/>
                <a:gd name="T97" fmla="*/ 0 h 801"/>
                <a:gd name="T98" fmla="*/ 0 w 487"/>
                <a:gd name="T99" fmla="*/ 0 h 801"/>
                <a:gd name="T100" fmla="*/ 0 w 487"/>
                <a:gd name="T101" fmla="*/ 0 h 801"/>
                <a:gd name="T102" fmla="*/ 0 w 487"/>
                <a:gd name="T103" fmla="*/ 0 h 80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7"/>
                <a:gd name="T157" fmla="*/ 0 h 801"/>
                <a:gd name="T158" fmla="*/ 487 w 487"/>
                <a:gd name="T159" fmla="*/ 801 h 80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7" h="801">
                  <a:moveTo>
                    <a:pt x="476" y="763"/>
                  </a:moveTo>
                  <a:cubicBezTo>
                    <a:pt x="472" y="782"/>
                    <a:pt x="472" y="782"/>
                    <a:pt x="472" y="782"/>
                  </a:cubicBezTo>
                  <a:cubicBezTo>
                    <a:pt x="475" y="801"/>
                    <a:pt x="475" y="801"/>
                    <a:pt x="475" y="801"/>
                  </a:cubicBezTo>
                  <a:cubicBezTo>
                    <a:pt x="487" y="791"/>
                    <a:pt x="487" y="791"/>
                    <a:pt x="487" y="791"/>
                  </a:cubicBezTo>
                  <a:cubicBezTo>
                    <a:pt x="487" y="763"/>
                    <a:pt x="487" y="763"/>
                    <a:pt x="487" y="763"/>
                  </a:cubicBezTo>
                  <a:lnTo>
                    <a:pt x="476" y="763"/>
                  </a:lnTo>
                  <a:close/>
                  <a:moveTo>
                    <a:pt x="399" y="785"/>
                  </a:moveTo>
                  <a:cubicBezTo>
                    <a:pt x="410" y="763"/>
                    <a:pt x="410" y="763"/>
                    <a:pt x="410" y="763"/>
                  </a:cubicBezTo>
                  <a:cubicBezTo>
                    <a:pt x="395" y="758"/>
                    <a:pt x="395" y="758"/>
                    <a:pt x="395" y="758"/>
                  </a:cubicBezTo>
                  <a:lnTo>
                    <a:pt x="399" y="785"/>
                  </a:lnTo>
                  <a:close/>
                  <a:moveTo>
                    <a:pt x="175" y="693"/>
                  </a:moveTo>
                  <a:cubicBezTo>
                    <a:pt x="187" y="700"/>
                    <a:pt x="187" y="700"/>
                    <a:pt x="187" y="700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82" y="672"/>
                    <a:pt x="182" y="672"/>
                    <a:pt x="182" y="672"/>
                  </a:cubicBezTo>
                  <a:lnTo>
                    <a:pt x="175" y="693"/>
                  </a:lnTo>
                  <a:close/>
                  <a:moveTo>
                    <a:pt x="345" y="372"/>
                  </a:moveTo>
                  <a:cubicBezTo>
                    <a:pt x="370" y="385"/>
                    <a:pt x="370" y="385"/>
                    <a:pt x="370" y="385"/>
                  </a:cubicBezTo>
                  <a:cubicBezTo>
                    <a:pt x="370" y="401"/>
                    <a:pt x="346" y="393"/>
                    <a:pt x="346" y="393"/>
                  </a:cubicBezTo>
                  <a:cubicBezTo>
                    <a:pt x="389" y="427"/>
                    <a:pt x="389" y="427"/>
                    <a:pt x="389" y="427"/>
                  </a:cubicBezTo>
                  <a:cubicBezTo>
                    <a:pt x="391" y="413"/>
                    <a:pt x="391" y="413"/>
                    <a:pt x="391" y="413"/>
                  </a:cubicBezTo>
                  <a:cubicBezTo>
                    <a:pt x="408" y="418"/>
                    <a:pt x="408" y="418"/>
                    <a:pt x="408" y="418"/>
                  </a:cubicBezTo>
                  <a:cubicBezTo>
                    <a:pt x="394" y="395"/>
                    <a:pt x="394" y="395"/>
                    <a:pt x="394" y="395"/>
                  </a:cubicBezTo>
                  <a:cubicBezTo>
                    <a:pt x="394" y="395"/>
                    <a:pt x="391" y="370"/>
                    <a:pt x="379" y="357"/>
                  </a:cubicBezTo>
                  <a:cubicBezTo>
                    <a:pt x="367" y="344"/>
                    <a:pt x="328" y="321"/>
                    <a:pt x="321" y="337"/>
                  </a:cubicBezTo>
                  <a:cubicBezTo>
                    <a:pt x="312" y="357"/>
                    <a:pt x="345" y="372"/>
                    <a:pt x="345" y="372"/>
                  </a:cubicBezTo>
                  <a:close/>
                  <a:moveTo>
                    <a:pt x="318" y="445"/>
                  </a:moveTo>
                  <a:cubicBezTo>
                    <a:pt x="325" y="499"/>
                    <a:pt x="325" y="499"/>
                    <a:pt x="325" y="499"/>
                  </a:cubicBezTo>
                  <a:cubicBezTo>
                    <a:pt x="333" y="449"/>
                    <a:pt x="333" y="449"/>
                    <a:pt x="333" y="449"/>
                  </a:cubicBezTo>
                  <a:cubicBezTo>
                    <a:pt x="316" y="414"/>
                    <a:pt x="316" y="414"/>
                    <a:pt x="316" y="414"/>
                  </a:cubicBezTo>
                  <a:cubicBezTo>
                    <a:pt x="301" y="414"/>
                    <a:pt x="301" y="414"/>
                    <a:pt x="301" y="414"/>
                  </a:cubicBezTo>
                  <a:lnTo>
                    <a:pt x="318" y="445"/>
                  </a:lnTo>
                  <a:close/>
                  <a:moveTo>
                    <a:pt x="337" y="494"/>
                  </a:moveTo>
                  <a:cubicBezTo>
                    <a:pt x="358" y="492"/>
                    <a:pt x="358" y="492"/>
                    <a:pt x="358" y="492"/>
                  </a:cubicBezTo>
                  <a:cubicBezTo>
                    <a:pt x="361" y="475"/>
                    <a:pt x="361" y="475"/>
                    <a:pt x="361" y="475"/>
                  </a:cubicBezTo>
                  <a:cubicBezTo>
                    <a:pt x="343" y="469"/>
                    <a:pt x="343" y="469"/>
                    <a:pt x="343" y="469"/>
                  </a:cubicBezTo>
                  <a:lnTo>
                    <a:pt x="337" y="494"/>
                  </a:lnTo>
                  <a:close/>
                  <a:moveTo>
                    <a:pt x="391" y="441"/>
                  </a:moveTo>
                  <a:cubicBezTo>
                    <a:pt x="372" y="434"/>
                    <a:pt x="372" y="434"/>
                    <a:pt x="372" y="434"/>
                  </a:cubicBezTo>
                  <a:cubicBezTo>
                    <a:pt x="372" y="434"/>
                    <a:pt x="364" y="424"/>
                    <a:pt x="360" y="416"/>
                  </a:cubicBezTo>
                  <a:cubicBezTo>
                    <a:pt x="357" y="408"/>
                    <a:pt x="333" y="413"/>
                    <a:pt x="333" y="413"/>
                  </a:cubicBezTo>
                  <a:cubicBezTo>
                    <a:pt x="336" y="442"/>
                    <a:pt x="336" y="442"/>
                    <a:pt x="336" y="442"/>
                  </a:cubicBezTo>
                  <a:cubicBezTo>
                    <a:pt x="352" y="436"/>
                    <a:pt x="352" y="436"/>
                    <a:pt x="352" y="436"/>
                  </a:cubicBezTo>
                  <a:cubicBezTo>
                    <a:pt x="358" y="452"/>
                    <a:pt x="358" y="452"/>
                    <a:pt x="358" y="452"/>
                  </a:cubicBezTo>
                  <a:cubicBezTo>
                    <a:pt x="391" y="477"/>
                    <a:pt x="391" y="477"/>
                    <a:pt x="391" y="477"/>
                  </a:cubicBezTo>
                  <a:lnTo>
                    <a:pt x="391" y="441"/>
                  </a:lnTo>
                  <a:close/>
                  <a:moveTo>
                    <a:pt x="117" y="403"/>
                  </a:moveTo>
                  <a:cubicBezTo>
                    <a:pt x="107" y="388"/>
                    <a:pt x="107" y="388"/>
                    <a:pt x="107" y="388"/>
                  </a:cubicBezTo>
                  <a:cubicBezTo>
                    <a:pt x="103" y="405"/>
                    <a:pt x="103" y="405"/>
                    <a:pt x="103" y="405"/>
                  </a:cubicBezTo>
                  <a:cubicBezTo>
                    <a:pt x="103" y="405"/>
                    <a:pt x="84" y="421"/>
                    <a:pt x="91" y="436"/>
                  </a:cubicBezTo>
                  <a:cubicBezTo>
                    <a:pt x="98" y="450"/>
                    <a:pt x="115" y="450"/>
                    <a:pt x="105" y="457"/>
                  </a:cubicBezTo>
                  <a:cubicBezTo>
                    <a:pt x="95" y="463"/>
                    <a:pt x="79" y="472"/>
                    <a:pt x="79" y="472"/>
                  </a:cubicBezTo>
                  <a:cubicBezTo>
                    <a:pt x="72" y="490"/>
                    <a:pt x="72" y="490"/>
                    <a:pt x="72" y="490"/>
                  </a:cubicBezTo>
                  <a:cubicBezTo>
                    <a:pt x="57" y="499"/>
                    <a:pt x="57" y="499"/>
                    <a:pt x="57" y="499"/>
                  </a:cubicBezTo>
                  <a:cubicBezTo>
                    <a:pt x="57" y="499"/>
                    <a:pt x="62" y="508"/>
                    <a:pt x="55" y="514"/>
                  </a:cubicBezTo>
                  <a:cubicBezTo>
                    <a:pt x="48" y="521"/>
                    <a:pt x="23" y="532"/>
                    <a:pt x="23" y="532"/>
                  </a:cubicBezTo>
                  <a:cubicBezTo>
                    <a:pt x="23" y="532"/>
                    <a:pt x="0" y="568"/>
                    <a:pt x="11" y="576"/>
                  </a:cubicBezTo>
                  <a:cubicBezTo>
                    <a:pt x="31" y="557"/>
                    <a:pt x="31" y="557"/>
                    <a:pt x="31" y="557"/>
                  </a:cubicBezTo>
                  <a:cubicBezTo>
                    <a:pt x="31" y="557"/>
                    <a:pt x="28" y="542"/>
                    <a:pt x="36" y="542"/>
                  </a:cubicBezTo>
                  <a:cubicBezTo>
                    <a:pt x="45" y="542"/>
                    <a:pt x="55" y="539"/>
                    <a:pt x="62" y="534"/>
                  </a:cubicBezTo>
                  <a:cubicBezTo>
                    <a:pt x="69" y="529"/>
                    <a:pt x="62" y="513"/>
                    <a:pt x="71" y="503"/>
                  </a:cubicBezTo>
                  <a:cubicBezTo>
                    <a:pt x="79" y="493"/>
                    <a:pt x="127" y="478"/>
                    <a:pt x="127" y="467"/>
                  </a:cubicBezTo>
                  <a:cubicBezTo>
                    <a:pt x="127" y="455"/>
                    <a:pt x="117" y="444"/>
                    <a:pt x="115" y="434"/>
                  </a:cubicBezTo>
                  <a:cubicBezTo>
                    <a:pt x="114" y="424"/>
                    <a:pt x="117" y="403"/>
                    <a:pt x="117" y="403"/>
                  </a:cubicBezTo>
                  <a:close/>
                  <a:moveTo>
                    <a:pt x="232" y="684"/>
                  </a:moveTo>
                  <a:cubicBezTo>
                    <a:pt x="257" y="706"/>
                    <a:pt x="257" y="706"/>
                    <a:pt x="257" y="706"/>
                  </a:cubicBezTo>
                  <a:cubicBezTo>
                    <a:pt x="259" y="679"/>
                    <a:pt x="259" y="679"/>
                    <a:pt x="259" y="679"/>
                  </a:cubicBezTo>
                  <a:cubicBezTo>
                    <a:pt x="244" y="668"/>
                    <a:pt x="244" y="668"/>
                    <a:pt x="244" y="668"/>
                  </a:cubicBezTo>
                  <a:lnTo>
                    <a:pt x="232" y="684"/>
                  </a:lnTo>
                  <a:close/>
                  <a:moveTo>
                    <a:pt x="451" y="560"/>
                  </a:moveTo>
                  <a:cubicBezTo>
                    <a:pt x="451" y="560"/>
                    <a:pt x="451" y="529"/>
                    <a:pt x="441" y="524"/>
                  </a:cubicBezTo>
                  <a:cubicBezTo>
                    <a:pt x="430" y="519"/>
                    <a:pt x="405" y="483"/>
                    <a:pt x="396" y="491"/>
                  </a:cubicBezTo>
                  <a:cubicBezTo>
                    <a:pt x="388" y="499"/>
                    <a:pt x="420" y="522"/>
                    <a:pt x="413" y="526"/>
                  </a:cubicBezTo>
                  <a:cubicBezTo>
                    <a:pt x="406" y="529"/>
                    <a:pt x="376" y="532"/>
                    <a:pt x="376" y="532"/>
                  </a:cubicBezTo>
                  <a:cubicBezTo>
                    <a:pt x="376" y="553"/>
                    <a:pt x="376" y="553"/>
                    <a:pt x="376" y="553"/>
                  </a:cubicBezTo>
                  <a:cubicBezTo>
                    <a:pt x="362" y="552"/>
                    <a:pt x="362" y="552"/>
                    <a:pt x="362" y="552"/>
                  </a:cubicBezTo>
                  <a:cubicBezTo>
                    <a:pt x="358" y="567"/>
                    <a:pt x="358" y="567"/>
                    <a:pt x="358" y="567"/>
                  </a:cubicBezTo>
                  <a:cubicBezTo>
                    <a:pt x="341" y="576"/>
                    <a:pt x="341" y="576"/>
                    <a:pt x="341" y="576"/>
                  </a:cubicBezTo>
                  <a:cubicBezTo>
                    <a:pt x="341" y="576"/>
                    <a:pt x="316" y="560"/>
                    <a:pt x="307" y="568"/>
                  </a:cubicBezTo>
                  <a:cubicBezTo>
                    <a:pt x="299" y="576"/>
                    <a:pt x="283" y="604"/>
                    <a:pt x="283" y="604"/>
                  </a:cubicBezTo>
                  <a:cubicBezTo>
                    <a:pt x="283" y="604"/>
                    <a:pt x="273" y="585"/>
                    <a:pt x="268" y="594"/>
                  </a:cubicBezTo>
                  <a:cubicBezTo>
                    <a:pt x="263" y="604"/>
                    <a:pt x="251" y="627"/>
                    <a:pt x="251" y="627"/>
                  </a:cubicBezTo>
                  <a:cubicBezTo>
                    <a:pt x="264" y="640"/>
                    <a:pt x="264" y="640"/>
                    <a:pt x="264" y="640"/>
                  </a:cubicBezTo>
                  <a:cubicBezTo>
                    <a:pt x="278" y="627"/>
                    <a:pt x="278" y="627"/>
                    <a:pt x="278" y="627"/>
                  </a:cubicBezTo>
                  <a:cubicBezTo>
                    <a:pt x="287" y="643"/>
                    <a:pt x="287" y="643"/>
                    <a:pt x="287" y="643"/>
                  </a:cubicBezTo>
                  <a:cubicBezTo>
                    <a:pt x="287" y="643"/>
                    <a:pt x="314" y="621"/>
                    <a:pt x="321" y="621"/>
                  </a:cubicBezTo>
                  <a:cubicBezTo>
                    <a:pt x="328" y="621"/>
                    <a:pt x="350" y="642"/>
                    <a:pt x="350" y="642"/>
                  </a:cubicBezTo>
                  <a:cubicBezTo>
                    <a:pt x="350" y="642"/>
                    <a:pt x="340" y="648"/>
                    <a:pt x="340" y="657"/>
                  </a:cubicBezTo>
                  <a:cubicBezTo>
                    <a:pt x="340" y="665"/>
                    <a:pt x="358" y="701"/>
                    <a:pt x="367" y="704"/>
                  </a:cubicBezTo>
                  <a:cubicBezTo>
                    <a:pt x="376" y="707"/>
                    <a:pt x="400" y="714"/>
                    <a:pt x="400" y="714"/>
                  </a:cubicBezTo>
                  <a:cubicBezTo>
                    <a:pt x="413" y="701"/>
                    <a:pt x="413" y="701"/>
                    <a:pt x="413" y="701"/>
                  </a:cubicBezTo>
                  <a:cubicBezTo>
                    <a:pt x="415" y="717"/>
                    <a:pt x="415" y="717"/>
                    <a:pt x="415" y="717"/>
                  </a:cubicBezTo>
                  <a:cubicBezTo>
                    <a:pt x="429" y="719"/>
                    <a:pt x="429" y="719"/>
                    <a:pt x="429" y="719"/>
                  </a:cubicBezTo>
                  <a:cubicBezTo>
                    <a:pt x="430" y="693"/>
                    <a:pt x="430" y="693"/>
                    <a:pt x="430" y="693"/>
                  </a:cubicBezTo>
                  <a:cubicBezTo>
                    <a:pt x="430" y="693"/>
                    <a:pt x="410" y="671"/>
                    <a:pt x="415" y="658"/>
                  </a:cubicBezTo>
                  <a:cubicBezTo>
                    <a:pt x="420" y="645"/>
                    <a:pt x="427" y="642"/>
                    <a:pt x="427" y="642"/>
                  </a:cubicBezTo>
                  <a:cubicBezTo>
                    <a:pt x="444" y="676"/>
                    <a:pt x="444" y="676"/>
                    <a:pt x="444" y="676"/>
                  </a:cubicBezTo>
                  <a:cubicBezTo>
                    <a:pt x="444" y="676"/>
                    <a:pt x="463" y="650"/>
                    <a:pt x="463" y="634"/>
                  </a:cubicBezTo>
                  <a:cubicBezTo>
                    <a:pt x="463" y="617"/>
                    <a:pt x="451" y="599"/>
                    <a:pt x="451" y="599"/>
                  </a:cubicBezTo>
                  <a:lnTo>
                    <a:pt x="451" y="560"/>
                  </a:lnTo>
                  <a:close/>
                  <a:moveTo>
                    <a:pt x="230" y="258"/>
                  </a:moveTo>
                  <a:cubicBezTo>
                    <a:pt x="248" y="256"/>
                    <a:pt x="255" y="265"/>
                    <a:pt x="259" y="279"/>
                  </a:cubicBezTo>
                  <a:cubicBezTo>
                    <a:pt x="262" y="291"/>
                    <a:pt x="272" y="303"/>
                    <a:pt x="286" y="309"/>
                  </a:cubicBezTo>
                  <a:cubicBezTo>
                    <a:pt x="311" y="322"/>
                    <a:pt x="313" y="261"/>
                    <a:pt x="282" y="264"/>
                  </a:cubicBezTo>
                  <a:cubicBezTo>
                    <a:pt x="281" y="258"/>
                    <a:pt x="286" y="256"/>
                    <a:pt x="288" y="251"/>
                  </a:cubicBezTo>
                  <a:cubicBezTo>
                    <a:pt x="276" y="250"/>
                    <a:pt x="272" y="236"/>
                    <a:pt x="259" y="240"/>
                  </a:cubicBezTo>
                  <a:cubicBezTo>
                    <a:pt x="251" y="257"/>
                    <a:pt x="236" y="236"/>
                    <a:pt x="224" y="236"/>
                  </a:cubicBezTo>
                  <a:cubicBezTo>
                    <a:pt x="208" y="235"/>
                    <a:pt x="201" y="259"/>
                    <a:pt x="188" y="239"/>
                  </a:cubicBezTo>
                  <a:cubicBezTo>
                    <a:pt x="181" y="228"/>
                    <a:pt x="184" y="213"/>
                    <a:pt x="184" y="201"/>
                  </a:cubicBezTo>
                  <a:cubicBezTo>
                    <a:pt x="184" y="189"/>
                    <a:pt x="180" y="170"/>
                    <a:pt x="185" y="159"/>
                  </a:cubicBezTo>
                  <a:cubicBezTo>
                    <a:pt x="192" y="143"/>
                    <a:pt x="203" y="148"/>
                    <a:pt x="202" y="128"/>
                  </a:cubicBezTo>
                  <a:cubicBezTo>
                    <a:pt x="202" y="114"/>
                    <a:pt x="191" y="105"/>
                    <a:pt x="193" y="93"/>
                  </a:cubicBezTo>
                  <a:cubicBezTo>
                    <a:pt x="194" y="80"/>
                    <a:pt x="202" y="64"/>
                    <a:pt x="198" y="50"/>
                  </a:cubicBezTo>
                  <a:cubicBezTo>
                    <a:pt x="195" y="44"/>
                    <a:pt x="188" y="41"/>
                    <a:pt x="185" y="35"/>
                  </a:cubicBezTo>
                  <a:cubicBezTo>
                    <a:pt x="182" y="29"/>
                    <a:pt x="185" y="22"/>
                    <a:pt x="184" y="16"/>
                  </a:cubicBezTo>
                  <a:cubicBezTo>
                    <a:pt x="183" y="11"/>
                    <a:pt x="181" y="0"/>
                    <a:pt x="172" y="0"/>
                  </a:cubicBezTo>
                  <a:cubicBezTo>
                    <a:pt x="167" y="1"/>
                    <a:pt x="165" y="9"/>
                    <a:pt x="162" y="12"/>
                  </a:cubicBezTo>
                  <a:cubicBezTo>
                    <a:pt x="145" y="26"/>
                    <a:pt x="142" y="9"/>
                    <a:pt x="126" y="10"/>
                  </a:cubicBezTo>
                  <a:cubicBezTo>
                    <a:pt x="117" y="13"/>
                    <a:pt x="117" y="13"/>
                    <a:pt x="117" y="13"/>
                  </a:cubicBezTo>
                  <a:cubicBezTo>
                    <a:pt x="114" y="20"/>
                    <a:pt x="117" y="27"/>
                    <a:pt x="115" y="34"/>
                  </a:cubicBezTo>
                  <a:cubicBezTo>
                    <a:pt x="113" y="41"/>
                    <a:pt x="104" y="47"/>
                    <a:pt x="100" y="53"/>
                  </a:cubicBezTo>
                  <a:cubicBezTo>
                    <a:pt x="92" y="65"/>
                    <a:pt x="94" y="57"/>
                    <a:pt x="101" y="69"/>
                  </a:cubicBezTo>
                  <a:cubicBezTo>
                    <a:pt x="104" y="74"/>
                    <a:pt x="108" y="83"/>
                    <a:pt x="110" y="89"/>
                  </a:cubicBezTo>
                  <a:cubicBezTo>
                    <a:pt x="112" y="95"/>
                    <a:pt x="113" y="102"/>
                    <a:pt x="112" y="109"/>
                  </a:cubicBezTo>
                  <a:cubicBezTo>
                    <a:pt x="111" y="116"/>
                    <a:pt x="103" y="122"/>
                    <a:pt x="103" y="127"/>
                  </a:cubicBezTo>
                  <a:cubicBezTo>
                    <a:pt x="103" y="135"/>
                    <a:pt x="114" y="137"/>
                    <a:pt x="110" y="145"/>
                  </a:cubicBezTo>
                  <a:cubicBezTo>
                    <a:pt x="108" y="150"/>
                    <a:pt x="96" y="153"/>
                    <a:pt x="92" y="152"/>
                  </a:cubicBezTo>
                  <a:cubicBezTo>
                    <a:pt x="92" y="146"/>
                    <a:pt x="90" y="140"/>
                    <a:pt x="85" y="138"/>
                  </a:cubicBezTo>
                  <a:cubicBezTo>
                    <a:pt x="84" y="161"/>
                    <a:pt x="87" y="175"/>
                    <a:pt x="103" y="194"/>
                  </a:cubicBezTo>
                  <a:cubicBezTo>
                    <a:pt x="115" y="207"/>
                    <a:pt x="127" y="217"/>
                    <a:pt x="135" y="233"/>
                  </a:cubicBezTo>
                  <a:cubicBezTo>
                    <a:pt x="140" y="245"/>
                    <a:pt x="156" y="275"/>
                    <a:pt x="171" y="274"/>
                  </a:cubicBezTo>
                  <a:cubicBezTo>
                    <a:pt x="181" y="273"/>
                    <a:pt x="185" y="260"/>
                    <a:pt x="196" y="259"/>
                  </a:cubicBezTo>
                  <a:cubicBezTo>
                    <a:pt x="207" y="258"/>
                    <a:pt x="212" y="268"/>
                    <a:pt x="219" y="274"/>
                  </a:cubicBezTo>
                  <a:cubicBezTo>
                    <a:pt x="241" y="293"/>
                    <a:pt x="240" y="275"/>
                    <a:pt x="230" y="258"/>
                  </a:cubicBezTo>
                  <a:close/>
                  <a:moveTo>
                    <a:pt x="182" y="288"/>
                  </a:moveTo>
                  <a:cubicBezTo>
                    <a:pt x="175" y="282"/>
                    <a:pt x="146" y="285"/>
                    <a:pt x="146" y="285"/>
                  </a:cubicBezTo>
                  <a:cubicBezTo>
                    <a:pt x="167" y="313"/>
                    <a:pt x="167" y="313"/>
                    <a:pt x="167" y="313"/>
                  </a:cubicBezTo>
                  <a:cubicBezTo>
                    <a:pt x="180" y="357"/>
                    <a:pt x="180" y="357"/>
                    <a:pt x="180" y="357"/>
                  </a:cubicBezTo>
                  <a:cubicBezTo>
                    <a:pt x="180" y="357"/>
                    <a:pt x="192" y="347"/>
                    <a:pt x="197" y="339"/>
                  </a:cubicBezTo>
                  <a:cubicBezTo>
                    <a:pt x="203" y="331"/>
                    <a:pt x="191" y="315"/>
                    <a:pt x="191" y="315"/>
                  </a:cubicBezTo>
                  <a:cubicBezTo>
                    <a:pt x="191" y="315"/>
                    <a:pt x="189" y="295"/>
                    <a:pt x="182" y="288"/>
                  </a:cubicBezTo>
                  <a:close/>
                  <a:moveTo>
                    <a:pt x="232" y="434"/>
                  </a:moveTo>
                  <a:cubicBezTo>
                    <a:pt x="237" y="444"/>
                    <a:pt x="245" y="454"/>
                    <a:pt x="245" y="454"/>
                  </a:cubicBezTo>
                  <a:cubicBezTo>
                    <a:pt x="245" y="454"/>
                    <a:pt x="261" y="437"/>
                    <a:pt x="266" y="441"/>
                  </a:cubicBezTo>
                  <a:cubicBezTo>
                    <a:pt x="271" y="444"/>
                    <a:pt x="271" y="463"/>
                    <a:pt x="271" y="463"/>
                  </a:cubicBezTo>
                  <a:cubicBezTo>
                    <a:pt x="280" y="472"/>
                    <a:pt x="280" y="472"/>
                    <a:pt x="280" y="472"/>
                  </a:cubicBezTo>
                  <a:cubicBezTo>
                    <a:pt x="280" y="472"/>
                    <a:pt x="257" y="506"/>
                    <a:pt x="257" y="513"/>
                  </a:cubicBezTo>
                  <a:cubicBezTo>
                    <a:pt x="257" y="519"/>
                    <a:pt x="257" y="539"/>
                    <a:pt x="273" y="535"/>
                  </a:cubicBezTo>
                  <a:cubicBezTo>
                    <a:pt x="288" y="532"/>
                    <a:pt x="311" y="527"/>
                    <a:pt x="302" y="513"/>
                  </a:cubicBezTo>
                  <a:cubicBezTo>
                    <a:pt x="293" y="498"/>
                    <a:pt x="292" y="486"/>
                    <a:pt x="300" y="463"/>
                  </a:cubicBezTo>
                  <a:cubicBezTo>
                    <a:pt x="309" y="441"/>
                    <a:pt x="302" y="424"/>
                    <a:pt x="295" y="431"/>
                  </a:cubicBezTo>
                  <a:cubicBezTo>
                    <a:pt x="288" y="437"/>
                    <a:pt x="275" y="445"/>
                    <a:pt x="275" y="437"/>
                  </a:cubicBezTo>
                  <a:cubicBezTo>
                    <a:pt x="275" y="429"/>
                    <a:pt x="295" y="398"/>
                    <a:pt x="283" y="395"/>
                  </a:cubicBezTo>
                  <a:cubicBezTo>
                    <a:pt x="271" y="391"/>
                    <a:pt x="249" y="378"/>
                    <a:pt x="249" y="378"/>
                  </a:cubicBezTo>
                  <a:cubicBezTo>
                    <a:pt x="249" y="378"/>
                    <a:pt x="228" y="373"/>
                    <a:pt x="227" y="380"/>
                  </a:cubicBezTo>
                  <a:cubicBezTo>
                    <a:pt x="225" y="387"/>
                    <a:pt x="239" y="398"/>
                    <a:pt x="239" y="398"/>
                  </a:cubicBezTo>
                  <a:cubicBezTo>
                    <a:pt x="239" y="398"/>
                    <a:pt x="227" y="424"/>
                    <a:pt x="232" y="434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10" name="Freeform 26"/>
            <p:cNvSpPr>
              <a:spLocks/>
            </p:cNvSpPr>
            <p:nvPr/>
          </p:nvSpPr>
          <p:spPr bwMode="auto">
            <a:xfrm>
              <a:off x="4783" y="2237"/>
              <a:ext cx="32" cy="69"/>
            </a:xfrm>
            <a:custGeom>
              <a:avLst/>
              <a:gdLst>
                <a:gd name="T0" fmla="*/ 0 w 85"/>
                <a:gd name="T1" fmla="*/ 0 h 181"/>
                <a:gd name="T2" fmla="*/ 0 w 85"/>
                <a:gd name="T3" fmla="*/ 0 h 181"/>
                <a:gd name="T4" fmla="*/ 0 w 85"/>
                <a:gd name="T5" fmla="*/ 0 h 181"/>
                <a:gd name="T6" fmla="*/ 0 w 85"/>
                <a:gd name="T7" fmla="*/ 0 h 181"/>
                <a:gd name="T8" fmla="*/ 0 w 85"/>
                <a:gd name="T9" fmla="*/ 0 h 181"/>
                <a:gd name="T10" fmla="*/ 0 w 85"/>
                <a:gd name="T11" fmla="*/ 0 h 181"/>
                <a:gd name="T12" fmla="*/ 0 w 85"/>
                <a:gd name="T13" fmla="*/ 0 h 181"/>
                <a:gd name="T14" fmla="*/ 0 w 85"/>
                <a:gd name="T15" fmla="*/ 0 h 181"/>
                <a:gd name="T16" fmla="*/ 0 w 85"/>
                <a:gd name="T17" fmla="*/ 0 h 181"/>
                <a:gd name="T18" fmla="*/ 0 w 85"/>
                <a:gd name="T19" fmla="*/ 0 h 181"/>
                <a:gd name="T20" fmla="*/ 0 w 85"/>
                <a:gd name="T21" fmla="*/ 0 h 18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5"/>
                <a:gd name="T34" fmla="*/ 0 h 181"/>
                <a:gd name="T35" fmla="*/ 85 w 85"/>
                <a:gd name="T36" fmla="*/ 181 h 18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5" h="181">
                  <a:moveTo>
                    <a:pt x="62" y="181"/>
                  </a:moveTo>
                  <a:cubicBezTo>
                    <a:pt x="62" y="148"/>
                    <a:pt x="62" y="148"/>
                    <a:pt x="62" y="148"/>
                  </a:cubicBezTo>
                  <a:cubicBezTo>
                    <a:pt x="62" y="148"/>
                    <a:pt x="75" y="139"/>
                    <a:pt x="75" y="118"/>
                  </a:cubicBezTo>
                  <a:cubicBezTo>
                    <a:pt x="75" y="97"/>
                    <a:pt x="75" y="68"/>
                    <a:pt x="75" y="68"/>
                  </a:cubicBezTo>
                  <a:cubicBezTo>
                    <a:pt x="75" y="68"/>
                    <a:pt x="85" y="55"/>
                    <a:pt x="84" y="43"/>
                  </a:cubicBezTo>
                  <a:cubicBezTo>
                    <a:pt x="83" y="31"/>
                    <a:pt x="85" y="17"/>
                    <a:pt x="85" y="17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0" y="102"/>
                    <a:pt x="8" y="114"/>
                  </a:cubicBezTo>
                  <a:cubicBezTo>
                    <a:pt x="16" y="126"/>
                    <a:pt x="34" y="147"/>
                    <a:pt x="34" y="147"/>
                  </a:cubicBezTo>
                  <a:cubicBezTo>
                    <a:pt x="34" y="147"/>
                    <a:pt x="47" y="181"/>
                    <a:pt x="62" y="18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11" name="Freeform 27"/>
            <p:cNvSpPr>
              <a:spLocks noEditPoints="1"/>
            </p:cNvSpPr>
            <p:nvPr/>
          </p:nvSpPr>
          <p:spPr bwMode="auto">
            <a:xfrm>
              <a:off x="5487" y="2889"/>
              <a:ext cx="94" cy="89"/>
            </a:xfrm>
            <a:custGeom>
              <a:avLst/>
              <a:gdLst>
                <a:gd name="T0" fmla="*/ 0 w 247"/>
                <a:gd name="T1" fmla="*/ 0 h 235"/>
                <a:gd name="T2" fmla="*/ 0 w 247"/>
                <a:gd name="T3" fmla="*/ 0 h 235"/>
                <a:gd name="T4" fmla="*/ 0 w 247"/>
                <a:gd name="T5" fmla="*/ 0 h 235"/>
                <a:gd name="T6" fmla="*/ 0 w 247"/>
                <a:gd name="T7" fmla="*/ 0 h 235"/>
                <a:gd name="T8" fmla="*/ 0 w 247"/>
                <a:gd name="T9" fmla="*/ 0 h 235"/>
                <a:gd name="T10" fmla="*/ 0 w 247"/>
                <a:gd name="T11" fmla="*/ 0 h 235"/>
                <a:gd name="T12" fmla="*/ 0 w 247"/>
                <a:gd name="T13" fmla="*/ 0 h 235"/>
                <a:gd name="T14" fmla="*/ 0 w 247"/>
                <a:gd name="T15" fmla="*/ 0 h 235"/>
                <a:gd name="T16" fmla="*/ 0 w 247"/>
                <a:gd name="T17" fmla="*/ 0 h 235"/>
                <a:gd name="T18" fmla="*/ 0 w 247"/>
                <a:gd name="T19" fmla="*/ 0 h 235"/>
                <a:gd name="T20" fmla="*/ 0 w 247"/>
                <a:gd name="T21" fmla="*/ 0 h 235"/>
                <a:gd name="T22" fmla="*/ 0 w 247"/>
                <a:gd name="T23" fmla="*/ 0 h 235"/>
                <a:gd name="T24" fmla="*/ 0 w 247"/>
                <a:gd name="T25" fmla="*/ 0 h 235"/>
                <a:gd name="T26" fmla="*/ 0 w 247"/>
                <a:gd name="T27" fmla="*/ 0 h 235"/>
                <a:gd name="T28" fmla="*/ 0 w 247"/>
                <a:gd name="T29" fmla="*/ 0 h 235"/>
                <a:gd name="T30" fmla="*/ 0 w 247"/>
                <a:gd name="T31" fmla="*/ 0 h 235"/>
                <a:gd name="T32" fmla="*/ 0 w 247"/>
                <a:gd name="T33" fmla="*/ 0 h 235"/>
                <a:gd name="T34" fmla="*/ 0 w 247"/>
                <a:gd name="T35" fmla="*/ 0 h 235"/>
                <a:gd name="T36" fmla="*/ 0 w 247"/>
                <a:gd name="T37" fmla="*/ 0 h 235"/>
                <a:gd name="T38" fmla="*/ 0 w 247"/>
                <a:gd name="T39" fmla="*/ 0 h 235"/>
                <a:gd name="T40" fmla="*/ 0 w 247"/>
                <a:gd name="T41" fmla="*/ 0 h 235"/>
                <a:gd name="T42" fmla="*/ 0 w 247"/>
                <a:gd name="T43" fmla="*/ 0 h 235"/>
                <a:gd name="T44" fmla="*/ 0 w 247"/>
                <a:gd name="T45" fmla="*/ 0 h 235"/>
                <a:gd name="T46" fmla="*/ 0 w 247"/>
                <a:gd name="T47" fmla="*/ 0 h 235"/>
                <a:gd name="T48" fmla="*/ 0 w 247"/>
                <a:gd name="T49" fmla="*/ 0 h 235"/>
                <a:gd name="T50" fmla="*/ 0 w 247"/>
                <a:gd name="T51" fmla="*/ 0 h 235"/>
                <a:gd name="T52" fmla="*/ 0 w 247"/>
                <a:gd name="T53" fmla="*/ 0 h 235"/>
                <a:gd name="T54" fmla="*/ 0 w 247"/>
                <a:gd name="T55" fmla="*/ 0 h 235"/>
                <a:gd name="T56" fmla="*/ 0 w 247"/>
                <a:gd name="T57" fmla="*/ 0 h 235"/>
                <a:gd name="T58" fmla="*/ 0 w 247"/>
                <a:gd name="T59" fmla="*/ 0 h 235"/>
                <a:gd name="T60" fmla="*/ 0 w 247"/>
                <a:gd name="T61" fmla="*/ 0 h 235"/>
                <a:gd name="T62" fmla="*/ 0 w 247"/>
                <a:gd name="T63" fmla="*/ 0 h 235"/>
                <a:gd name="T64" fmla="*/ 0 w 247"/>
                <a:gd name="T65" fmla="*/ 0 h 235"/>
                <a:gd name="T66" fmla="*/ 0 w 247"/>
                <a:gd name="T67" fmla="*/ 0 h 235"/>
                <a:gd name="T68" fmla="*/ 0 w 247"/>
                <a:gd name="T69" fmla="*/ 0 h 23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47"/>
                <a:gd name="T106" fmla="*/ 0 h 235"/>
                <a:gd name="T107" fmla="*/ 247 w 247"/>
                <a:gd name="T108" fmla="*/ 235 h 23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47" h="235">
                  <a:moveTo>
                    <a:pt x="21" y="14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5" y="32"/>
                    <a:pt x="15" y="32"/>
                    <a:pt x="15" y="32"/>
                  </a:cubicBezTo>
                  <a:lnTo>
                    <a:pt x="21" y="14"/>
                  </a:lnTo>
                  <a:close/>
                  <a:moveTo>
                    <a:pt x="0" y="84"/>
                  </a:moveTo>
                  <a:cubicBezTo>
                    <a:pt x="13" y="89"/>
                    <a:pt x="13" y="89"/>
                    <a:pt x="13" y="89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0" y="70"/>
                    <a:pt x="0" y="70"/>
                    <a:pt x="0" y="70"/>
                  </a:cubicBezTo>
                  <a:lnTo>
                    <a:pt x="0" y="84"/>
                  </a:lnTo>
                  <a:close/>
                  <a:moveTo>
                    <a:pt x="51" y="81"/>
                  </a:moveTo>
                  <a:cubicBezTo>
                    <a:pt x="25" y="81"/>
                    <a:pt x="25" y="81"/>
                    <a:pt x="25" y="81"/>
                  </a:cubicBezTo>
                  <a:cubicBezTo>
                    <a:pt x="26" y="97"/>
                    <a:pt x="26" y="97"/>
                    <a:pt x="26" y="97"/>
                  </a:cubicBezTo>
                  <a:cubicBezTo>
                    <a:pt x="53" y="91"/>
                    <a:pt x="53" y="91"/>
                    <a:pt x="53" y="91"/>
                  </a:cubicBezTo>
                  <a:lnTo>
                    <a:pt x="51" y="81"/>
                  </a:lnTo>
                  <a:close/>
                  <a:moveTo>
                    <a:pt x="39" y="126"/>
                  </a:moveTo>
                  <a:cubicBezTo>
                    <a:pt x="64" y="123"/>
                    <a:pt x="64" y="123"/>
                    <a:pt x="64" y="123"/>
                  </a:cubicBezTo>
                  <a:cubicBezTo>
                    <a:pt x="32" y="103"/>
                    <a:pt x="32" y="103"/>
                    <a:pt x="32" y="103"/>
                  </a:cubicBezTo>
                  <a:lnTo>
                    <a:pt x="39" y="126"/>
                  </a:lnTo>
                  <a:close/>
                  <a:moveTo>
                    <a:pt x="163" y="149"/>
                  </a:moveTo>
                  <a:cubicBezTo>
                    <a:pt x="145" y="139"/>
                    <a:pt x="128" y="142"/>
                    <a:pt x="128" y="142"/>
                  </a:cubicBezTo>
                  <a:cubicBezTo>
                    <a:pt x="128" y="142"/>
                    <a:pt x="124" y="161"/>
                    <a:pt x="142" y="169"/>
                  </a:cubicBezTo>
                  <a:cubicBezTo>
                    <a:pt x="168" y="180"/>
                    <a:pt x="183" y="172"/>
                    <a:pt x="183" y="172"/>
                  </a:cubicBezTo>
                  <a:cubicBezTo>
                    <a:pt x="183" y="172"/>
                    <a:pt x="182" y="160"/>
                    <a:pt x="163" y="149"/>
                  </a:cubicBezTo>
                  <a:close/>
                  <a:moveTo>
                    <a:pt x="205" y="193"/>
                  </a:moveTo>
                  <a:cubicBezTo>
                    <a:pt x="238" y="235"/>
                    <a:pt x="238" y="235"/>
                    <a:pt x="238" y="235"/>
                  </a:cubicBezTo>
                  <a:cubicBezTo>
                    <a:pt x="247" y="215"/>
                    <a:pt x="247" y="215"/>
                    <a:pt x="247" y="215"/>
                  </a:cubicBezTo>
                  <a:lnTo>
                    <a:pt x="205" y="193"/>
                  </a:lnTo>
                  <a:close/>
                  <a:moveTo>
                    <a:pt x="189" y="84"/>
                  </a:moveTo>
                  <a:cubicBezTo>
                    <a:pt x="189" y="84"/>
                    <a:pt x="178" y="119"/>
                    <a:pt x="184" y="130"/>
                  </a:cubicBezTo>
                  <a:cubicBezTo>
                    <a:pt x="191" y="140"/>
                    <a:pt x="218" y="160"/>
                    <a:pt x="218" y="160"/>
                  </a:cubicBezTo>
                  <a:lnTo>
                    <a:pt x="189" y="84"/>
                  </a:lnTo>
                  <a:close/>
                  <a:moveTo>
                    <a:pt x="81" y="41"/>
                  </a:moveTo>
                  <a:cubicBezTo>
                    <a:pt x="75" y="51"/>
                    <a:pt x="130" y="104"/>
                    <a:pt x="138" y="102"/>
                  </a:cubicBezTo>
                  <a:cubicBezTo>
                    <a:pt x="154" y="100"/>
                    <a:pt x="86" y="30"/>
                    <a:pt x="81" y="4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12" name="Freeform 28"/>
            <p:cNvSpPr>
              <a:spLocks/>
            </p:cNvSpPr>
            <p:nvPr/>
          </p:nvSpPr>
          <p:spPr bwMode="auto">
            <a:xfrm>
              <a:off x="4470" y="2616"/>
              <a:ext cx="78" cy="111"/>
            </a:xfrm>
            <a:custGeom>
              <a:avLst/>
              <a:gdLst>
                <a:gd name="T0" fmla="*/ 0 w 207"/>
                <a:gd name="T1" fmla="*/ 0 h 293"/>
                <a:gd name="T2" fmla="*/ 0 w 207"/>
                <a:gd name="T3" fmla="*/ 0 h 293"/>
                <a:gd name="T4" fmla="*/ 0 w 207"/>
                <a:gd name="T5" fmla="*/ 0 h 293"/>
                <a:gd name="T6" fmla="*/ 0 w 207"/>
                <a:gd name="T7" fmla="*/ 0 h 293"/>
                <a:gd name="T8" fmla="*/ 0 w 207"/>
                <a:gd name="T9" fmla="*/ 0 h 293"/>
                <a:gd name="T10" fmla="*/ 0 w 207"/>
                <a:gd name="T11" fmla="*/ 0 h 293"/>
                <a:gd name="T12" fmla="*/ 0 w 207"/>
                <a:gd name="T13" fmla="*/ 0 h 293"/>
                <a:gd name="T14" fmla="*/ 0 w 207"/>
                <a:gd name="T15" fmla="*/ 0 h 293"/>
                <a:gd name="T16" fmla="*/ 0 w 207"/>
                <a:gd name="T17" fmla="*/ 0 h 293"/>
                <a:gd name="T18" fmla="*/ 0 w 207"/>
                <a:gd name="T19" fmla="*/ 0 h 293"/>
                <a:gd name="T20" fmla="*/ 0 w 207"/>
                <a:gd name="T21" fmla="*/ 0 h 293"/>
                <a:gd name="T22" fmla="*/ 0 w 207"/>
                <a:gd name="T23" fmla="*/ 0 h 293"/>
                <a:gd name="T24" fmla="*/ 0 w 207"/>
                <a:gd name="T25" fmla="*/ 0 h 293"/>
                <a:gd name="T26" fmla="*/ 0 w 207"/>
                <a:gd name="T27" fmla="*/ 0 h 293"/>
                <a:gd name="T28" fmla="*/ 0 w 207"/>
                <a:gd name="T29" fmla="*/ 0 h 293"/>
                <a:gd name="T30" fmla="*/ 0 w 207"/>
                <a:gd name="T31" fmla="*/ 0 h 293"/>
                <a:gd name="T32" fmla="*/ 0 w 207"/>
                <a:gd name="T33" fmla="*/ 0 h 293"/>
                <a:gd name="T34" fmla="*/ 0 w 207"/>
                <a:gd name="T35" fmla="*/ 0 h 293"/>
                <a:gd name="T36" fmla="*/ 0 w 207"/>
                <a:gd name="T37" fmla="*/ 0 h 293"/>
                <a:gd name="T38" fmla="*/ 0 w 207"/>
                <a:gd name="T39" fmla="*/ 0 h 293"/>
                <a:gd name="T40" fmla="*/ 0 w 207"/>
                <a:gd name="T41" fmla="*/ 0 h 293"/>
                <a:gd name="T42" fmla="*/ 0 w 207"/>
                <a:gd name="T43" fmla="*/ 0 h 293"/>
                <a:gd name="T44" fmla="*/ 0 w 207"/>
                <a:gd name="T45" fmla="*/ 0 h 293"/>
                <a:gd name="T46" fmla="*/ 0 w 207"/>
                <a:gd name="T47" fmla="*/ 0 h 293"/>
                <a:gd name="T48" fmla="*/ 0 w 207"/>
                <a:gd name="T49" fmla="*/ 0 h 293"/>
                <a:gd name="T50" fmla="*/ 0 w 207"/>
                <a:gd name="T51" fmla="*/ 0 h 293"/>
                <a:gd name="T52" fmla="*/ 0 w 207"/>
                <a:gd name="T53" fmla="*/ 0 h 293"/>
                <a:gd name="T54" fmla="*/ 0 w 207"/>
                <a:gd name="T55" fmla="*/ 0 h 293"/>
                <a:gd name="T56" fmla="*/ 0 w 207"/>
                <a:gd name="T57" fmla="*/ 0 h 29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07"/>
                <a:gd name="T88" fmla="*/ 0 h 293"/>
                <a:gd name="T89" fmla="*/ 207 w 207"/>
                <a:gd name="T90" fmla="*/ 293 h 29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07" h="293">
                  <a:moveTo>
                    <a:pt x="1" y="30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38" y="79"/>
                    <a:pt x="38" y="99"/>
                  </a:cubicBezTo>
                  <a:cubicBezTo>
                    <a:pt x="37" y="119"/>
                    <a:pt x="28" y="141"/>
                    <a:pt x="39" y="153"/>
                  </a:cubicBezTo>
                  <a:cubicBezTo>
                    <a:pt x="50" y="166"/>
                    <a:pt x="62" y="153"/>
                    <a:pt x="62" y="153"/>
                  </a:cubicBezTo>
                  <a:cubicBezTo>
                    <a:pt x="62" y="153"/>
                    <a:pt x="55" y="194"/>
                    <a:pt x="65" y="203"/>
                  </a:cubicBezTo>
                  <a:cubicBezTo>
                    <a:pt x="75" y="212"/>
                    <a:pt x="114" y="236"/>
                    <a:pt x="114" y="236"/>
                  </a:cubicBezTo>
                  <a:cubicBezTo>
                    <a:pt x="114" y="236"/>
                    <a:pt x="116" y="256"/>
                    <a:pt x="121" y="258"/>
                  </a:cubicBezTo>
                  <a:cubicBezTo>
                    <a:pt x="126" y="259"/>
                    <a:pt x="153" y="271"/>
                    <a:pt x="153" y="271"/>
                  </a:cubicBezTo>
                  <a:cubicBezTo>
                    <a:pt x="169" y="293"/>
                    <a:pt x="169" y="293"/>
                    <a:pt x="169" y="293"/>
                  </a:cubicBezTo>
                  <a:cubicBezTo>
                    <a:pt x="202" y="290"/>
                    <a:pt x="202" y="290"/>
                    <a:pt x="202" y="290"/>
                  </a:cubicBezTo>
                  <a:cubicBezTo>
                    <a:pt x="202" y="290"/>
                    <a:pt x="207" y="270"/>
                    <a:pt x="205" y="252"/>
                  </a:cubicBezTo>
                  <a:cubicBezTo>
                    <a:pt x="203" y="235"/>
                    <a:pt x="173" y="215"/>
                    <a:pt x="172" y="210"/>
                  </a:cubicBezTo>
                  <a:cubicBezTo>
                    <a:pt x="171" y="205"/>
                    <a:pt x="177" y="193"/>
                    <a:pt x="170" y="184"/>
                  </a:cubicBezTo>
                  <a:cubicBezTo>
                    <a:pt x="162" y="175"/>
                    <a:pt x="168" y="173"/>
                    <a:pt x="168" y="160"/>
                  </a:cubicBezTo>
                  <a:cubicBezTo>
                    <a:pt x="169" y="148"/>
                    <a:pt x="172" y="109"/>
                    <a:pt x="167" y="87"/>
                  </a:cubicBezTo>
                  <a:cubicBezTo>
                    <a:pt x="163" y="65"/>
                    <a:pt x="121" y="50"/>
                    <a:pt x="115" y="41"/>
                  </a:cubicBezTo>
                  <a:cubicBezTo>
                    <a:pt x="113" y="38"/>
                    <a:pt x="108" y="34"/>
                    <a:pt x="103" y="31"/>
                  </a:cubicBezTo>
                  <a:cubicBezTo>
                    <a:pt x="100" y="39"/>
                    <a:pt x="95" y="50"/>
                    <a:pt x="91" y="55"/>
                  </a:cubicBezTo>
                  <a:cubicBezTo>
                    <a:pt x="85" y="63"/>
                    <a:pt x="83" y="46"/>
                    <a:pt x="72" y="47"/>
                  </a:cubicBezTo>
                  <a:cubicBezTo>
                    <a:pt x="61" y="48"/>
                    <a:pt x="62" y="58"/>
                    <a:pt x="49" y="54"/>
                  </a:cubicBezTo>
                  <a:cubicBezTo>
                    <a:pt x="36" y="50"/>
                    <a:pt x="52" y="38"/>
                    <a:pt x="52" y="32"/>
                  </a:cubicBezTo>
                  <a:cubicBezTo>
                    <a:pt x="52" y="26"/>
                    <a:pt x="45" y="28"/>
                    <a:pt x="45" y="28"/>
                  </a:cubicBezTo>
                  <a:cubicBezTo>
                    <a:pt x="45" y="28"/>
                    <a:pt x="46" y="20"/>
                    <a:pt x="39" y="16"/>
                  </a:cubicBezTo>
                  <a:cubicBezTo>
                    <a:pt x="32" y="12"/>
                    <a:pt x="21" y="12"/>
                    <a:pt x="21" y="12"/>
                  </a:cubicBezTo>
                  <a:cubicBezTo>
                    <a:pt x="21" y="12"/>
                    <a:pt x="19" y="0"/>
                    <a:pt x="12" y="1"/>
                  </a:cubicBezTo>
                  <a:cubicBezTo>
                    <a:pt x="5" y="2"/>
                    <a:pt x="6" y="8"/>
                    <a:pt x="7" y="17"/>
                  </a:cubicBezTo>
                  <a:cubicBezTo>
                    <a:pt x="7" y="21"/>
                    <a:pt x="4" y="25"/>
                    <a:pt x="0" y="29"/>
                  </a:cubicBezTo>
                  <a:cubicBezTo>
                    <a:pt x="1" y="29"/>
                    <a:pt x="1" y="30"/>
                    <a:pt x="1" y="30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13" name="Freeform 29"/>
            <p:cNvSpPr>
              <a:spLocks/>
            </p:cNvSpPr>
            <p:nvPr/>
          </p:nvSpPr>
          <p:spPr bwMode="auto">
            <a:xfrm>
              <a:off x="4504" y="2457"/>
              <a:ext cx="95" cy="84"/>
            </a:xfrm>
            <a:custGeom>
              <a:avLst/>
              <a:gdLst>
                <a:gd name="T0" fmla="*/ 0 w 252"/>
                <a:gd name="T1" fmla="*/ 0 h 224"/>
                <a:gd name="T2" fmla="*/ 0 w 252"/>
                <a:gd name="T3" fmla="*/ 0 h 224"/>
                <a:gd name="T4" fmla="*/ 0 w 252"/>
                <a:gd name="T5" fmla="*/ 0 h 224"/>
                <a:gd name="T6" fmla="*/ 0 w 252"/>
                <a:gd name="T7" fmla="*/ 0 h 224"/>
                <a:gd name="T8" fmla="*/ 0 w 252"/>
                <a:gd name="T9" fmla="*/ 0 h 224"/>
                <a:gd name="T10" fmla="*/ 0 w 252"/>
                <a:gd name="T11" fmla="*/ 0 h 224"/>
                <a:gd name="T12" fmla="*/ 0 w 252"/>
                <a:gd name="T13" fmla="*/ 0 h 224"/>
                <a:gd name="T14" fmla="*/ 0 w 252"/>
                <a:gd name="T15" fmla="*/ 0 h 224"/>
                <a:gd name="T16" fmla="*/ 0 w 252"/>
                <a:gd name="T17" fmla="*/ 0 h 224"/>
                <a:gd name="T18" fmla="*/ 0 w 252"/>
                <a:gd name="T19" fmla="*/ 0 h 224"/>
                <a:gd name="T20" fmla="*/ 0 w 252"/>
                <a:gd name="T21" fmla="*/ 0 h 224"/>
                <a:gd name="T22" fmla="*/ 0 w 252"/>
                <a:gd name="T23" fmla="*/ 0 h 224"/>
                <a:gd name="T24" fmla="*/ 0 w 252"/>
                <a:gd name="T25" fmla="*/ 0 h 224"/>
                <a:gd name="T26" fmla="*/ 0 w 252"/>
                <a:gd name="T27" fmla="*/ 0 h 224"/>
                <a:gd name="T28" fmla="*/ 0 w 252"/>
                <a:gd name="T29" fmla="*/ 0 h 224"/>
                <a:gd name="T30" fmla="*/ 0 w 252"/>
                <a:gd name="T31" fmla="*/ 0 h 224"/>
                <a:gd name="T32" fmla="*/ 0 w 252"/>
                <a:gd name="T33" fmla="*/ 0 h 224"/>
                <a:gd name="T34" fmla="*/ 0 w 252"/>
                <a:gd name="T35" fmla="*/ 0 h 224"/>
                <a:gd name="T36" fmla="*/ 0 w 252"/>
                <a:gd name="T37" fmla="*/ 0 h 224"/>
                <a:gd name="T38" fmla="*/ 0 w 252"/>
                <a:gd name="T39" fmla="*/ 0 h 224"/>
                <a:gd name="T40" fmla="*/ 0 w 252"/>
                <a:gd name="T41" fmla="*/ 0 h 224"/>
                <a:gd name="T42" fmla="*/ 0 w 252"/>
                <a:gd name="T43" fmla="*/ 0 h 224"/>
                <a:gd name="T44" fmla="*/ 0 w 252"/>
                <a:gd name="T45" fmla="*/ 0 h 224"/>
                <a:gd name="T46" fmla="*/ 0 w 252"/>
                <a:gd name="T47" fmla="*/ 0 h 224"/>
                <a:gd name="T48" fmla="*/ 0 w 252"/>
                <a:gd name="T49" fmla="*/ 0 h 224"/>
                <a:gd name="T50" fmla="*/ 0 w 252"/>
                <a:gd name="T51" fmla="*/ 0 h 224"/>
                <a:gd name="T52" fmla="*/ 0 w 252"/>
                <a:gd name="T53" fmla="*/ 0 h 224"/>
                <a:gd name="T54" fmla="*/ 0 w 252"/>
                <a:gd name="T55" fmla="*/ 0 h 224"/>
                <a:gd name="T56" fmla="*/ 0 w 252"/>
                <a:gd name="T57" fmla="*/ 0 h 224"/>
                <a:gd name="T58" fmla="*/ 0 w 252"/>
                <a:gd name="T59" fmla="*/ 0 h 224"/>
                <a:gd name="T60" fmla="*/ 0 w 252"/>
                <a:gd name="T61" fmla="*/ 0 h 224"/>
                <a:gd name="T62" fmla="*/ 0 w 252"/>
                <a:gd name="T63" fmla="*/ 0 h 224"/>
                <a:gd name="T64" fmla="*/ 0 w 252"/>
                <a:gd name="T65" fmla="*/ 0 h 224"/>
                <a:gd name="T66" fmla="*/ 0 w 252"/>
                <a:gd name="T67" fmla="*/ 0 h 224"/>
                <a:gd name="T68" fmla="*/ 0 w 252"/>
                <a:gd name="T69" fmla="*/ 0 h 224"/>
                <a:gd name="T70" fmla="*/ 0 w 252"/>
                <a:gd name="T71" fmla="*/ 0 h 224"/>
                <a:gd name="T72" fmla="*/ 0 w 252"/>
                <a:gd name="T73" fmla="*/ 0 h 224"/>
                <a:gd name="T74" fmla="*/ 0 w 252"/>
                <a:gd name="T75" fmla="*/ 0 h 224"/>
                <a:gd name="T76" fmla="*/ 0 w 252"/>
                <a:gd name="T77" fmla="*/ 0 h 224"/>
                <a:gd name="T78" fmla="*/ 0 w 252"/>
                <a:gd name="T79" fmla="*/ 0 h 224"/>
                <a:gd name="T80" fmla="*/ 0 w 252"/>
                <a:gd name="T81" fmla="*/ 0 h 224"/>
                <a:gd name="T82" fmla="*/ 0 w 252"/>
                <a:gd name="T83" fmla="*/ 0 h 224"/>
                <a:gd name="T84" fmla="*/ 0 w 252"/>
                <a:gd name="T85" fmla="*/ 0 h 224"/>
                <a:gd name="T86" fmla="*/ 0 w 252"/>
                <a:gd name="T87" fmla="*/ 0 h 224"/>
                <a:gd name="T88" fmla="*/ 0 w 252"/>
                <a:gd name="T89" fmla="*/ 0 h 224"/>
                <a:gd name="T90" fmla="*/ 0 w 252"/>
                <a:gd name="T91" fmla="*/ 0 h 22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52"/>
                <a:gd name="T139" fmla="*/ 0 h 224"/>
                <a:gd name="T140" fmla="*/ 252 w 252"/>
                <a:gd name="T141" fmla="*/ 224 h 22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52" h="224">
                  <a:moveTo>
                    <a:pt x="214" y="0"/>
                  </a:moveTo>
                  <a:cubicBezTo>
                    <a:pt x="206" y="9"/>
                    <a:pt x="206" y="9"/>
                    <a:pt x="206" y="9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75" y="8"/>
                    <a:pt x="175" y="8"/>
                    <a:pt x="175" y="8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64" y="16"/>
                    <a:pt x="176" y="28"/>
                    <a:pt x="168" y="36"/>
                  </a:cubicBezTo>
                  <a:cubicBezTo>
                    <a:pt x="160" y="44"/>
                    <a:pt x="151" y="24"/>
                    <a:pt x="151" y="24"/>
                  </a:cubicBezTo>
                  <a:cubicBezTo>
                    <a:pt x="151" y="24"/>
                    <a:pt x="135" y="23"/>
                    <a:pt x="131" y="22"/>
                  </a:cubicBezTo>
                  <a:cubicBezTo>
                    <a:pt x="128" y="21"/>
                    <a:pt x="128" y="16"/>
                    <a:pt x="128" y="13"/>
                  </a:cubicBezTo>
                  <a:cubicBezTo>
                    <a:pt x="125" y="15"/>
                    <a:pt x="123" y="16"/>
                    <a:pt x="123" y="16"/>
                  </a:cubicBezTo>
                  <a:cubicBezTo>
                    <a:pt x="123" y="16"/>
                    <a:pt x="106" y="7"/>
                    <a:pt x="101" y="8"/>
                  </a:cubicBezTo>
                  <a:cubicBezTo>
                    <a:pt x="96" y="9"/>
                    <a:pt x="74" y="15"/>
                    <a:pt x="74" y="15"/>
                  </a:cubicBezTo>
                  <a:cubicBezTo>
                    <a:pt x="74" y="15"/>
                    <a:pt x="73" y="5"/>
                    <a:pt x="46" y="10"/>
                  </a:cubicBezTo>
                  <a:cubicBezTo>
                    <a:pt x="19" y="15"/>
                    <a:pt x="19" y="34"/>
                    <a:pt x="19" y="3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20" y="114"/>
                    <a:pt x="20" y="114"/>
                    <a:pt x="20" y="114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20" y="134"/>
                    <a:pt x="23" y="136"/>
                    <a:pt x="26" y="139"/>
                  </a:cubicBezTo>
                  <a:cubicBezTo>
                    <a:pt x="41" y="156"/>
                    <a:pt x="27" y="168"/>
                    <a:pt x="27" y="168"/>
                  </a:cubicBezTo>
                  <a:cubicBezTo>
                    <a:pt x="27" y="168"/>
                    <a:pt x="36" y="190"/>
                    <a:pt x="46" y="191"/>
                  </a:cubicBezTo>
                  <a:cubicBezTo>
                    <a:pt x="56" y="191"/>
                    <a:pt x="59" y="178"/>
                    <a:pt x="59" y="178"/>
                  </a:cubicBezTo>
                  <a:cubicBezTo>
                    <a:pt x="59" y="178"/>
                    <a:pt x="58" y="202"/>
                    <a:pt x="68" y="204"/>
                  </a:cubicBezTo>
                  <a:cubicBezTo>
                    <a:pt x="79" y="206"/>
                    <a:pt x="89" y="198"/>
                    <a:pt x="91" y="208"/>
                  </a:cubicBezTo>
                  <a:cubicBezTo>
                    <a:pt x="92" y="212"/>
                    <a:pt x="95" y="218"/>
                    <a:pt x="97" y="223"/>
                  </a:cubicBezTo>
                  <a:cubicBezTo>
                    <a:pt x="110" y="224"/>
                    <a:pt x="110" y="224"/>
                    <a:pt x="110" y="224"/>
                  </a:cubicBezTo>
                  <a:cubicBezTo>
                    <a:pt x="112" y="219"/>
                    <a:pt x="124" y="214"/>
                    <a:pt x="139" y="213"/>
                  </a:cubicBezTo>
                  <a:cubicBezTo>
                    <a:pt x="159" y="211"/>
                    <a:pt x="135" y="197"/>
                    <a:pt x="135" y="197"/>
                  </a:cubicBezTo>
                  <a:cubicBezTo>
                    <a:pt x="135" y="197"/>
                    <a:pt x="149" y="197"/>
                    <a:pt x="153" y="197"/>
                  </a:cubicBezTo>
                  <a:cubicBezTo>
                    <a:pt x="157" y="197"/>
                    <a:pt x="159" y="190"/>
                    <a:pt x="169" y="190"/>
                  </a:cubicBezTo>
                  <a:cubicBezTo>
                    <a:pt x="179" y="190"/>
                    <a:pt x="186" y="206"/>
                    <a:pt x="193" y="205"/>
                  </a:cubicBezTo>
                  <a:cubicBezTo>
                    <a:pt x="200" y="204"/>
                    <a:pt x="193" y="194"/>
                    <a:pt x="183" y="186"/>
                  </a:cubicBezTo>
                  <a:cubicBezTo>
                    <a:pt x="173" y="178"/>
                    <a:pt x="173" y="160"/>
                    <a:pt x="175" y="154"/>
                  </a:cubicBezTo>
                  <a:cubicBezTo>
                    <a:pt x="177" y="148"/>
                    <a:pt x="204" y="152"/>
                    <a:pt x="204" y="152"/>
                  </a:cubicBezTo>
                  <a:cubicBezTo>
                    <a:pt x="201" y="138"/>
                    <a:pt x="201" y="138"/>
                    <a:pt x="201" y="138"/>
                  </a:cubicBezTo>
                  <a:cubicBezTo>
                    <a:pt x="222" y="137"/>
                    <a:pt x="222" y="137"/>
                    <a:pt x="222" y="137"/>
                  </a:cubicBezTo>
                  <a:cubicBezTo>
                    <a:pt x="222" y="137"/>
                    <a:pt x="223" y="126"/>
                    <a:pt x="228" y="123"/>
                  </a:cubicBezTo>
                  <a:cubicBezTo>
                    <a:pt x="233" y="120"/>
                    <a:pt x="245" y="125"/>
                    <a:pt x="245" y="125"/>
                  </a:cubicBezTo>
                  <a:cubicBezTo>
                    <a:pt x="248" y="111"/>
                    <a:pt x="248" y="111"/>
                    <a:pt x="248" y="111"/>
                  </a:cubicBezTo>
                  <a:cubicBezTo>
                    <a:pt x="248" y="111"/>
                    <a:pt x="238" y="75"/>
                    <a:pt x="237" y="72"/>
                  </a:cubicBezTo>
                  <a:cubicBezTo>
                    <a:pt x="236" y="69"/>
                    <a:pt x="252" y="69"/>
                    <a:pt x="252" y="56"/>
                  </a:cubicBezTo>
                  <a:cubicBezTo>
                    <a:pt x="252" y="43"/>
                    <a:pt x="231" y="32"/>
                    <a:pt x="231" y="32"/>
                  </a:cubicBezTo>
                  <a:cubicBezTo>
                    <a:pt x="231" y="4"/>
                    <a:pt x="231" y="4"/>
                    <a:pt x="231" y="4"/>
                  </a:cubicBezTo>
                  <a:lnTo>
                    <a:pt x="214" y="0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14" name="Freeform 30"/>
            <p:cNvSpPr>
              <a:spLocks noEditPoints="1"/>
            </p:cNvSpPr>
            <p:nvPr/>
          </p:nvSpPr>
          <p:spPr bwMode="auto">
            <a:xfrm>
              <a:off x="4806" y="1968"/>
              <a:ext cx="73" cy="108"/>
            </a:xfrm>
            <a:custGeom>
              <a:avLst/>
              <a:gdLst>
                <a:gd name="T0" fmla="*/ 0 w 191"/>
                <a:gd name="T1" fmla="*/ 0 h 284"/>
                <a:gd name="T2" fmla="*/ 0 w 191"/>
                <a:gd name="T3" fmla="*/ 0 h 284"/>
                <a:gd name="T4" fmla="*/ 0 w 191"/>
                <a:gd name="T5" fmla="*/ 0 h 284"/>
                <a:gd name="T6" fmla="*/ 0 w 191"/>
                <a:gd name="T7" fmla="*/ 0 h 284"/>
                <a:gd name="T8" fmla="*/ 0 w 191"/>
                <a:gd name="T9" fmla="*/ 0 h 284"/>
                <a:gd name="T10" fmla="*/ 0 w 191"/>
                <a:gd name="T11" fmla="*/ 0 h 284"/>
                <a:gd name="T12" fmla="*/ 0 w 191"/>
                <a:gd name="T13" fmla="*/ 0 h 284"/>
                <a:gd name="T14" fmla="*/ 0 w 191"/>
                <a:gd name="T15" fmla="*/ 0 h 284"/>
                <a:gd name="T16" fmla="*/ 0 w 191"/>
                <a:gd name="T17" fmla="*/ 0 h 284"/>
                <a:gd name="T18" fmla="*/ 0 w 191"/>
                <a:gd name="T19" fmla="*/ 0 h 284"/>
                <a:gd name="T20" fmla="*/ 0 w 191"/>
                <a:gd name="T21" fmla="*/ 0 h 284"/>
                <a:gd name="T22" fmla="*/ 0 w 191"/>
                <a:gd name="T23" fmla="*/ 0 h 284"/>
                <a:gd name="T24" fmla="*/ 0 w 191"/>
                <a:gd name="T25" fmla="*/ 0 h 284"/>
                <a:gd name="T26" fmla="*/ 0 w 191"/>
                <a:gd name="T27" fmla="*/ 0 h 284"/>
                <a:gd name="T28" fmla="*/ 0 w 191"/>
                <a:gd name="T29" fmla="*/ 0 h 284"/>
                <a:gd name="T30" fmla="*/ 0 w 191"/>
                <a:gd name="T31" fmla="*/ 0 h 284"/>
                <a:gd name="T32" fmla="*/ 0 w 191"/>
                <a:gd name="T33" fmla="*/ 0 h 284"/>
                <a:gd name="T34" fmla="*/ 0 w 191"/>
                <a:gd name="T35" fmla="*/ 0 h 284"/>
                <a:gd name="T36" fmla="*/ 0 w 191"/>
                <a:gd name="T37" fmla="*/ 0 h 284"/>
                <a:gd name="T38" fmla="*/ 0 w 191"/>
                <a:gd name="T39" fmla="*/ 0 h 284"/>
                <a:gd name="T40" fmla="*/ 0 w 191"/>
                <a:gd name="T41" fmla="*/ 0 h 284"/>
                <a:gd name="T42" fmla="*/ 0 w 191"/>
                <a:gd name="T43" fmla="*/ 0 h 284"/>
                <a:gd name="T44" fmla="*/ 0 w 191"/>
                <a:gd name="T45" fmla="*/ 0 h 284"/>
                <a:gd name="T46" fmla="*/ 0 w 191"/>
                <a:gd name="T47" fmla="*/ 0 h 284"/>
                <a:gd name="T48" fmla="*/ 0 w 191"/>
                <a:gd name="T49" fmla="*/ 0 h 284"/>
                <a:gd name="T50" fmla="*/ 0 w 191"/>
                <a:gd name="T51" fmla="*/ 0 h 284"/>
                <a:gd name="T52" fmla="*/ 0 w 191"/>
                <a:gd name="T53" fmla="*/ 0 h 284"/>
                <a:gd name="T54" fmla="*/ 0 w 191"/>
                <a:gd name="T55" fmla="*/ 0 h 284"/>
                <a:gd name="T56" fmla="*/ 0 w 191"/>
                <a:gd name="T57" fmla="*/ 0 h 284"/>
                <a:gd name="T58" fmla="*/ 0 w 191"/>
                <a:gd name="T59" fmla="*/ 0 h 28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91"/>
                <a:gd name="T91" fmla="*/ 0 h 284"/>
                <a:gd name="T92" fmla="*/ 191 w 191"/>
                <a:gd name="T93" fmla="*/ 284 h 28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91" h="284">
                  <a:moveTo>
                    <a:pt x="100" y="267"/>
                  </a:moveTo>
                  <a:cubicBezTo>
                    <a:pt x="76" y="275"/>
                    <a:pt x="86" y="284"/>
                    <a:pt x="101" y="284"/>
                  </a:cubicBezTo>
                  <a:cubicBezTo>
                    <a:pt x="120" y="284"/>
                    <a:pt x="124" y="259"/>
                    <a:pt x="100" y="267"/>
                  </a:cubicBezTo>
                  <a:close/>
                  <a:moveTo>
                    <a:pt x="185" y="165"/>
                  </a:moveTo>
                  <a:cubicBezTo>
                    <a:pt x="179" y="146"/>
                    <a:pt x="166" y="132"/>
                    <a:pt x="166" y="132"/>
                  </a:cubicBezTo>
                  <a:cubicBezTo>
                    <a:pt x="166" y="132"/>
                    <a:pt x="171" y="115"/>
                    <a:pt x="162" y="101"/>
                  </a:cubicBezTo>
                  <a:cubicBezTo>
                    <a:pt x="153" y="87"/>
                    <a:pt x="111" y="50"/>
                    <a:pt x="111" y="50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8" y="45"/>
                    <a:pt x="94" y="34"/>
                    <a:pt x="82" y="21"/>
                  </a:cubicBezTo>
                  <a:cubicBezTo>
                    <a:pt x="76" y="14"/>
                    <a:pt x="69" y="6"/>
                    <a:pt x="64" y="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30" y="9"/>
                    <a:pt x="16" y="16"/>
                  </a:cubicBezTo>
                  <a:cubicBezTo>
                    <a:pt x="2" y="24"/>
                    <a:pt x="14" y="26"/>
                    <a:pt x="13" y="29"/>
                  </a:cubicBezTo>
                  <a:cubicBezTo>
                    <a:pt x="12" y="32"/>
                    <a:pt x="0" y="39"/>
                    <a:pt x="0" y="39"/>
                  </a:cubicBezTo>
                  <a:cubicBezTo>
                    <a:pt x="0" y="39"/>
                    <a:pt x="1" y="50"/>
                    <a:pt x="8" y="56"/>
                  </a:cubicBezTo>
                  <a:cubicBezTo>
                    <a:pt x="15" y="62"/>
                    <a:pt x="30" y="64"/>
                    <a:pt x="30" y="64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9"/>
                    <a:pt x="7" y="75"/>
                    <a:pt x="6" y="82"/>
                  </a:cubicBezTo>
                  <a:cubicBezTo>
                    <a:pt x="5" y="89"/>
                    <a:pt x="27" y="102"/>
                    <a:pt x="27" y="102"/>
                  </a:cubicBezTo>
                  <a:cubicBezTo>
                    <a:pt x="37" y="130"/>
                    <a:pt x="37" y="130"/>
                    <a:pt x="37" y="130"/>
                  </a:cubicBezTo>
                  <a:cubicBezTo>
                    <a:pt x="60" y="134"/>
                    <a:pt x="60" y="134"/>
                    <a:pt x="60" y="134"/>
                  </a:cubicBezTo>
                  <a:cubicBezTo>
                    <a:pt x="60" y="153"/>
                    <a:pt x="60" y="153"/>
                    <a:pt x="60" y="153"/>
                  </a:cubicBezTo>
                  <a:cubicBezTo>
                    <a:pt x="60" y="153"/>
                    <a:pt x="49" y="161"/>
                    <a:pt x="54" y="180"/>
                  </a:cubicBezTo>
                  <a:cubicBezTo>
                    <a:pt x="59" y="199"/>
                    <a:pt x="74" y="199"/>
                    <a:pt x="74" y="199"/>
                  </a:cubicBezTo>
                  <a:cubicBezTo>
                    <a:pt x="74" y="199"/>
                    <a:pt x="61" y="225"/>
                    <a:pt x="80" y="222"/>
                  </a:cubicBezTo>
                  <a:cubicBezTo>
                    <a:pt x="99" y="219"/>
                    <a:pt x="100" y="203"/>
                    <a:pt x="100" y="203"/>
                  </a:cubicBezTo>
                  <a:cubicBezTo>
                    <a:pt x="133" y="188"/>
                    <a:pt x="133" y="188"/>
                    <a:pt x="133" y="188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5" y="181"/>
                    <a:pt x="155" y="181"/>
                    <a:pt x="155" y="181"/>
                  </a:cubicBezTo>
                  <a:cubicBezTo>
                    <a:pt x="155" y="181"/>
                    <a:pt x="191" y="184"/>
                    <a:pt x="185" y="165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15" name="Freeform 31"/>
            <p:cNvSpPr>
              <a:spLocks/>
            </p:cNvSpPr>
            <p:nvPr/>
          </p:nvSpPr>
          <p:spPr bwMode="auto">
            <a:xfrm>
              <a:off x="4443" y="2295"/>
              <a:ext cx="154" cy="178"/>
            </a:xfrm>
            <a:custGeom>
              <a:avLst/>
              <a:gdLst>
                <a:gd name="T0" fmla="*/ 0 w 404"/>
                <a:gd name="T1" fmla="*/ 0 h 470"/>
                <a:gd name="T2" fmla="*/ 0 w 404"/>
                <a:gd name="T3" fmla="*/ 0 h 470"/>
                <a:gd name="T4" fmla="*/ 0 w 404"/>
                <a:gd name="T5" fmla="*/ 0 h 470"/>
                <a:gd name="T6" fmla="*/ 0 w 404"/>
                <a:gd name="T7" fmla="*/ 0 h 470"/>
                <a:gd name="T8" fmla="*/ 0 w 404"/>
                <a:gd name="T9" fmla="*/ 0 h 470"/>
                <a:gd name="T10" fmla="*/ 0 w 404"/>
                <a:gd name="T11" fmla="*/ 0 h 470"/>
                <a:gd name="T12" fmla="*/ 0 w 404"/>
                <a:gd name="T13" fmla="*/ 0 h 470"/>
                <a:gd name="T14" fmla="*/ 0 w 404"/>
                <a:gd name="T15" fmla="*/ 0 h 470"/>
                <a:gd name="T16" fmla="*/ 0 w 404"/>
                <a:gd name="T17" fmla="*/ 0 h 470"/>
                <a:gd name="T18" fmla="*/ 0 w 404"/>
                <a:gd name="T19" fmla="*/ 0 h 470"/>
                <a:gd name="T20" fmla="*/ 0 w 404"/>
                <a:gd name="T21" fmla="*/ 0 h 470"/>
                <a:gd name="T22" fmla="*/ 0 w 404"/>
                <a:gd name="T23" fmla="*/ 0 h 470"/>
                <a:gd name="T24" fmla="*/ 0 w 404"/>
                <a:gd name="T25" fmla="*/ 0 h 470"/>
                <a:gd name="T26" fmla="*/ 0 w 404"/>
                <a:gd name="T27" fmla="*/ 0 h 470"/>
                <a:gd name="T28" fmla="*/ 0 w 404"/>
                <a:gd name="T29" fmla="*/ 0 h 470"/>
                <a:gd name="T30" fmla="*/ 0 w 404"/>
                <a:gd name="T31" fmla="*/ 0 h 470"/>
                <a:gd name="T32" fmla="*/ 0 w 404"/>
                <a:gd name="T33" fmla="*/ 0 h 470"/>
                <a:gd name="T34" fmla="*/ 0 w 404"/>
                <a:gd name="T35" fmla="*/ 0 h 470"/>
                <a:gd name="T36" fmla="*/ 0 w 404"/>
                <a:gd name="T37" fmla="*/ 0 h 470"/>
                <a:gd name="T38" fmla="*/ 0 w 404"/>
                <a:gd name="T39" fmla="*/ 0 h 470"/>
                <a:gd name="T40" fmla="*/ 0 w 404"/>
                <a:gd name="T41" fmla="*/ 0 h 470"/>
                <a:gd name="T42" fmla="*/ 0 w 404"/>
                <a:gd name="T43" fmla="*/ 0 h 470"/>
                <a:gd name="T44" fmla="*/ 0 w 404"/>
                <a:gd name="T45" fmla="*/ 0 h 470"/>
                <a:gd name="T46" fmla="*/ 0 w 404"/>
                <a:gd name="T47" fmla="*/ 0 h 470"/>
                <a:gd name="T48" fmla="*/ 0 w 404"/>
                <a:gd name="T49" fmla="*/ 0 h 470"/>
                <a:gd name="T50" fmla="*/ 0 w 404"/>
                <a:gd name="T51" fmla="*/ 0 h 470"/>
                <a:gd name="T52" fmla="*/ 0 w 404"/>
                <a:gd name="T53" fmla="*/ 0 h 470"/>
                <a:gd name="T54" fmla="*/ 0 w 404"/>
                <a:gd name="T55" fmla="*/ 0 h 470"/>
                <a:gd name="T56" fmla="*/ 0 w 404"/>
                <a:gd name="T57" fmla="*/ 0 h 470"/>
                <a:gd name="T58" fmla="*/ 0 w 404"/>
                <a:gd name="T59" fmla="*/ 0 h 470"/>
                <a:gd name="T60" fmla="*/ 0 w 404"/>
                <a:gd name="T61" fmla="*/ 0 h 470"/>
                <a:gd name="T62" fmla="*/ 0 w 404"/>
                <a:gd name="T63" fmla="*/ 0 h 470"/>
                <a:gd name="T64" fmla="*/ 0 w 404"/>
                <a:gd name="T65" fmla="*/ 0 h 470"/>
                <a:gd name="T66" fmla="*/ 0 w 404"/>
                <a:gd name="T67" fmla="*/ 0 h 470"/>
                <a:gd name="T68" fmla="*/ 0 w 404"/>
                <a:gd name="T69" fmla="*/ 0 h 470"/>
                <a:gd name="T70" fmla="*/ 0 w 404"/>
                <a:gd name="T71" fmla="*/ 0 h 470"/>
                <a:gd name="T72" fmla="*/ 0 w 404"/>
                <a:gd name="T73" fmla="*/ 0 h 470"/>
                <a:gd name="T74" fmla="*/ 0 w 404"/>
                <a:gd name="T75" fmla="*/ 0 h 470"/>
                <a:gd name="T76" fmla="*/ 0 w 404"/>
                <a:gd name="T77" fmla="*/ 0 h 47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04"/>
                <a:gd name="T118" fmla="*/ 0 h 470"/>
                <a:gd name="T119" fmla="*/ 404 w 404"/>
                <a:gd name="T120" fmla="*/ 470 h 47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04" h="470">
                  <a:moveTo>
                    <a:pt x="17" y="121"/>
                  </a:moveTo>
                  <a:cubicBezTo>
                    <a:pt x="17" y="121"/>
                    <a:pt x="27" y="116"/>
                    <a:pt x="28" y="124"/>
                  </a:cubicBezTo>
                  <a:cubicBezTo>
                    <a:pt x="29" y="132"/>
                    <a:pt x="22" y="153"/>
                    <a:pt x="28" y="158"/>
                  </a:cubicBezTo>
                  <a:cubicBezTo>
                    <a:pt x="34" y="163"/>
                    <a:pt x="47" y="163"/>
                    <a:pt x="47" y="163"/>
                  </a:cubicBezTo>
                  <a:cubicBezTo>
                    <a:pt x="45" y="155"/>
                    <a:pt x="45" y="155"/>
                    <a:pt x="45" y="155"/>
                  </a:cubicBezTo>
                  <a:cubicBezTo>
                    <a:pt x="45" y="155"/>
                    <a:pt x="68" y="146"/>
                    <a:pt x="68" y="160"/>
                  </a:cubicBezTo>
                  <a:cubicBezTo>
                    <a:pt x="68" y="174"/>
                    <a:pt x="66" y="180"/>
                    <a:pt x="66" y="180"/>
                  </a:cubicBezTo>
                  <a:cubicBezTo>
                    <a:pt x="66" y="180"/>
                    <a:pt x="74" y="187"/>
                    <a:pt x="74" y="196"/>
                  </a:cubicBezTo>
                  <a:cubicBezTo>
                    <a:pt x="74" y="205"/>
                    <a:pt x="60" y="216"/>
                    <a:pt x="60" y="216"/>
                  </a:cubicBezTo>
                  <a:cubicBezTo>
                    <a:pt x="60" y="216"/>
                    <a:pt x="73" y="215"/>
                    <a:pt x="73" y="224"/>
                  </a:cubicBezTo>
                  <a:cubicBezTo>
                    <a:pt x="73" y="233"/>
                    <a:pt x="49" y="264"/>
                    <a:pt x="59" y="267"/>
                  </a:cubicBezTo>
                  <a:cubicBezTo>
                    <a:pt x="69" y="270"/>
                    <a:pt x="88" y="254"/>
                    <a:pt x="88" y="254"/>
                  </a:cubicBezTo>
                  <a:cubicBezTo>
                    <a:pt x="88" y="254"/>
                    <a:pt x="101" y="229"/>
                    <a:pt x="108" y="231"/>
                  </a:cubicBezTo>
                  <a:cubicBezTo>
                    <a:pt x="115" y="233"/>
                    <a:pt x="129" y="244"/>
                    <a:pt x="143" y="245"/>
                  </a:cubicBezTo>
                  <a:cubicBezTo>
                    <a:pt x="157" y="246"/>
                    <a:pt x="154" y="221"/>
                    <a:pt x="164" y="220"/>
                  </a:cubicBezTo>
                  <a:cubicBezTo>
                    <a:pt x="174" y="219"/>
                    <a:pt x="187" y="228"/>
                    <a:pt x="187" y="228"/>
                  </a:cubicBezTo>
                  <a:cubicBezTo>
                    <a:pt x="187" y="228"/>
                    <a:pt x="194" y="226"/>
                    <a:pt x="202" y="228"/>
                  </a:cubicBezTo>
                  <a:cubicBezTo>
                    <a:pt x="210" y="230"/>
                    <a:pt x="197" y="236"/>
                    <a:pt x="215" y="247"/>
                  </a:cubicBezTo>
                  <a:cubicBezTo>
                    <a:pt x="233" y="258"/>
                    <a:pt x="247" y="270"/>
                    <a:pt x="247" y="270"/>
                  </a:cubicBezTo>
                  <a:cubicBezTo>
                    <a:pt x="248" y="298"/>
                    <a:pt x="248" y="298"/>
                    <a:pt x="248" y="298"/>
                  </a:cubicBezTo>
                  <a:cubicBezTo>
                    <a:pt x="248" y="298"/>
                    <a:pt x="255" y="318"/>
                    <a:pt x="260" y="327"/>
                  </a:cubicBezTo>
                  <a:cubicBezTo>
                    <a:pt x="265" y="336"/>
                    <a:pt x="283" y="343"/>
                    <a:pt x="283" y="347"/>
                  </a:cubicBezTo>
                  <a:cubicBezTo>
                    <a:pt x="283" y="351"/>
                    <a:pt x="285" y="364"/>
                    <a:pt x="285" y="364"/>
                  </a:cubicBezTo>
                  <a:cubicBezTo>
                    <a:pt x="285" y="364"/>
                    <a:pt x="288" y="357"/>
                    <a:pt x="294" y="367"/>
                  </a:cubicBezTo>
                  <a:cubicBezTo>
                    <a:pt x="300" y="377"/>
                    <a:pt x="285" y="390"/>
                    <a:pt x="287" y="394"/>
                  </a:cubicBezTo>
                  <a:cubicBezTo>
                    <a:pt x="289" y="398"/>
                    <a:pt x="312" y="413"/>
                    <a:pt x="302" y="425"/>
                  </a:cubicBezTo>
                  <a:cubicBezTo>
                    <a:pt x="296" y="432"/>
                    <a:pt x="291" y="436"/>
                    <a:pt x="287" y="439"/>
                  </a:cubicBezTo>
                  <a:cubicBezTo>
                    <a:pt x="287" y="442"/>
                    <a:pt x="287" y="447"/>
                    <a:pt x="290" y="448"/>
                  </a:cubicBezTo>
                  <a:cubicBezTo>
                    <a:pt x="294" y="449"/>
                    <a:pt x="310" y="450"/>
                    <a:pt x="310" y="450"/>
                  </a:cubicBezTo>
                  <a:cubicBezTo>
                    <a:pt x="310" y="450"/>
                    <a:pt x="319" y="470"/>
                    <a:pt x="327" y="462"/>
                  </a:cubicBezTo>
                  <a:cubicBezTo>
                    <a:pt x="335" y="454"/>
                    <a:pt x="323" y="442"/>
                    <a:pt x="323" y="442"/>
                  </a:cubicBezTo>
                  <a:cubicBezTo>
                    <a:pt x="334" y="434"/>
                    <a:pt x="334" y="434"/>
                    <a:pt x="334" y="434"/>
                  </a:cubicBezTo>
                  <a:cubicBezTo>
                    <a:pt x="343" y="426"/>
                    <a:pt x="343" y="426"/>
                    <a:pt x="343" y="426"/>
                  </a:cubicBezTo>
                  <a:cubicBezTo>
                    <a:pt x="365" y="435"/>
                    <a:pt x="365" y="435"/>
                    <a:pt x="365" y="435"/>
                  </a:cubicBezTo>
                  <a:cubicBezTo>
                    <a:pt x="373" y="426"/>
                    <a:pt x="373" y="426"/>
                    <a:pt x="373" y="426"/>
                  </a:cubicBezTo>
                  <a:cubicBezTo>
                    <a:pt x="390" y="430"/>
                    <a:pt x="390" y="430"/>
                    <a:pt x="390" y="430"/>
                  </a:cubicBezTo>
                  <a:cubicBezTo>
                    <a:pt x="390" y="430"/>
                    <a:pt x="396" y="431"/>
                    <a:pt x="400" y="423"/>
                  </a:cubicBezTo>
                  <a:cubicBezTo>
                    <a:pt x="404" y="415"/>
                    <a:pt x="391" y="410"/>
                    <a:pt x="391" y="410"/>
                  </a:cubicBezTo>
                  <a:cubicBezTo>
                    <a:pt x="402" y="389"/>
                    <a:pt x="402" y="389"/>
                    <a:pt x="402" y="389"/>
                  </a:cubicBezTo>
                  <a:cubicBezTo>
                    <a:pt x="402" y="389"/>
                    <a:pt x="383" y="380"/>
                    <a:pt x="369" y="369"/>
                  </a:cubicBezTo>
                  <a:cubicBezTo>
                    <a:pt x="355" y="358"/>
                    <a:pt x="369" y="355"/>
                    <a:pt x="377" y="350"/>
                  </a:cubicBezTo>
                  <a:cubicBezTo>
                    <a:pt x="385" y="345"/>
                    <a:pt x="361" y="331"/>
                    <a:pt x="361" y="331"/>
                  </a:cubicBezTo>
                  <a:cubicBezTo>
                    <a:pt x="361" y="331"/>
                    <a:pt x="351" y="330"/>
                    <a:pt x="344" y="323"/>
                  </a:cubicBezTo>
                  <a:cubicBezTo>
                    <a:pt x="337" y="316"/>
                    <a:pt x="334" y="299"/>
                    <a:pt x="334" y="299"/>
                  </a:cubicBezTo>
                  <a:cubicBezTo>
                    <a:pt x="320" y="300"/>
                    <a:pt x="320" y="300"/>
                    <a:pt x="320" y="300"/>
                  </a:cubicBezTo>
                  <a:cubicBezTo>
                    <a:pt x="319" y="289"/>
                    <a:pt x="319" y="289"/>
                    <a:pt x="319" y="289"/>
                  </a:cubicBezTo>
                  <a:cubicBezTo>
                    <a:pt x="319" y="289"/>
                    <a:pt x="308" y="278"/>
                    <a:pt x="295" y="267"/>
                  </a:cubicBezTo>
                  <a:cubicBezTo>
                    <a:pt x="282" y="256"/>
                    <a:pt x="285" y="236"/>
                    <a:pt x="285" y="236"/>
                  </a:cubicBezTo>
                  <a:cubicBezTo>
                    <a:pt x="285" y="236"/>
                    <a:pt x="263" y="228"/>
                    <a:pt x="259" y="224"/>
                  </a:cubicBezTo>
                  <a:cubicBezTo>
                    <a:pt x="255" y="220"/>
                    <a:pt x="256" y="203"/>
                    <a:pt x="256" y="203"/>
                  </a:cubicBezTo>
                  <a:cubicBezTo>
                    <a:pt x="256" y="203"/>
                    <a:pt x="238" y="198"/>
                    <a:pt x="232" y="193"/>
                  </a:cubicBezTo>
                  <a:cubicBezTo>
                    <a:pt x="226" y="188"/>
                    <a:pt x="193" y="168"/>
                    <a:pt x="193" y="168"/>
                  </a:cubicBezTo>
                  <a:cubicBezTo>
                    <a:pt x="193" y="168"/>
                    <a:pt x="193" y="156"/>
                    <a:pt x="191" y="152"/>
                  </a:cubicBezTo>
                  <a:cubicBezTo>
                    <a:pt x="189" y="148"/>
                    <a:pt x="218" y="156"/>
                    <a:pt x="218" y="156"/>
                  </a:cubicBezTo>
                  <a:cubicBezTo>
                    <a:pt x="218" y="156"/>
                    <a:pt x="237" y="142"/>
                    <a:pt x="243" y="132"/>
                  </a:cubicBezTo>
                  <a:cubicBezTo>
                    <a:pt x="249" y="122"/>
                    <a:pt x="230" y="120"/>
                    <a:pt x="212" y="112"/>
                  </a:cubicBezTo>
                  <a:cubicBezTo>
                    <a:pt x="194" y="104"/>
                    <a:pt x="214" y="98"/>
                    <a:pt x="214" y="98"/>
                  </a:cubicBezTo>
                  <a:cubicBezTo>
                    <a:pt x="214" y="98"/>
                    <a:pt x="192" y="80"/>
                    <a:pt x="184" y="79"/>
                  </a:cubicBezTo>
                  <a:cubicBezTo>
                    <a:pt x="176" y="78"/>
                    <a:pt x="179" y="90"/>
                    <a:pt x="172" y="98"/>
                  </a:cubicBezTo>
                  <a:cubicBezTo>
                    <a:pt x="165" y="106"/>
                    <a:pt x="160" y="90"/>
                    <a:pt x="160" y="90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38" y="76"/>
                    <a:pt x="128" y="63"/>
                  </a:cubicBezTo>
                  <a:cubicBezTo>
                    <a:pt x="118" y="50"/>
                    <a:pt x="131" y="41"/>
                    <a:pt x="127" y="37"/>
                  </a:cubicBezTo>
                  <a:cubicBezTo>
                    <a:pt x="123" y="33"/>
                    <a:pt x="118" y="40"/>
                    <a:pt x="118" y="40"/>
                  </a:cubicBezTo>
                  <a:cubicBezTo>
                    <a:pt x="118" y="40"/>
                    <a:pt x="102" y="22"/>
                    <a:pt x="96" y="15"/>
                  </a:cubicBezTo>
                  <a:cubicBezTo>
                    <a:pt x="93" y="12"/>
                    <a:pt x="92" y="7"/>
                    <a:pt x="91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59" y="9"/>
                    <a:pt x="60" y="22"/>
                  </a:cubicBezTo>
                  <a:cubicBezTo>
                    <a:pt x="61" y="35"/>
                    <a:pt x="79" y="47"/>
                    <a:pt x="79" y="47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26" y="89"/>
                    <a:pt x="18" y="92"/>
                    <a:pt x="9" y="95"/>
                  </a:cubicBezTo>
                  <a:cubicBezTo>
                    <a:pt x="0" y="98"/>
                    <a:pt x="2" y="110"/>
                    <a:pt x="2" y="110"/>
                  </a:cubicBezTo>
                  <a:cubicBezTo>
                    <a:pt x="6" y="111"/>
                    <a:pt x="17" y="121"/>
                    <a:pt x="17" y="12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16" name="Freeform 32"/>
            <p:cNvSpPr>
              <a:spLocks/>
            </p:cNvSpPr>
            <p:nvPr/>
          </p:nvSpPr>
          <p:spPr bwMode="auto">
            <a:xfrm>
              <a:off x="4402" y="2336"/>
              <a:ext cx="160" cy="304"/>
            </a:xfrm>
            <a:custGeom>
              <a:avLst/>
              <a:gdLst>
                <a:gd name="T0" fmla="*/ 0 w 420"/>
                <a:gd name="T1" fmla="*/ 0 h 800"/>
                <a:gd name="T2" fmla="*/ 0 w 420"/>
                <a:gd name="T3" fmla="*/ 0 h 800"/>
                <a:gd name="T4" fmla="*/ 0 w 420"/>
                <a:gd name="T5" fmla="*/ 0 h 800"/>
                <a:gd name="T6" fmla="*/ 0 w 420"/>
                <a:gd name="T7" fmla="*/ 0 h 800"/>
                <a:gd name="T8" fmla="*/ 0 w 420"/>
                <a:gd name="T9" fmla="*/ 0 h 800"/>
                <a:gd name="T10" fmla="*/ 0 w 420"/>
                <a:gd name="T11" fmla="*/ 0 h 800"/>
                <a:gd name="T12" fmla="*/ 0 w 420"/>
                <a:gd name="T13" fmla="*/ 0 h 800"/>
                <a:gd name="T14" fmla="*/ 0 w 420"/>
                <a:gd name="T15" fmla="*/ 0 h 800"/>
                <a:gd name="T16" fmla="*/ 0 w 420"/>
                <a:gd name="T17" fmla="*/ 0 h 800"/>
                <a:gd name="T18" fmla="*/ 0 w 420"/>
                <a:gd name="T19" fmla="*/ 0 h 800"/>
                <a:gd name="T20" fmla="*/ 0 w 420"/>
                <a:gd name="T21" fmla="*/ 0 h 800"/>
                <a:gd name="T22" fmla="*/ 0 w 420"/>
                <a:gd name="T23" fmla="*/ 0 h 800"/>
                <a:gd name="T24" fmla="*/ 0 w 420"/>
                <a:gd name="T25" fmla="*/ 0 h 800"/>
                <a:gd name="T26" fmla="*/ 0 w 420"/>
                <a:gd name="T27" fmla="*/ 0 h 800"/>
                <a:gd name="T28" fmla="*/ 0 w 420"/>
                <a:gd name="T29" fmla="*/ 0 h 800"/>
                <a:gd name="T30" fmla="*/ 0 w 420"/>
                <a:gd name="T31" fmla="*/ 0 h 800"/>
                <a:gd name="T32" fmla="*/ 0 w 420"/>
                <a:gd name="T33" fmla="*/ 0 h 800"/>
                <a:gd name="T34" fmla="*/ 0 w 420"/>
                <a:gd name="T35" fmla="*/ 0 h 800"/>
                <a:gd name="T36" fmla="*/ 0 w 420"/>
                <a:gd name="T37" fmla="*/ 0 h 800"/>
                <a:gd name="T38" fmla="*/ 0 w 420"/>
                <a:gd name="T39" fmla="*/ 0 h 800"/>
                <a:gd name="T40" fmla="*/ 0 w 420"/>
                <a:gd name="T41" fmla="*/ 0 h 800"/>
                <a:gd name="T42" fmla="*/ 0 w 420"/>
                <a:gd name="T43" fmla="*/ 0 h 800"/>
                <a:gd name="T44" fmla="*/ 0 w 420"/>
                <a:gd name="T45" fmla="*/ 0 h 800"/>
                <a:gd name="T46" fmla="*/ 0 w 420"/>
                <a:gd name="T47" fmla="*/ 0 h 800"/>
                <a:gd name="T48" fmla="*/ 0 w 420"/>
                <a:gd name="T49" fmla="*/ 0 h 800"/>
                <a:gd name="T50" fmla="*/ 0 w 420"/>
                <a:gd name="T51" fmla="*/ 0 h 800"/>
                <a:gd name="T52" fmla="*/ 0 w 420"/>
                <a:gd name="T53" fmla="*/ 0 h 800"/>
                <a:gd name="T54" fmla="*/ 0 w 420"/>
                <a:gd name="T55" fmla="*/ 0 h 800"/>
                <a:gd name="T56" fmla="*/ 0 w 420"/>
                <a:gd name="T57" fmla="*/ 0 h 800"/>
                <a:gd name="T58" fmla="*/ 0 w 420"/>
                <a:gd name="T59" fmla="*/ 0 h 800"/>
                <a:gd name="T60" fmla="*/ 0 w 420"/>
                <a:gd name="T61" fmla="*/ 0 h 800"/>
                <a:gd name="T62" fmla="*/ 0 w 420"/>
                <a:gd name="T63" fmla="*/ 0 h 800"/>
                <a:gd name="T64" fmla="*/ 0 w 420"/>
                <a:gd name="T65" fmla="*/ 0 h 800"/>
                <a:gd name="T66" fmla="*/ 0 w 420"/>
                <a:gd name="T67" fmla="*/ 0 h 800"/>
                <a:gd name="T68" fmla="*/ 0 w 420"/>
                <a:gd name="T69" fmla="*/ 0 h 800"/>
                <a:gd name="T70" fmla="*/ 0 w 420"/>
                <a:gd name="T71" fmla="*/ 0 h 800"/>
                <a:gd name="T72" fmla="*/ 0 w 420"/>
                <a:gd name="T73" fmla="*/ 0 h 800"/>
                <a:gd name="T74" fmla="*/ 0 w 420"/>
                <a:gd name="T75" fmla="*/ 0 h 800"/>
                <a:gd name="T76" fmla="*/ 0 w 420"/>
                <a:gd name="T77" fmla="*/ 0 h 800"/>
                <a:gd name="T78" fmla="*/ 0 w 420"/>
                <a:gd name="T79" fmla="*/ 0 h 800"/>
                <a:gd name="T80" fmla="*/ 0 w 420"/>
                <a:gd name="T81" fmla="*/ 0 h 800"/>
                <a:gd name="T82" fmla="*/ 0 w 420"/>
                <a:gd name="T83" fmla="*/ 0 h 800"/>
                <a:gd name="T84" fmla="*/ 0 w 420"/>
                <a:gd name="T85" fmla="*/ 0 h 800"/>
                <a:gd name="T86" fmla="*/ 0 w 420"/>
                <a:gd name="T87" fmla="*/ 0 h 800"/>
                <a:gd name="T88" fmla="*/ 0 w 420"/>
                <a:gd name="T89" fmla="*/ 0 h 800"/>
                <a:gd name="T90" fmla="*/ 0 w 420"/>
                <a:gd name="T91" fmla="*/ 0 h 800"/>
                <a:gd name="T92" fmla="*/ 0 w 420"/>
                <a:gd name="T93" fmla="*/ 0 h 800"/>
                <a:gd name="T94" fmla="*/ 0 w 420"/>
                <a:gd name="T95" fmla="*/ 0 h 800"/>
                <a:gd name="T96" fmla="*/ 0 w 420"/>
                <a:gd name="T97" fmla="*/ 0 h 800"/>
                <a:gd name="T98" fmla="*/ 0 w 420"/>
                <a:gd name="T99" fmla="*/ 0 h 800"/>
                <a:gd name="T100" fmla="*/ 0 w 420"/>
                <a:gd name="T101" fmla="*/ 0 h 800"/>
                <a:gd name="T102" fmla="*/ 0 w 420"/>
                <a:gd name="T103" fmla="*/ 0 h 800"/>
                <a:gd name="T104" fmla="*/ 0 w 420"/>
                <a:gd name="T105" fmla="*/ 0 h 800"/>
                <a:gd name="T106" fmla="*/ 0 w 420"/>
                <a:gd name="T107" fmla="*/ 0 h 800"/>
                <a:gd name="T108" fmla="*/ 0 w 420"/>
                <a:gd name="T109" fmla="*/ 0 h 800"/>
                <a:gd name="T110" fmla="*/ 0 w 420"/>
                <a:gd name="T111" fmla="*/ 0 h 8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800"/>
                <a:gd name="T170" fmla="*/ 420 w 420"/>
                <a:gd name="T171" fmla="*/ 800 h 8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800">
                  <a:moveTo>
                    <a:pt x="395" y="285"/>
                  </a:moveTo>
                  <a:cubicBezTo>
                    <a:pt x="393" y="281"/>
                    <a:pt x="408" y="268"/>
                    <a:pt x="402" y="258"/>
                  </a:cubicBezTo>
                  <a:cubicBezTo>
                    <a:pt x="396" y="248"/>
                    <a:pt x="393" y="255"/>
                    <a:pt x="393" y="255"/>
                  </a:cubicBezTo>
                  <a:cubicBezTo>
                    <a:pt x="393" y="255"/>
                    <a:pt x="391" y="242"/>
                    <a:pt x="391" y="238"/>
                  </a:cubicBezTo>
                  <a:cubicBezTo>
                    <a:pt x="391" y="234"/>
                    <a:pt x="373" y="227"/>
                    <a:pt x="368" y="218"/>
                  </a:cubicBezTo>
                  <a:cubicBezTo>
                    <a:pt x="363" y="209"/>
                    <a:pt x="356" y="189"/>
                    <a:pt x="356" y="189"/>
                  </a:cubicBezTo>
                  <a:cubicBezTo>
                    <a:pt x="355" y="161"/>
                    <a:pt x="355" y="161"/>
                    <a:pt x="355" y="161"/>
                  </a:cubicBezTo>
                  <a:cubicBezTo>
                    <a:pt x="355" y="161"/>
                    <a:pt x="341" y="149"/>
                    <a:pt x="323" y="138"/>
                  </a:cubicBezTo>
                  <a:cubicBezTo>
                    <a:pt x="305" y="127"/>
                    <a:pt x="318" y="121"/>
                    <a:pt x="310" y="119"/>
                  </a:cubicBezTo>
                  <a:cubicBezTo>
                    <a:pt x="302" y="117"/>
                    <a:pt x="295" y="119"/>
                    <a:pt x="295" y="119"/>
                  </a:cubicBezTo>
                  <a:cubicBezTo>
                    <a:pt x="295" y="119"/>
                    <a:pt x="282" y="110"/>
                    <a:pt x="272" y="111"/>
                  </a:cubicBezTo>
                  <a:cubicBezTo>
                    <a:pt x="262" y="112"/>
                    <a:pt x="265" y="137"/>
                    <a:pt x="251" y="136"/>
                  </a:cubicBezTo>
                  <a:cubicBezTo>
                    <a:pt x="237" y="135"/>
                    <a:pt x="223" y="124"/>
                    <a:pt x="216" y="122"/>
                  </a:cubicBezTo>
                  <a:cubicBezTo>
                    <a:pt x="209" y="120"/>
                    <a:pt x="196" y="145"/>
                    <a:pt x="196" y="145"/>
                  </a:cubicBezTo>
                  <a:cubicBezTo>
                    <a:pt x="196" y="145"/>
                    <a:pt x="177" y="161"/>
                    <a:pt x="167" y="158"/>
                  </a:cubicBezTo>
                  <a:cubicBezTo>
                    <a:pt x="157" y="155"/>
                    <a:pt x="181" y="124"/>
                    <a:pt x="181" y="115"/>
                  </a:cubicBezTo>
                  <a:cubicBezTo>
                    <a:pt x="181" y="106"/>
                    <a:pt x="168" y="107"/>
                    <a:pt x="168" y="107"/>
                  </a:cubicBezTo>
                  <a:cubicBezTo>
                    <a:pt x="168" y="107"/>
                    <a:pt x="182" y="96"/>
                    <a:pt x="182" y="87"/>
                  </a:cubicBezTo>
                  <a:cubicBezTo>
                    <a:pt x="182" y="78"/>
                    <a:pt x="174" y="71"/>
                    <a:pt x="174" y="71"/>
                  </a:cubicBezTo>
                  <a:cubicBezTo>
                    <a:pt x="174" y="71"/>
                    <a:pt x="176" y="65"/>
                    <a:pt x="176" y="51"/>
                  </a:cubicBezTo>
                  <a:cubicBezTo>
                    <a:pt x="176" y="37"/>
                    <a:pt x="153" y="46"/>
                    <a:pt x="153" y="46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2" y="54"/>
                    <a:pt x="136" y="49"/>
                  </a:cubicBezTo>
                  <a:cubicBezTo>
                    <a:pt x="130" y="44"/>
                    <a:pt x="137" y="23"/>
                    <a:pt x="136" y="15"/>
                  </a:cubicBezTo>
                  <a:cubicBezTo>
                    <a:pt x="135" y="7"/>
                    <a:pt x="125" y="12"/>
                    <a:pt x="125" y="12"/>
                  </a:cubicBezTo>
                  <a:cubicBezTo>
                    <a:pt x="125" y="12"/>
                    <a:pt x="114" y="2"/>
                    <a:pt x="110" y="1"/>
                  </a:cubicBezTo>
                  <a:cubicBezTo>
                    <a:pt x="106" y="0"/>
                    <a:pt x="87" y="6"/>
                    <a:pt x="87" y="6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3" y="40"/>
                    <a:pt x="53" y="43"/>
                  </a:cubicBezTo>
                  <a:cubicBezTo>
                    <a:pt x="43" y="46"/>
                    <a:pt x="34" y="35"/>
                    <a:pt x="23" y="37"/>
                  </a:cubicBezTo>
                  <a:cubicBezTo>
                    <a:pt x="12" y="39"/>
                    <a:pt x="20" y="55"/>
                    <a:pt x="19" y="64"/>
                  </a:cubicBezTo>
                  <a:cubicBezTo>
                    <a:pt x="18" y="73"/>
                    <a:pt x="8" y="74"/>
                    <a:pt x="7" y="78"/>
                  </a:cubicBezTo>
                  <a:cubicBezTo>
                    <a:pt x="6" y="82"/>
                    <a:pt x="17" y="93"/>
                    <a:pt x="17" y="102"/>
                  </a:cubicBezTo>
                  <a:cubicBezTo>
                    <a:pt x="17" y="111"/>
                    <a:pt x="6" y="105"/>
                    <a:pt x="3" y="108"/>
                  </a:cubicBezTo>
                  <a:cubicBezTo>
                    <a:pt x="0" y="111"/>
                    <a:pt x="3" y="116"/>
                    <a:pt x="8" y="120"/>
                  </a:cubicBezTo>
                  <a:cubicBezTo>
                    <a:pt x="13" y="124"/>
                    <a:pt x="26" y="130"/>
                    <a:pt x="26" y="130"/>
                  </a:cubicBezTo>
                  <a:cubicBezTo>
                    <a:pt x="22" y="145"/>
                    <a:pt x="22" y="145"/>
                    <a:pt x="22" y="145"/>
                  </a:cubicBezTo>
                  <a:cubicBezTo>
                    <a:pt x="22" y="145"/>
                    <a:pt x="27" y="148"/>
                    <a:pt x="30" y="158"/>
                  </a:cubicBezTo>
                  <a:cubicBezTo>
                    <a:pt x="33" y="168"/>
                    <a:pt x="59" y="177"/>
                    <a:pt x="67" y="188"/>
                  </a:cubicBezTo>
                  <a:cubicBezTo>
                    <a:pt x="75" y="199"/>
                    <a:pt x="61" y="194"/>
                    <a:pt x="66" y="206"/>
                  </a:cubicBezTo>
                  <a:cubicBezTo>
                    <a:pt x="71" y="218"/>
                    <a:pt x="79" y="219"/>
                    <a:pt x="79" y="219"/>
                  </a:cubicBezTo>
                  <a:cubicBezTo>
                    <a:pt x="79" y="219"/>
                    <a:pt x="85" y="211"/>
                    <a:pt x="85" y="224"/>
                  </a:cubicBezTo>
                  <a:cubicBezTo>
                    <a:pt x="85" y="237"/>
                    <a:pt x="73" y="236"/>
                    <a:pt x="73" y="236"/>
                  </a:cubicBezTo>
                  <a:cubicBezTo>
                    <a:pt x="73" y="236"/>
                    <a:pt x="76" y="247"/>
                    <a:pt x="76" y="253"/>
                  </a:cubicBezTo>
                  <a:cubicBezTo>
                    <a:pt x="76" y="259"/>
                    <a:pt x="75" y="269"/>
                    <a:pt x="65" y="279"/>
                  </a:cubicBezTo>
                  <a:cubicBezTo>
                    <a:pt x="55" y="289"/>
                    <a:pt x="63" y="302"/>
                    <a:pt x="63" y="302"/>
                  </a:cubicBezTo>
                  <a:cubicBezTo>
                    <a:pt x="63" y="302"/>
                    <a:pt x="75" y="316"/>
                    <a:pt x="79" y="326"/>
                  </a:cubicBezTo>
                  <a:cubicBezTo>
                    <a:pt x="83" y="336"/>
                    <a:pt x="105" y="349"/>
                    <a:pt x="109" y="364"/>
                  </a:cubicBezTo>
                  <a:cubicBezTo>
                    <a:pt x="113" y="379"/>
                    <a:pt x="108" y="403"/>
                    <a:pt x="112" y="409"/>
                  </a:cubicBezTo>
                  <a:cubicBezTo>
                    <a:pt x="116" y="415"/>
                    <a:pt x="131" y="427"/>
                    <a:pt x="131" y="427"/>
                  </a:cubicBezTo>
                  <a:cubicBezTo>
                    <a:pt x="131" y="427"/>
                    <a:pt x="129" y="437"/>
                    <a:pt x="133" y="450"/>
                  </a:cubicBezTo>
                  <a:cubicBezTo>
                    <a:pt x="137" y="463"/>
                    <a:pt x="130" y="488"/>
                    <a:pt x="127" y="498"/>
                  </a:cubicBezTo>
                  <a:cubicBezTo>
                    <a:pt x="124" y="508"/>
                    <a:pt x="119" y="515"/>
                    <a:pt x="110" y="522"/>
                  </a:cubicBezTo>
                  <a:cubicBezTo>
                    <a:pt x="101" y="529"/>
                    <a:pt x="109" y="536"/>
                    <a:pt x="108" y="545"/>
                  </a:cubicBezTo>
                  <a:cubicBezTo>
                    <a:pt x="107" y="554"/>
                    <a:pt x="98" y="567"/>
                    <a:pt x="98" y="567"/>
                  </a:cubicBezTo>
                  <a:cubicBezTo>
                    <a:pt x="98" y="567"/>
                    <a:pt x="86" y="599"/>
                    <a:pt x="84" y="615"/>
                  </a:cubicBezTo>
                  <a:cubicBezTo>
                    <a:pt x="82" y="631"/>
                    <a:pt x="84" y="676"/>
                    <a:pt x="84" y="676"/>
                  </a:cubicBezTo>
                  <a:cubicBezTo>
                    <a:pt x="84" y="676"/>
                    <a:pt x="94" y="686"/>
                    <a:pt x="96" y="676"/>
                  </a:cubicBezTo>
                  <a:cubicBezTo>
                    <a:pt x="97" y="666"/>
                    <a:pt x="97" y="642"/>
                    <a:pt x="101" y="653"/>
                  </a:cubicBezTo>
                  <a:cubicBezTo>
                    <a:pt x="104" y="665"/>
                    <a:pt x="96" y="665"/>
                    <a:pt x="110" y="667"/>
                  </a:cubicBezTo>
                  <a:cubicBezTo>
                    <a:pt x="124" y="668"/>
                    <a:pt x="132" y="698"/>
                    <a:pt x="132" y="698"/>
                  </a:cubicBezTo>
                  <a:cubicBezTo>
                    <a:pt x="155" y="718"/>
                    <a:pt x="155" y="718"/>
                    <a:pt x="155" y="718"/>
                  </a:cubicBezTo>
                  <a:cubicBezTo>
                    <a:pt x="155" y="718"/>
                    <a:pt x="150" y="729"/>
                    <a:pt x="159" y="743"/>
                  </a:cubicBezTo>
                  <a:cubicBezTo>
                    <a:pt x="165" y="754"/>
                    <a:pt x="173" y="762"/>
                    <a:pt x="177" y="766"/>
                  </a:cubicBezTo>
                  <a:cubicBezTo>
                    <a:pt x="181" y="762"/>
                    <a:pt x="184" y="758"/>
                    <a:pt x="184" y="754"/>
                  </a:cubicBezTo>
                  <a:cubicBezTo>
                    <a:pt x="183" y="745"/>
                    <a:pt x="182" y="739"/>
                    <a:pt x="189" y="738"/>
                  </a:cubicBezTo>
                  <a:cubicBezTo>
                    <a:pt x="196" y="737"/>
                    <a:pt x="198" y="749"/>
                    <a:pt x="198" y="749"/>
                  </a:cubicBezTo>
                  <a:cubicBezTo>
                    <a:pt x="198" y="749"/>
                    <a:pt x="209" y="749"/>
                    <a:pt x="216" y="753"/>
                  </a:cubicBezTo>
                  <a:cubicBezTo>
                    <a:pt x="223" y="757"/>
                    <a:pt x="222" y="765"/>
                    <a:pt x="222" y="765"/>
                  </a:cubicBezTo>
                  <a:cubicBezTo>
                    <a:pt x="222" y="765"/>
                    <a:pt x="229" y="763"/>
                    <a:pt x="229" y="769"/>
                  </a:cubicBezTo>
                  <a:cubicBezTo>
                    <a:pt x="229" y="775"/>
                    <a:pt x="213" y="787"/>
                    <a:pt x="226" y="791"/>
                  </a:cubicBezTo>
                  <a:cubicBezTo>
                    <a:pt x="239" y="795"/>
                    <a:pt x="238" y="785"/>
                    <a:pt x="249" y="784"/>
                  </a:cubicBezTo>
                  <a:cubicBezTo>
                    <a:pt x="260" y="783"/>
                    <a:pt x="262" y="800"/>
                    <a:pt x="268" y="792"/>
                  </a:cubicBezTo>
                  <a:cubicBezTo>
                    <a:pt x="272" y="787"/>
                    <a:pt x="277" y="776"/>
                    <a:pt x="280" y="768"/>
                  </a:cubicBezTo>
                  <a:cubicBezTo>
                    <a:pt x="271" y="761"/>
                    <a:pt x="261" y="755"/>
                    <a:pt x="261" y="755"/>
                  </a:cubicBezTo>
                  <a:cubicBezTo>
                    <a:pt x="261" y="755"/>
                    <a:pt x="256" y="731"/>
                    <a:pt x="253" y="721"/>
                  </a:cubicBezTo>
                  <a:cubicBezTo>
                    <a:pt x="250" y="711"/>
                    <a:pt x="223" y="731"/>
                    <a:pt x="215" y="727"/>
                  </a:cubicBezTo>
                  <a:cubicBezTo>
                    <a:pt x="208" y="723"/>
                    <a:pt x="201" y="686"/>
                    <a:pt x="196" y="689"/>
                  </a:cubicBezTo>
                  <a:cubicBezTo>
                    <a:pt x="191" y="693"/>
                    <a:pt x="196" y="704"/>
                    <a:pt x="190" y="705"/>
                  </a:cubicBezTo>
                  <a:cubicBezTo>
                    <a:pt x="184" y="706"/>
                    <a:pt x="169" y="683"/>
                    <a:pt x="177" y="675"/>
                  </a:cubicBezTo>
                  <a:cubicBezTo>
                    <a:pt x="185" y="667"/>
                    <a:pt x="182" y="682"/>
                    <a:pt x="190" y="679"/>
                  </a:cubicBezTo>
                  <a:cubicBezTo>
                    <a:pt x="198" y="676"/>
                    <a:pt x="180" y="645"/>
                    <a:pt x="178" y="639"/>
                  </a:cubicBezTo>
                  <a:cubicBezTo>
                    <a:pt x="176" y="633"/>
                    <a:pt x="165" y="635"/>
                    <a:pt x="165" y="635"/>
                  </a:cubicBezTo>
                  <a:cubicBezTo>
                    <a:pt x="166" y="598"/>
                    <a:pt x="166" y="598"/>
                    <a:pt x="166" y="598"/>
                  </a:cubicBezTo>
                  <a:cubicBezTo>
                    <a:pt x="131" y="608"/>
                    <a:pt x="131" y="608"/>
                    <a:pt x="131" y="608"/>
                  </a:cubicBezTo>
                  <a:cubicBezTo>
                    <a:pt x="131" y="608"/>
                    <a:pt x="127" y="549"/>
                    <a:pt x="126" y="542"/>
                  </a:cubicBezTo>
                  <a:cubicBezTo>
                    <a:pt x="125" y="534"/>
                    <a:pt x="120" y="524"/>
                    <a:pt x="120" y="524"/>
                  </a:cubicBezTo>
                  <a:cubicBezTo>
                    <a:pt x="120" y="524"/>
                    <a:pt x="136" y="516"/>
                    <a:pt x="137" y="498"/>
                  </a:cubicBezTo>
                  <a:cubicBezTo>
                    <a:pt x="138" y="479"/>
                    <a:pt x="138" y="456"/>
                    <a:pt x="138" y="456"/>
                  </a:cubicBezTo>
                  <a:cubicBezTo>
                    <a:pt x="138" y="456"/>
                    <a:pt x="152" y="449"/>
                    <a:pt x="153" y="425"/>
                  </a:cubicBezTo>
                  <a:cubicBezTo>
                    <a:pt x="154" y="400"/>
                    <a:pt x="147" y="396"/>
                    <a:pt x="147" y="396"/>
                  </a:cubicBezTo>
                  <a:cubicBezTo>
                    <a:pt x="151" y="374"/>
                    <a:pt x="151" y="374"/>
                    <a:pt x="151" y="374"/>
                  </a:cubicBezTo>
                  <a:cubicBezTo>
                    <a:pt x="158" y="374"/>
                    <a:pt x="158" y="374"/>
                    <a:pt x="158" y="374"/>
                  </a:cubicBezTo>
                  <a:cubicBezTo>
                    <a:pt x="158" y="374"/>
                    <a:pt x="159" y="366"/>
                    <a:pt x="171" y="367"/>
                  </a:cubicBezTo>
                  <a:cubicBezTo>
                    <a:pt x="182" y="367"/>
                    <a:pt x="201" y="381"/>
                    <a:pt x="201" y="381"/>
                  </a:cubicBezTo>
                  <a:cubicBezTo>
                    <a:pt x="193" y="387"/>
                    <a:pt x="193" y="387"/>
                    <a:pt x="193" y="387"/>
                  </a:cubicBezTo>
                  <a:cubicBezTo>
                    <a:pt x="193" y="387"/>
                    <a:pt x="188" y="419"/>
                    <a:pt x="199" y="419"/>
                  </a:cubicBezTo>
                  <a:cubicBezTo>
                    <a:pt x="211" y="420"/>
                    <a:pt x="247" y="403"/>
                    <a:pt x="247" y="403"/>
                  </a:cubicBezTo>
                  <a:cubicBezTo>
                    <a:pt x="265" y="457"/>
                    <a:pt x="265" y="457"/>
                    <a:pt x="265" y="457"/>
                  </a:cubicBezTo>
                  <a:cubicBezTo>
                    <a:pt x="265" y="457"/>
                    <a:pt x="273" y="445"/>
                    <a:pt x="284" y="450"/>
                  </a:cubicBezTo>
                  <a:cubicBezTo>
                    <a:pt x="287" y="431"/>
                    <a:pt x="287" y="431"/>
                    <a:pt x="287" y="431"/>
                  </a:cubicBezTo>
                  <a:cubicBezTo>
                    <a:pt x="276" y="421"/>
                    <a:pt x="276" y="421"/>
                    <a:pt x="276" y="421"/>
                  </a:cubicBezTo>
                  <a:cubicBezTo>
                    <a:pt x="276" y="402"/>
                    <a:pt x="276" y="402"/>
                    <a:pt x="276" y="402"/>
                  </a:cubicBezTo>
                  <a:cubicBezTo>
                    <a:pt x="269" y="396"/>
                    <a:pt x="269" y="396"/>
                    <a:pt x="269" y="396"/>
                  </a:cubicBezTo>
                  <a:cubicBezTo>
                    <a:pt x="267" y="371"/>
                    <a:pt x="267" y="371"/>
                    <a:pt x="267" y="371"/>
                  </a:cubicBezTo>
                  <a:cubicBezTo>
                    <a:pt x="286" y="351"/>
                    <a:pt x="286" y="351"/>
                    <a:pt x="286" y="351"/>
                  </a:cubicBezTo>
                  <a:cubicBezTo>
                    <a:pt x="286" y="351"/>
                    <a:pt x="286" y="332"/>
                    <a:pt x="313" y="327"/>
                  </a:cubicBezTo>
                  <a:cubicBezTo>
                    <a:pt x="340" y="322"/>
                    <a:pt x="341" y="332"/>
                    <a:pt x="341" y="332"/>
                  </a:cubicBezTo>
                  <a:cubicBezTo>
                    <a:pt x="341" y="332"/>
                    <a:pt x="363" y="326"/>
                    <a:pt x="368" y="325"/>
                  </a:cubicBezTo>
                  <a:cubicBezTo>
                    <a:pt x="373" y="324"/>
                    <a:pt x="390" y="333"/>
                    <a:pt x="390" y="333"/>
                  </a:cubicBezTo>
                  <a:cubicBezTo>
                    <a:pt x="390" y="333"/>
                    <a:pt x="400" y="328"/>
                    <a:pt x="410" y="316"/>
                  </a:cubicBezTo>
                  <a:cubicBezTo>
                    <a:pt x="420" y="304"/>
                    <a:pt x="397" y="289"/>
                    <a:pt x="395" y="285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17" name="Freeform 33"/>
            <p:cNvSpPr>
              <a:spLocks/>
            </p:cNvSpPr>
            <p:nvPr/>
          </p:nvSpPr>
          <p:spPr bwMode="auto">
            <a:xfrm>
              <a:off x="4477" y="2277"/>
              <a:ext cx="155" cy="302"/>
            </a:xfrm>
            <a:custGeom>
              <a:avLst/>
              <a:gdLst>
                <a:gd name="T0" fmla="*/ 0 w 407"/>
                <a:gd name="T1" fmla="*/ 0 h 795"/>
                <a:gd name="T2" fmla="*/ 0 w 407"/>
                <a:gd name="T3" fmla="*/ 0 h 795"/>
                <a:gd name="T4" fmla="*/ 0 w 407"/>
                <a:gd name="T5" fmla="*/ 0 h 795"/>
                <a:gd name="T6" fmla="*/ 0 w 407"/>
                <a:gd name="T7" fmla="*/ 0 h 795"/>
                <a:gd name="T8" fmla="*/ 0 w 407"/>
                <a:gd name="T9" fmla="*/ 0 h 795"/>
                <a:gd name="T10" fmla="*/ 0 w 407"/>
                <a:gd name="T11" fmla="*/ 0 h 795"/>
                <a:gd name="T12" fmla="*/ 0 w 407"/>
                <a:gd name="T13" fmla="*/ 0 h 795"/>
                <a:gd name="T14" fmla="*/ 0 w 407"/>
                <a:gd name="T15" fmla="*/ 0 h 795"/>
                <a:gd name="T16" fmla="*/ 0 w 407"/>
                <a:gd name="T17" fmla="*/ 0 h 795"/>
                <a:gd name="T18" fmla="*/ 0 w 407"/>
                <a:gd name="T19" fmla="*/ 0 h 795"/>
                <a:gd name="T20" fmla="*/ 0 w 407"/>
                <a:gd name="T21" fmla="*/ 0 h 795"/>
                <a:gd name="T22" fmla="*/ 0 w 407"/>
                <a:gd name="T23" fmla="*/ 0 h 795"/>
                <a:gd name="T24" fmla="*/ 0 w 407"/>
                <a:gd name="T25" fmla="*/ 0 h 795"/>
                <a:gd name="T26" fmla="*/ 0 w 407"/>
                <a:gd name="T27" fmla="*/ 0 h 795"/>
                <a:gd name="T28" fmla="*/ 0 w 407"/>
                <a:gd name="T29" fmla="*/ 0 h 795"/>
                <a:gd name="T30" fmla="*/ 0 w 407"/>
                <a:gd name="T31" fmla="*/ 0 h 795"/>
                <a:gd name="T32" fmla="*/ 0 w 407"/>
                <a:gd name="T33" fmla="*/ 0 h 795"/>
                <a:gd name="T34" fmla="*/ 0 w 407"/>
                <a:gd name="T35" fmla="*/ 0 h 795"/>
                <a:gd name="T36" fmla="*/ 0 w 407"/>
                <a:gd name="T37" fmla="*/ 0 h 795"/>
                <a:gd name="T38" fmla="*/ 0 w 407"/>
                <a:gd name="T39" fmla="*/ 0 h 795"/>
                <a:gd name="T40" fmla="*/ 0 w 407"/>
                <a:gd name="T41" fmla="*/ 0 h 795"/>
                <a:gd name="T42" fmla="*/ 0 w 407"/>
                <a:gd name="T43" fmla="*/ 0 h 795"/>
                <a:gd name="T44" fmla="*/ 0 w 407"/>
                <a:gd name="T45" fmla="*/ 0 h 795"/>
                <a:gd name="T46" fmla="*/ 0 w 407"/>
                <a:gd name="T47" fmla="*/ 0 h 795"/>
                <a:gd name="T48" fmla="*/ 0 w 407"/>
                <a:gd name="T49" fmla="*/ 0 h 795"/>
                <a:gd name="T50" fmla="*/ 0 w 407"/>
                <a:gd name="T51" fmla="*/ 0 h 795"/>
                <a:gd name="T52" fmla="*/ 0 w 407"/>
                <a:gd name="T53" fmla="*/ 0 h 795"/>
                <a:gd name="T54" fmla="*/ 0 w 407"/>
                <a:gd name="T55" fmla="*/ 0 h 795"/>
                <a:gd name="T56" fmla="*/ 0 w 407"/>
                <a:gd name="T57" fmla="*/ 0 h 795"/>
                <a:gd name="T58" fmla="*/ 0 w 407"/>
                <a:gd name="T59" fmla="*/ 0 h 795"/>
                <a:gd name="T60" fmla="*/ 0 w 407"/>
                <a:gd name="T61" fmla="*/ 0 h 795"/>
                <a:gd name="T62" fmla="*/ 0 w 407"/>
                <a:gd name="T63" fmla="*/ 0 h 795"/>
                <a:gd name="T64" fmla="*/ 0 w 407"/>
                <a:gd name="T65" fmla="*/ 0 h 795"/>
                <a:gd name="T66" fmla="*/ 0 w 407"/>
                <a:gd name="T67" fmla="*/ 0 h 795"/>
                <a:gd name="T68" fmla="*/ 0 w 407"/>
                <a:gd name="T69" fmla="*/ 0 h 795"/>
                <a:gd name="T70" fmla="*/ 0 w 407"/>
                <a:gd name="T71" fmla="*/ 0 h 795"/>
                <a:gd name="T72" fmla="*/ 0 w 407"/>
                <a:gd name="T73" fmla="*/ 0 h 795"/>
                <a:gd name="T74" fmla="*/ 0 w 407"/>
                <a:gd name="T75" fmla="*/ 0 h 795"/>
                <a:gd name="T76" fmla="*/ 0 w 407"/>
                <a:gd name="T77" fmla="*/ 0 h 795"/>
                <a:gd name="T78" fmla="*/ 0 w 407"/>
                <a:gd name="T79" fmla="*/ 0 h 795"/>
                <a:gd name="T80" fmla="*/ 0 w 407"/>
                <a:gd name="T81" fmla="*/ 0 h 795"/>
                <a:gd name="T82" fmla="*/ 0 w 407"/>
                <a:gd name="T83" fmla="*/ 0 h 795"/>
                <a:gd name="T84" fmla="*/ 0 w 407"/>
                <a:gd name="T85" fmla="*/ 0 h 795"/>
                <a:gd name="T86" fmla="*/ 0 w 407"/>
                <a:gd name="T87" fmla="*/ 0 h 795"/>
                <a:gd name="T88" fmla="*/ 0 w 407"/>
                <a:gd name="T89" fmla="*/ 0 h 795"/>
                <a:gd name="T90" fmla="*/ 0 w 407"/>
                <a:gd name="T91" fmla="*/ 0 h 795"/>
                <a:gd name="T92" fmla="*/ 0 w 407"/>
                <a:gd name="T93" fmla="*/ 0 h 795"/>
                <a:gd name="T94" fmla="*/ 0 w 407"/>
                <a:gd name="T95" fmla="*/ 0 h 795"/>
                <a:gd name="T96" fmla="*/ 0 w 407"/>
                <a:gd name="T97" fmla="*/ 0 h 795"/>
                <a:gd name="T98" fmla="*/ 0 w 407"/>
                <a:gd name="T99" fmla="*/ 0 h 795"/>
                <a:gd name="T100" fmla="*/ 0 w 407"/>
                <a:gd name="T101" fmla="*/ 0 h 795"/>
                <a:gd name="T102" fmla="*/ 0 w 407"/>
                <a:gd name="T103" fmla="*/ 0 h 79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07"/>
                <a:gd name="T157" fmla="*/ 0 h 795"/>
                <a:gd name="T158" fmla="*/ 407 w 407"/>
                <a:gd name="T159" fmla="*/ 795 h 79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07" h="795">
                  <a:moveTo>
                    <a:pt x="4" y="32"/>
                  </a:moveTo>
                  <a:cubicBezTo>
                    <a:pt x="0" y="40"/>
                    <a:pt x="0" y="55"/>
                    <a:pt x="6" y="62"/>
                  </a:cubicBezTo>
                  <a:cubicBezTo>
                    <a:pt x="12" y="69"/>
                    <a:pt x="28" y="87"/>
                    <a:pt x="28" y="87"/>
                  </a:cubicBezTo>
                  <a:cubicBezTo>
                    <a:pt x="28" y="87"/>
                    <a:pt x="33" y="80"/>
                    <a:pt x="37" y="84"/>
                  </a:cubicBezTo>
                  <a:cubicBezTo>
                    <a:pt x="41" y="88"/>
                    <a:pt x="28" y="97"/>
                    <a:pt x="38" y="110"/>
                  </a:cubicBezTo>
                  <a:cubicBezTo>
                    <a:pt x="48" y="123"/>
                    <a:pt x="61" y="137"/>
                    <a:pt x="61" y="137"/>
                  </a:cubicBezTo>
                  <a:cubicBezTo>
                    <a:pt x="70" y="137"/>
                    <a:pt x="70" y="137"/>
                    <a:pt x="70" y="137"/>
                  </a:cubicBezTo>
                  <a:cubicBezTo>
                    <a:pt x="70" y="137"/>
                    <a:pt x="75" y="153"/>
                    <a:pt x="82" y="145"/>
                  </a:cubicBezTo>
                  <a:cubicBezTo>
                    <a:pt x="89" y="137"/>
                    <a:pt x="86" y="125"/>
                    <a:pt x="94" y="126"/>
                  </a:cubicBezTo>
                  <a:cubicBezTo>
                    <a:pt x="102" y="127"/>
                    <a:pt x="124" y="145"/>
                    <a:pt x="124" y="145"/>
                  </a:cubicBezTo>
                  <a:cubicBezTo>
                    <a:pt x="124" y="145"/>
                    <a:pt x="104" y="151"/>
                    <a:pt x="122" y="159"/>
                  </a:cubicBezTo>
                  <a:cubicBezTo>
                    <a:pt x="140" y="167"/>
                    <a:pt x="159" y="169"/>
                    <a:pt x="153" y="179"/>
                  </a:cubicBezTo>
                  <a:cubicBezTo>
                    <a:pt x="147" y="189"/>
                    <a:pt x="128" y="203"/>
                    <a:pt x="128" y="203"/>
                  </a:cubicBezTo>
                  <a:cubicBezTo>
                    <a:pt x="128" y="203"/>
                    <a:pt x="99" y="195"/>
                    <a:pt x="101" y="199"/>
                  </a:cubicBezTo>
                  <a:cubicBezTo>
                    <a:pt x="103" y="203"/>
                    <a:pt x="103" y="215"/>
                    <a:pt x="103" y="215"/>
                  </a:cubicBezTo>
                  <a:cubicBezTo>
                    <a:pt x="103" y="215"/>
                    <a:pt x="136" y="235"/>
                    <a:pt x="142" y="240"/>
                  </a:cubicBezTo>
                  <a:cubicBezTo>
                    <a:pt x="148" y="245"/>
                    <a:pt x="166" y="250"/>
                    <a:pt x="166" y="250"/>
                  </a:cubicBezTo>
                  <a:cubicBezTo>
                    <a:pt x="166" y="250"/>
                    <a:pt x="165" y="267"/>
                    <a:pt x="169" y="271"/>
                  </a:cubicBezTo>
                  <a:cubicBezTo>
                    <a:pt x="173" y="275"/>
                    <a:pt x="195" y="283"/>
                    <a:pt x="195" y="283"/>
                  </a:cubicBezTo>
                  <a:cubicBezTo>
                    <a:pt x="195" y="283"/>
                    <a:pt x="192" y="303"/>
                    <a:pt x="205" y="314"/>
                  </a:cubicBezTo>
                  <a:cubicBezTo>
                    <a:pt x="218" y="325"/>
                    <a:pt x="229" y="336"/>
                    <a:pt x="229" y="336"/>
                  </a:cubicBezTo>
                  <a:cubicBezTo>
                    <a:pt x="230" y="347"/>
                    <a:pt x="230" y="347"/>
                    <a:pt x="230" y="347"/>
                  </a:cubicBezTo>
                  <a:cubicBezTo>
                    <a:pt x="244" y="346"/>
                    <a:pt x="244" y="346"/>
                    <a:pt x="244" y="346"/>
                  </a:cubicBezTo>
                  <a:cubicBezTo>
                    <a:pt x="244" y="346"/>
                    <a:pt x="247" y="363"/>
                    <a:pt x="254" y="370"/>
                  </a:cubicBezTo>
                  <a:cubicBezTo>
                    <a:pt x="261" y="377"/>
                    <a:pt x="271" y="378"/>
                    <a:pt x="271" y="378"/>
                  </a:cubicBezTo>
                  <a:cubicBezTo>
                    <a:pt x="271" y="378"/>
                    <a:pt x="295" y="392"/>
                    <a:pt x="287" y="397"/>
                  </a:cubicBezTo>
                  <a:cubicBezTo>
                    <a:pt x="279" y="402"/>
                    <a:pt x="265" y="405"/>
                    <a:pt x="279" y="416"/>
                  </a:cubicBezTo>
                  <a:cubicBezTo>
                    <a:pt x="293" y="427"/>
                    <a:pt x="312" y="436"/>
                    <a:pt x="312" y="436"/>
                  </a:cubicBezTo>
                  <a:cubicBezTo>
                    <a:pt x="301" y="457"/>
                    <a:pt x="301" y="457"/>
                    <a:pt x="301" y="457"/>
                  </a:cubicBezTo>
                  <a:cubicBezTo>
                    <a:pt x="301" y="457"/>
                    <a:pt x="314" y="462"/>
                    <a:pt x="310" y="470"/>
                  </a:cubicBezTo>
                  <a:cubicBezTo>
                    <a:pt x="306" y="478"/>
                    <a:pt x="300" y="477"/>
                    <a:pt x="300" y="477"/>
                  </a:cubicBezTo>
                  <a:cubicBezTo>
                    <a:pt x="300" y="505"/>
                    <a:pt x="300" y="505"/>
                    <a:pt x="300" y="505"/>
                  </a:cubicBezTo>
                  <a:cubicBezTo>
                    <a:pt x="300" y="505"/>
                    <a:pt x="321" y="516"/>
                    <a:pt x="321" y="529"/>
                  </a:cubicBezTo>
                  <a:cubicBezTo>
                    <a:pt x="321" y="542"/>
                    <a:pt x="305" y="542"/>
                    <a:pt x="306" y="545"/>
                  </a:cubicBezTo>
                  <a:cubicBezTo>
                    <a:pt x="307" y="548"/>
                    <a:pt x="317" y="584"/>
                    <a:pt x="317" y="584"/>
                  </a:cubicBezTo>
                  <a:cubicBezTo>
                    <a:pt x="314" y="598"/>
                    <a:pt x="314" y="598"/>
                    <a:pt x="314" y="598"/>
                  </a:cubicBezTo>
                  <a:cubicBezTo>
                    <a:pt x="314" y="598"/>
                    <a:pt x="302" y="593"/>
                    <a:pt x="297" y="596"/>
                  </a:cubicBezTo>
                  <a:cubicBezTo>
                    <a:pt x="292" y="599"/>
                    <a:pt x="291" y="610"/>
                    <a:pt x="291" y="610"/>
                  </a:cubicBezTo>
                  <a:cubicBezTo>
                    <a:pt x="270" y="611"/>
                    <a:pt x="270" y="611"/>
                    <a:pt x="270" y="611"/>
                  </a:cubicBezTo>
                  <a:cubicBezTo>
                    <a:pt x="273" y="625"/>
                    <a:pt x="273" y="625"/>
                    <a:pt x="273" y="625"/>
                  </a:cubicBezTo>
                  <a:cubicBezTo>
                    <a:pt x="273" y="625"/>
                    <a:pt x="246" y="621"/>
                    <a:pt x="244" y="627"/>
                  </a:cubicBezTo>
                  <a:cubicBezTo>
                    <a:pt x="242" y="633"/>
                    <a:pt x="242" y="651"/>
                    <a:pt x="252" y="659"/>
                  </a:cubicBezTo>
                  <a:cubicBezTo>
                    <a:pt x="262" y="667"/>
                    <a:pt x="269" y="677"/>
                    <a:pt x="262" y="678"/>
                  </a:cubicBezTo>
                  <a:cubicBezTo>
                    <a:pt x="255" y="679"/>
                    <a:pt x="248" y="663"/>
                    <a:pt x="238" y="663"/>
                  </a:cubicBezTo>
                  <a:cubicBezTo>
                    <a:pt x="228" y="663"/>
                    <a:pt x="226" y="670"/>
                    <a:pt x="222" y="670"/>
                  </a:cubicBezTo>
                  <a:cubicBezTo>
                    <a:pt x="218" y="670"/>
                    <a:pt x="204" y="670"/>
                    <a:pt x="204" y="670"/>
                  </a:cubicBezTo>
                  <a:cubicBezTo>
                    <a:pt x="204" y="670"/>
                    <a:pt x="228" y="684"/>
                    <a:pt x="208" y="686"/>
                  </a:cubicBezTo>
                  <a:cubicBezTo>
                    <a:pt x="188" y="688"/>
                    <a:pt x="174" y="695"/>
                    <a:pt x="180" y="703"/>
                  </a:cubicBezTo>
                  <a:cubicBezTo>
                    <a:pt x="186" y="711"/>
                    <a:pt x="209" y="723"/>
                    <a:pt x="209" y="723"/>
                  </a:cubicBezTo>
                  <a:cubicBezTo>
                    <a:pt x="196" y="734"/>
                    <a:pt x="196" y="734"/>
                    <a:pt x="196" y="734"/>
                  </a:cubicBezTo>
                  <a:cubicBezTo>
                    <a:pt x="196" y="734"/>
                    <a:pt x="210" y="769"/>
                    <a:pt x="203" y="775"/>
                  </a:cubicBezTo>
                  <a:cubicBezTo>
                    <a:pt x="199" y="778"/>
                    <a:pt x="196" y="784"/>
                    <a:pt x="194" y="789"/>
                  </a:cubicBezTo>
                  <a:cubicBezTo>
                    <a:pt x="195" y="789"/>
                    <a:pt x="195" y="789"/>
                    <a:pt x="195" y="789"/>
                  </a:cubicBezTo>
                  <a:cubicBezTo>
                    <a:pt x="204" y="795"/>
                    <a:pt x="218" y="795"/>
                    <a:pt x="228" y="783"/>
                  </a:cubicBezTo>
                  <a:cubicBezTo>
                    <a:pt x="239" y="772"/>
                    <a:pt x="252" y="768"/>
                    <a:pt x="252" y="768"/>
                  </a:cubicBezTo>
                  <a:cubicBezTo>
                    <a:pt x="255" y="752"/>
                    <a:pt x="255" y="752"/>
                    <a:pt x="255" y="752"/>
                  </a:cubicBezTo>
                  <a:cubicBezTo>
                    <a:pt x="255" y="736"/>
                    <a:pt x="255" y="736"/>
                    <a:pt x="255" y="736"/>
                  </a:cubicBezTo>
                  <a:cubicBezTo>
                    <a:pt x="255" y="736"/>
                    <a:pt x="280" y="747"/>
                    <a:pt x="285" y="735"/>
                  </a:cubicBezTo>
                  <a:cubicBezTo>
                    <a:pt x="289" y="723"/>
                    <a:pt x="269" y="711"/>
                    <a:pt x="273" y="708"/>
                  </a:cubicBezTo>
                  <a:cubicBezTo>
                    <a:pt x="277" y="704"/>
                    <a:pt x="300" y="693"/>
                    <a:pt x="300" y="693"/>
                  </a:cubicBezTo>
                  <a:cubicBezTo>
                    <a:pt x="300" y="693"/>
                    <a:pt x="311" y="702"/>
                    <a:pt x="334" y="690"/>
                  </a:cubicBezTo>
                  <a:cubicBezTo>
                    <a:pt x="356" y="679"/>
                    <a:pt x="387" y="656"/>
                    <a:pt x="391" y="639"/>
                  </a:cubicBezTo>
                  <a:cubicBezTo>
                    <a:pt x="394" y="622"/>
                    <a:pt x="407" y="577"/>
                    <a:pt x="405" y="567"/>
                  </a:cubicBezTo>
                  <a:cubicBezTo>
                    <a:pt x="403" y="557"/>
                    <a:pt x="385" y="539"/>
                    <a:pt x="385" y="539"/>
                  </a:cubicBezTo>
                  <a:cubicBezTo>
                    <a:pt x="395" y="535"/>
                    <a:pt x="395" y="535"/>
                    <a:pt x="395" y="535"/>
                  </a:cubicBezTo>
                  <a:cubicBezTo>
                    <a:pt x="395" y="535"/>
                    <a:pt x="395" y="498"/>
                    <a:pt x="390" y="485"/>
                  </a:cubicBezTo>
                  <a:cubicBezTo>
                    <a:pt x="384" y="471"/>
                    <a:pt x="368" y="448"/>
                    <a:pt x="368" y="448"/>
                  </a:cubicBezTo>
                  <a:cubicBezTo>
                    <a:pt x="368" y="448"/>
                    <a:pt x="379" y="434"/>
                    <a:pt x="363" y="418"/>
                  </a:cubicBezTo>
                  <a:cubicBezTo>
                    <a:pt x="347" y="403"/>
                    <a:pt x="302" y="361"/>
                    <a:pt x="288" y="354"/>
                  </a:cubicBezTo>
                  <a:cubicBezTo>
                    <a:pt x="274" y="348"/>
                    <a:pt x="259" y="340"/>
                    <a:pt x="256" y="332"/>
                  </a:cubicBezTo>
                  <a:cubicBezTo>
                    <a:pt x="252" y="325"/>
                    <a:pt x="260" y="319"/>
                    <a:pt x="254" y="309"/>
                  </a:cubicBezTo>
                  <a:cubicBezTo>
                    <a:pt x="248" y="299"/>
                    <a:pt x="200" y="258"/>
                    <a:pt x="193" y="235"/>
                  </a:cubicBezTo>
                  <a:cubicBezTo>
                    <a:pt x="187" y="211"/>
                    <a:pt x="182" y="185"/>
                    <a:pt x="188" y="180"/>
                  </a:cubicBezTo>
                  <a:cubicBezTo>
                    <a:pt x="195" y="176"/>
                    <a:pt x="197" y="160"/>
                    <a:pt x="197" y="160"/>
                  </a:cubicBezTo>
                  <a:cubicBezTo>
                    <a:pt x="197" y="160"/>
                    <a:pt x="215" y="147"/>
                    <a:pt x="220" y="143"/>
                  </a:cubicBezTo>
                  <a:cubicBezTo>
                    <a:pt x="226" y="140"/>
                    <a:pt x="229" y="129"/>
                    <a:pt x="229" y="129"/>
                  </a:cubicBezTo>
                  <a:cubicBezTo>
                    <a:pt x="229" y="129"/>
                    <a:pt x="248" y="132"/>
                    <a:pt x="254" y="127"/>
                  </a:cubicBezTo>
                  <a:cubicBezTo>
                    <a:pt x="259" y="122"/>
                    <a:pt x="259" y="100"/>
                    <a:pt x="259" y="100"/>
                  </a:cubicBezTo>
                  <a:cubicBezTo>
                    <a:pt x="266" y="95"/>
                    <a:pt x="266" y="95"/>
                    <a:pt x="266" y="95"/>
                  </a:cubicBezTo>
                  <a:cubicBezTo>
                    <a:pt x="264" y="94"/>
                    <a:pt x="261" y="92"/>
                    <a:pt x="257" y="92"/>
                  </a:cubicBezTo>
                  <a:cubicBezTo>
                    <a:pt x="249" y="91"/>
                    <a:pt x="236" y="94"/>
                    <a:pt x="229" y="87"/>
                  </a:cubicBezTo>
                  <a:cubicBezTo>
                    <a:pt x="222" y="80"/>
                    <a:pt x="218" y="75"/>
                    <a:pt x="218" y="75"/>
                  </a:cubicBezTo>
                  <a:cubicBezTo>
                    <a:pt x="207" y="74"/>
                    <a:pt x="207" y="74"/>
                    <a:pt x="207" y="74"/>
                  </a:cubicBezTo>
                  <a:cubicBezTo>
                    <a:pt x="207" y="61"/>
                    <a:pt x="207" y="61"/>
                    <a:pt x="207" y="61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96" y="47"/>
                    <a:pt x="196" y="47"/>
                    <a:pt x="196" y="47"/>
                  </a:cubicBezTo>
                  <a:cubicBezTo>
                    <a:pt x="196" y="47"/>
                    <a:pt x="212" y="40"/>
                    <a:pt x="207" y="32"/>
                  </a:cubicBezTo>
                  <a:cubicBezTo>
                    <a:pt x="202" y="24"/>
                    <a:pt x="182" y="25"/>
                    <a:pt x="182" y="25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4" y="0"/>
                    <a:pt x="119" y="4"/>
                    <a:pt x="115" y="9"/>
                  </a:cubicBezTo>
                  <a:cubicBezTo>
                    <a:pt x="111" y="14"/>
                    <a:pt x="117" y="28"/>
                    <a:pt x="110" y="30"/>
                  </a:cubicBezTo>
                  <a:cubicBezTo>
                    <a:pt x="103" y="32"/>
                    <a:pt x="95" y="36"/>
                    <a:pt x="95" y="36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97" y="45"/>
                    <a:pt x="84" y="46"/>
                  </a:cubicBezTo>
                  <a:cubicBezTo>
                    <a:pt x="71" y="47"/>
                    <a:pt x="72" y="42"/>
                    <a:pt x="72" y="42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39" y="47"/>
                    <a:pt x="33" y="47"/>
                  </a:cubicBezTo>
                  <a:cubicBezTo>
                    <a:pt x="27" y="47"/>
                    <a:pt x="8" y="24"/>
                    <a:pt x="4" y="32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18" name="Freeform 34"/>
            <p:cNvSpPr>
              <a:spLocks/>
            </p:cNvSpPr>
            <p:nvPr/>
          </p:nvSpPr>
          <p:spPr bwMode="auto">
            <a:xfrm>
              <a:off x="4065" y="2129"/>
              <a:ext cx="151" cy="88"/>
            </a:xfrm>
            <a:custGeom>
              <a:avLst/>
              <a:gdLst>
                <a:gd name="T0" fmla="*/ 0 w 400"/>
                <a:gd name="T1" fmla="*/ 0 h 233"/>
                <a:gd name="T2" fmla="*/ 0 w 400"/>
                <a:gd name="T3" fmla="*/ 0 h 233"/>
                <a:gd name="T4" fmla="*/ 0 w 400"/>
                <a:gd name="T5" fmla="*/ 0 h 233"/>
                <a:gd name="T6" fmla="*/ 0 w 400"/>
                <a:gd name="T7" fmla="*/ 0 h 233"/>
                <a:gd name="T8" fmla="*/ 0 w 400"/>
                <a:gd name="T9" fmla="*/ 0 h 233"/>
                <a:gd name="T10" fmla="*/ 0 w 400"/>
                <a:gd name="T11" fmla="*/ 0 h 233"/>
                <a:gd name="T12" fmla="*/ 0 w 400"/>
                <a:gd name="T13" fmla="*/ 0 h 233"/>
                <a:gd name="T14" fmla="*/ 0 w 400"/>
                <a:gd name="T15" fmla="*/ 0 h 233"/>
                <a:gd name="T16" fmla="*/ 0 w 400"/>
                <a:gd name="T17" fmla="*/ 0 h 233"/>
                <a:gd name="T18" fmla="*/ 0 w 400"/>
                <a:gd name="T19" fmla="*/ 0 h 233"/>
                <a:gd name="T20" fmla="*/ 0 w 400"/>
                <a:gd name="T21" fmla="*/ 0 h 233"/>
                <a:gd name="T22" fmla="*/ 0 w 400"/>
                <a:gd name="T23" fmla="*/ 0 h 233"/>
                <a:gd name="T24" fmla="*/ 0 w 400"/>
                <a:gd name="T25" fmla="*/ 0 h 233"/>
                <a:gd name="T26" fmla="*/ 0 w 400"/>
                <a:gd name="T27" fmla="*/ 0 h 233"/>
                <a:gd name="T28" fmla="*/ 0 w 400"/>
                <a:gd name="T29" fmla="*/ 0 h 233"/>
                <a:gd name="T30" fmla="*/ 0 w 400"/>
                <a:gd name="T31" fmla="*/ 0 h 233"/>
                <a:gd name="T32" fmla="*/ 0 w 400"/>
                <a:gd name="T33" fmla="*/ 0 h 233"/>
                <a:gd name="T34" fmla="*/ 0 w 400"/>
                <a:gd name="T35" fmla="*/ 0 h 233"/>
                <a:gd name="T36" fmla="*/ 0 w 400"/>
                <a:gd name="T37" fmla="*/ 0 h 233"/>
                <a:gd name="T38" fmla="*/ 0 w 400"/>
                <a:gd name="T39" fmla="*/ 0 h 233"/>
                <a:gd name="T40" fmla="*/ 0 w 400"/>
                <a:gd name="T41" fmla="*/ 0 h 233"/>
                <a:gd name="T42" fmla="*/ 0 w 400"/>
                <a:gd name="T43" fmla="*/ 0 h 233"/>
                <a:gd name="T44" fmla="*/ 0 w 400"/>
                <a:gd name="T45" fmla="*/ 0 h 233"/>
                <a:gd name="T46" fmla="*/ 0 w 400"/>
                <a:gd name="T47" fmla="*/ 0 h 233"/>
                <a:gd name="T48" fmla="*/ 0 w 400"/>
                <a:gd name="T49" fmla="*/ 0 h 233"/>
                <a:gd name="T50" fmla="*/ 0 w 400"/>
                <a:gd name="T51" fmla="*/ 0 h 233"/>
                <a:gd name="T52" fmla="*/ 0 w 400"/>
                <a:gd name="T53" fmla="*/ 0 h 233"/>
                <a:gd name="T54" fmla="*/ 0 w 400"/>
                <a:gd name="T55" fmla="*/ 0 h 233"/>
                <a:gd name="T56" fmla="*/ 0 w 400"/>
                <a:gd name="T57" fmla="*/ 0 h 233"/>
                <a:gd name="T58" fmla="*/ 0 w 400"/>
                <a:gd name="T59" fmla="*/ 0 h 233"/>
                <a:gd name="T60" fmla="*/ 0 w 400"/>
                <a:gd name="T61" fmla="*/ 0 h 233"/>
                <a:gd name="T62" fmla="*/ 0 w 400"/>
                <a:gd name="T63" fmla="*/ 0 h 233"/>
                <a:gd name="T64" fmla="*/ 0 w 400"/>
                <a:gd name="T65" fmla="*/ 0 h 233"/>
                <a:gd name="T66" fmla="*/ 0 w 400"/>
                <a:gd name="T67" fmla="*/ 0 h 233"/>
                <a:gd name="T68" fmla="*/ 0 w 400"/>
                <a:gd name="T69" fmla="*/ 0 h 233"/>
                <a:gd name="T70" fmla="*/ 0 w 400"/>
                <a:gd name="T71" fmla="*/ 0 h 233"/>
                <a:gd name="T72" fmla="*/ 0 w 400"/>
                <a:gd name="T73" fmla="*/ 0 h 233"/>
                <a:gd name="T74" fmla="*/ 0 w 400"/>
                <a:gd name="T75" fmla="*/ 0 h 233"/>
                <a:gd name="T76" fmla="*/ 0 w 400"/>
                <a:gd name="T77" fmla="*/ 0 h 233"/>
                <a:gd name="T78" fmla="*/ 0 w 400"/>
                <a:gd name="T79" fmla="*/ 0 h 233"/>
                <a:gd name="T80" fmla="*/ 0 w 400"/>
                <a:gd name="T81" fmla="*/ 0 h 233"/>
                <a:gd name="T82" fmla="*/ 0 w 400"/>
                <a:gd name="T83" fmla="*/ 0 h 233"/>
                <a:gd name="T84" fmla="*/ 0 w 400"/>
                <a:gd name="T85" fmla="*/ 0 h 233"/>
                <a:gd name="T86" fmla="*/ 0 w 400"/>
                <a:gd name="T87" fmla="*/ 0 h 233"/>
                <a:gd name="T88" fmla="*/ 0 w 400"/>
                <a:gd name="T89" fmla="*/ 0 h 233"/>
                <a:gd name="T90" fmla="*/ 0 w 400"/>
                <a:gd name="T91" fmla="*/ 0 h 233"/>
                <a:gd name="T92" fmla="*/ 0 w 400"/>
                <a:gd name="T93" fmla="*/ 0 h 233"/>
                <a:gd name="T94" fmla="*/ 0 w 400"/>
                <a:gd name="T95" fmla="*/ 0 h 233"/>
                <a:gd name="T96" fmla="*/ 0 w 400"/>
                <a:gd name="T97" fmla="*/ 0 h 233"/>
                <a:gd name="T98" fmla="*/ 0 w 400"/>
                <a:gd name="T99" fmla="*/ 0 h 233"/>
                <a:gd name="T100" fmla="*/ 0 w 400"/>
                <a:gd name="T101" fmla="*/ 0 h 233"/>
                <a:gd name="T102" fmla="*/ 0 w 400"/>
                <a:gd name="T103" fmla="*/ 0 h 233"/>
                <a:gd name="T104" fmla="*/ 0 w 400"/>
                <a:gd name="T105" fmla="*/ 0 h 233"/>
                <a:gd name="T106" fmla="*/ 0 w 400"/>
                <a:gd name="T107" fmla="*/ 0 h 233"/>
                <a:gd name="T108" fmla="*/ 0 w 400"/>
                <a:gd name="T109" fmla="*/ 0 h 233"/>
                <a:gd name="T110" fmla="*/ 0 w 400"/>
                <a:gd name="T111" fmla="*/ 0 h 23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00"/>
                <a:gd name="T169" fmla="*/ 0 h 233"/>
                <a:gd name="T170" fmla="*/ 400 w 400"/>
                <a:gd name="T171" fmla="*/ 233 h 23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00" h="233">
                  <a:moveTo>
                    <a:pt x="203" y="166"/>
                  </a:moveTo>
                  <a:cubicBezTo>
                    <a:pt x="212" y="171"/>
                    <a:pt x="213" y="179"/>
                    <a:pt x="213" y="179"/>
                  </a:cubicBezTo>
                  <a:cubicBezTo>
                    <a:pt x="227" y="176"/>
                    <a:pt x="227" y="176"/>
                    <a:pt x="227" y="176"/>
                  </a:cubicBezTo>
                  <a:cubicBezTo>
                    <a:pt x="227" y="176"/>
                    <a:pt x="235" y="186"/>
                    <a:pt x="244" y="194"/>
                  </a:cubicBezTo>
                  <a:cubicBezTo>
                    <a:pt x="253" y="202"/>
                    <a:pt x="262" y="213"/>
                    <a:pt x="262" y="213"/>
                  </a:cubicBezTo>
                  <a:cubicBezTo>
                    <a:pt x="274" y="204"/>
                    <a:pt x="274" y="204"/>
                    <a:pt x="274" y="204"/>
                  </a:cubicBezTo>
                  <a:cubicBezTo>
                    <a:pt x="296" y="218"/>
                    <a:pt x="296" y="218"/>
                    <a:pt x="296" y="218"/>
                  </a:cubicBezTo>
                  <a:cubicBezTo>
                    <a:pt x="296" y="218"/>
                    <a:pt x="300" y="209"/>
                    <a:pt x="313" y="213"/>
                  </a:cubicBezTo>
                  <a:cubicBezTo>
                    <a:pt x="326" y="217"/>
                    <a:pt x="337" y="230"/>
                    <a:pt x="337" y="230"/>
                  </a:cubicBezTo>
                  <a:cubicBezTo>
                    <a:pt x="337" y="230"/>
                    <a:pt x="345" y="219"/>
                    <a:pt x="351" y="219"/>
                  </a:cubicBezTo>
                  <a:cubicBezTo>
                    <a:pt x="357" y="219"/>
                    <a:pt x="352" y="229"/>
                    <a:pt x="361" y="229"/>
                  </a:cubicBezTo>
                  <a:cubicBezTo>
                    <a:pt x="370" y="229"/>
                    <a:pt x="377" y="230"/>
                    <a:pt x="377" y="230"/>
                  </a:cubicBezTo>
                  <a:cubicBezTo>
                    <a:pt x="377" y="230"/>
                    <a:pt x="398" y="233"/>
                    <a:pt x="399" y="224"/>
                  </a:cubicBezTo>
                  <a:cubicBezTo>
                    <a:pt x="400" y="215"/>
                    <a:pt x="400" y="206"/>
                    <a:pt x="400" y="206"/>
                  </a:cubicBezTo>
                  <a:cubicBezTo>
                    <a:pt x="390" y="191"/>
                    <a:pt x="390" y="191"/>
                    <a:pt x="390" y="191"/>
                  </a:cubicBezTo>
                  <a:cubicBezTo>
                    <a:pt x="390" y="159"/>
                    <a:pt x="390" y="159"/>
                    <a:pt x="390" y="159"/>
                  </a:cubicBezTo>
                  <a:cubicBezTo>
                    <a:pt x="384" y="144"/>
                    <a:pt x="384" y="144"/>
                    <a:pt x="384" y="144"/>
                  </a:cubicBezTo>
                  <a:cubicBezTo>
                    <a:pt x="376" y="148"/>
                    <a:pt x="369" y="152"/>
                    <a:pt x="363" y="153"/>
                  </a:cubicBezTo>
                  <a:cubicBezTo>
                    <a:pt x="349" y="154"/>
                    <a:pt x="316" y="134"/>
                    <a:pt x="316" y="134"/>
                  </a:cubicBezTo>
                  <a:cubicBezTo>
                    <a:pt x="316" y="134"/>
                    <a:pt x="314" y="142"/>
                    <a:pt x="304" y="143"/>
                  </a:cubicBezTo>
                  <a:cubicBezTo>
                    <a:pt x="294" y="144"/>
                    <a:pt x="295" y="130"/>
                    <a:pt x="295" y="130"/>
                  </a:cubicBezTo>
                  <a:cubicBezTo>
                    <a:pt x="295" y="130"/>
                    <a:pt x="293" y="144"/>
                    <a:pt x="284" y="143"/>
                  </a:cubicBezTo>
                  <a:cubicBezTo>
                    <a:pt x="275" y="142"/>
                    <a:pt x="275" y="124"/>
                    <a:pt x="275" y="124"/>
                  </a:cubicBezTo>
                  <a:cubicBezTo>
                    <a:pt x="275" y="124"/>
                    <a:pt x="263" y="133"/>
                    <a:pt x="247" y="126"/>
                  </a:cubicBezTo>
                  <a:cubicBezTo>
                    <a:pt x="231" y="119"/>
                    <a:pt x="248" y="116"/>
                    <a:pt x="243" y="109"/>
                  </a:cubicBezTo>
                  <a:cubicBezTo>
                    <a:pt x="238" y="102"/>
                    <a:pt x="223" y="113"/>
                    <a:pt x="223" y="113"/>
                  </a:cubicBezTo>
                  <a:cubicBezTo>
                    <a:pt x="223" y="113"/>
                    <a:pt x="209" y="101"/>
                    <a:pt x="201" y="95"/>
                  </a:cubicBezTo>
                  <a:cubicBezTo>
                    <a:pt x="193" y="89"/>
                    <a:pt x="198" y="73"/>
                    <a:pt x="187" y="66"/>
                  </a:cubicBezTo>
                  <a:cubicBezTo>
                    <a:pt x="176" y="59"/>
                    <a:pt x="172" y="84"/>
                    <a:pt x="168" y="83"/>
                  </a:cubicBezTo>
                  <a:cubicBezTo>
                    <a:pt x="164" y="82"/>
                    <a:pt x="149" y="50"/>
                    <a:pt x="149" y="50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8" y="44"/>
                    <a:pt x="100" y="30"/>
                    <a:pt x="86" y="15"/>
                  </a:cubicBezTo>
                  <a:cubicBezTo>
                    <a:pt x="72" y="0"/>
                    <a:pt x="59" y="17"/>
                    <a:pt x="59" y="17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6" y="61"/>
                    <a:pt x="10" y="67"/>
                  </a:cubicBezTo>
                  <a:cubicBezTo>
                    <a:pt x="14" y="73"/>
                    <a:pt x="19" y="73"/>
                    <a:pt x="19" y="73"/>
                  </a:cubicBezTo>
                  <a:cubicBezTo>
                    <a:pt x="19" y="73"/>
                    <a:pt x="0" y="83"/>
                    <a:pt x="7" y="91"/>
                  </a:cubicBezTo>
                  <a:cubicBezTo>
                    <a:pt x="14" y="99"/>
                    <a:pt x="26" y="110"/>
                    <a:pt x="26" y="110"/>
                  </a:cubicBezTo>
                  <a:cubicBezTo>
                    <a:pt x="36" y="104"/>
                    <a:pt x="36" y="104"/>
                    <a:pt x="36" y="104"/>
                  </a:cubicBezTo>
                  <a:cubicBezTo>
                    <a:pt x="47" y="122"/>
                    <a:pt x="47" y="122"/>
                    <a:pt x="47" y="122"/>
                  </a:cubicBezTo>
                  <a:cubicBezTo>
                    <a:pt x="65" y="122"/>
                    <a:pt x="65" y="122"/>
                    <a:pt x="65" y="122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100" y="147"/>
                    <a:pt x="100" y="147"/>
                    <a:pt x="100" y="147"/>
                  </a:cubicBezTo>
                  <a:cubicBezTo>
                    <a:pt x="109" y="146"/>
                    <a:pt x="109" y="146"/>
                    <a:pt x="109" y="146"/>
                  </a:cubicBezTo>
                  <a:cubicBezTo>
                    <a:pt x="109" y="146"/>
                    <a:pt x="116" y="160"/>
                    <a:pt x="124" y="160"/>
                  </a:cubicBezTo>
                  <a:cubicBezTo>
                    <a:pt x="132" y="160"/>
                    <a:pt x="137" y="157"/>
                    <a:pt x="142" y="159"/>
                  </a:cubicBezTo>
                  <a:cubicBezTo>
                    <a:pt x="147" y="161"/>
                    <a:pt x="135" y="166"/>
                    <a:pt x="148" y="168"/>
                  </a:cubicBezTo>
                  <a:cubicBezTo>
                    <a:pt x="161" y="170"/>
                    <a:pt x="168" y="174"/>
                    <a:pt x="168" y="174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6" y="173"/>
                    <a:pt x="185" y="173"/>
                  </a:cubicBezTo>
                  <a:cubicBezTo>
                    <a:pt x="194" y="173"/>
                    <a:pt x="195" y="180"/>
                    <a:pt x="195" y="180"/>
                  </a:cubicBezTo>
                  <a:cubicBezTo>
                    <a:pt x="195" y="180"/>
                    <a:pt x="194" y="161"/>
                    <a:pt x="203" y="166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19" name="Freeform 35"/>
            <p:cNvSpPr>
              <a:spLocks/>
            </p:cNvSpPr>
            <p:nvPr/>
          </p:nvSpPr>
          <p:spPr bwMode="auto">
            <a:xfrm>
              <a:off x="4221" y="2174"/>
              <a:ext cx="66" cy="36"/>
            </a:xfrm>
            <a:custGeom>
              <a:avLst/>
              <a:gdLst>
                <a:gd name="T0" fmla="*/ 0 w 176"/>
                <a:gd name="T1" fmla="*/ 0 h 93"/>
                <a:gd name="T2" fmla="*/ 0 w 176"/>
                <a:gd name="T3" fmla="*/ 0 h 93"/>
                <a:gd name="T4" fmla="*/ 0 w 176"/>
                <a:gd name="T5" fmla="*/ 0 h 93"/>
                <a:gd name="T6" fmla="*/ 0 w 176"/>
                <a:gd name="T7" fmla="*/ 0 h 93"/>
                <a:gd name="T8" fmla="*/ 0 w 176"/>
                <a:gd name="T9" fmla="*/ 0 h 93"/>
                <a:gd name="T10" fmla="*/ 0 w 176"/>
                <a:gd name="T11" fmla="*/ 0 h 93"/>
                <a:gd name="T12" fmla="*/ 0 w 176"/>
                <a:gd name="T13" fmla="*/ 0 h 93"/>
                <a:gd name="T14" fmla="*/ 0 w 176"/>
                <a:gd name="T15" fmla="*/ 0 h 93"/>
                <a:gd name="T16" fmla="*/ 0 w 176"/>
                <a:gd name="T17" fmla="*/ 0 h 93"/>
                <a:gd name="T18" fmla="*/ 0 w 176"/>
                <a:gd name="T19" fmla="*/ 0 h 93"/>
                <a:gd name="T20" fmla="*/ 0 w 176"/>
                <a:gd name="T21" fmla="*/ 0 h 93"/>
                <a:gd name="T22" fmla="*/ 0 w 176"/>
                <a:gd name="T23" fmla="*/ 0 h 93"/>
                <a:gd name="T24" fmla="*/ 0 w 176"/>
                <a:gd name="T25" fmla="*/ 0 h 93"/>
                <a:gd name="T26" fmla="*/ 0 w 176"/>
                <a:gd name="T27" fmla="*/ 0 h 93"/>
                <a:gd name="T28" fmla="*/ 0 w 176"/>
                <a:gd name="T29" fmla="*/ 0 h 93"/>
                <a:gd name="T30" fmla="*/ 0 w 176"/>
                <a:gd name="T31" fmla="*/ 0 h 93"/>
                <a:gd name="T32" fmla="*/ 0 w 176"/>
                <a:gd name="T33" fmla="*/ 0 h 9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76"/>
                <a:gd name="T52" fmla="*/ 0 h 93"/>
                <a:gd name="T53" fmla="*/ 176 w 176"/>
                <a:gd name="T54" fmla="*/ 93 h 9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76" h="93">
                  <a:moveTo>
                    <a:pt x="66" y="92"/>
                  </a:moveTo>
                  <a:cubicBezTo>
                    <a:pt x="85" y="92"/>
                    <a:pt x="79" y="84"/>
                    <a:pt x="88" y="84"/>
                  </a:cubicBezTo>
                  <a:cubicBezTo>
                    <a:pt x="97" y="84"/>
                    <a:pt x="95" y="90"/>
                    <a:pt x="113" y="90"/>
                  </a:cubicBezTo>
                  <a:cubicBezTo>
                    <a:pt x="131" y="90"/>
                    <a:pt x="139" y="86"/>
                    <a:pt x="139" y="86"/>
                  </a:cubicBezTo>
                  <a:cubicBezTo>
                    <a:pt x="139" y="86"/>
                    <a:pt x="148" y="93"/>
                    <a:pt x="162" y="86"/>
                  </a:cubicBezTo>
                  <a:cubicBezTo>
                    <a:pt x="176" y="79"/>
                    <a:pt x="161" y="68"/>
                    <a:pt x="161" y="68"/>
                  </a:cubicBezTo>
                  <a:cubicBezTo>
                    <a:pt x="161" y="54"/>
                    <a:pt x="161" y="54"/>
                    <a:pt x="161" y="54"/>
                  </a:cubicBezTo>
                  <a:cubicBezTo>
                    <a:pt x="161" y="54"/>
                    <a:pt x="144" y="55"/>
                    <a:pt x="140" y="48"/>
                  </a:cubicBezTo>
                  <a:cubicBezTo>
                    <a:pt x="136" y="41"/>
                    <a:pt x="142" y="39"/>
                    <a:pt x="142" y="39"/>
                  </a:cubicBezTo>
                  <a:cubicBezTo>
                    <a:pt x="142" y="39"/>
                    <a:pt x="142" y="29"/>
                    <a:pt x="129" y="18"/>
                  </a:cubicBezTo>
                  <a:cubicBezTo>
                    <a:pt x="116" y="7"/>
                    <a:pt x="80" y="25"/>
                    <a:pt x="80" y="25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70" y="10"/>
                    <a:pt x="56" y="5"/>
                  </a:cubicBezTo>
                  <a:cubicBezTo>
                    <a:pt x="42" y="0"/>
                    <a:pt x="18" y="56"/>
                    <a:pt x="18" y="56"/>
                  </a:cubicBezTo>
                  <a:cubicBezTo>
                    <a:pt x="18" y="56"/>
                    <a:pt x="0" y="60"/>
                    <a:pt x="23" y="76"/>
                  </a:cubicBezTo>
                  <a:cubicBezTo>
                    <a:pt x="46" y="92"/>
                    <a:pt x="50" y="81"/>
                    <a:pt x="50" y="81"/>
                  </a:cubicBezTo>
                  <a:cubicBezTo>
                    <a:pt x="50" y="81"/>
                    <a:pt x="47" y="92"/>
                    <a:pt x="66" y="92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20" name="Freeform 36"/>
            <p:cNvSpPr>
              <a:spLocks/>
            </p:cNvSpPr>
            <p:nvPr/>
          </p:nvSpPr>
          <p:spPr bwMode="auto">
            <a:xfrm>
              <a:off x="4218" y="2212"/>
              <a:ext cx="93" cy="108"/>
            </a:xfrm>
            <a:custGeom>
              <a:avLst/>
              <a:gdLst>
                <a:gd name="T0" fmla="*/ 0 w 247"/>
                <a:gd name="T1" fmla="*/ 0 h 284"/>
                <a:gd name="T2" fmla="*/ 0 w 247"/>
                <a:gd name="T3" fmla="*/ 0 h 284"/>
                <a:gd name="T4" fmla="*/ 0 w 247"/>
                <a:gd name="T5" fmla="*/ 0 h 284"/>
                <a:gd name="T6" fmla="*/ 0 w 247"/>
                <a:gd name="T7" fmla="*/ 0 h 284"/>
                <a:gd name="T8" fmla="*/ 0 w 247"/>
                <a:gd name="T9" fmla="*/ 0 h 284"/>
                <a:gd name="T10" fmla="*/ 0 w 247"/>
                <a:gd name="T11" fmla="*/ 0 h 284"/>
                <a:gd name="T12" fmla="*/ 0 w 247"/>
                <a:gd name="T13" fmla="*/ 0 h 284"/>
                <a:gd name="T14" fmla="*/ 0 w 247"/>
                <a:gd name="T15" fmla="*/ 0 h 284"/>
                <a:gd name="T16" fmla="*/ 0 w 247"/>
                <a:gd name="T17" fmla="*/ 0 h 284"/>
                <a:gd name="T18" fmla="*/ 0 w 247"/>
                <a:gd name="T19" fmla="*/ 0 h 284"/>
                <a:gd name="T20" fmla="*/ 0 w 247"/>
                <a:gd name="T21" fmla="*/ 0 h 284"/>
                <a:gd name="T22" fmla="*/ 0 w 247"/>
                <a:gd name="T23" fmla="*/ 0 h 284"/>
                <a:gd name="T24" fmla="*/ 0 w 247"/>
                <a:gd name="T25" fmla="*/ 0 h 284"/>
                <a:gd name="T26" fmla="*/ 0 w 247"/>
                <a:gd name="T27" fmla="*/ 0 h 284"/>
                <a:gd name="T28" fmla="*/ 0 w 247"/>
                <a:gd name="T29" fmla="*/ 0 h 284"/>
                <a:gd name="T30" fmla="*/ 0 w 247"/>
                <a:gd name="T31" fmla="*/ 0 h 284"/>
                <a:gd name="T32" fmla="*/ 0 w 247"/>
                <a:gd name="T33" fmla="*/ 0 h 284"/>
                <a:gd name="T34" fmla="*/ 0 w 247"/>
                <a:gd name="T35" fmla="*/ 0 h 284"/>
                <a:gd name="T36" fmla="*/ 0 w 247"/>
                <a:gd name="T37" fmla="*/ 0 h 284"/>
                <a:gd name="T38" fmla="*/ 0 w 247"/>
                <a:gd name="T39" fmla="*/ 0 h 284"/>
                <a:gd name="T40" fmla="*/ 0 w 247"/>
                <a:gd name="T41" fmla="*/ 0 h 284"/>
                <a:gd name="T42" fmla="*/ 0 w 247"/>
                <a:gd name="T43" fmla="*/ 0 h 284"/>
                <a:gd name="T44" fmla="*/ 0 w 247"/>
                <a:gd name="T45" fmla="*/ 0 h 284"/>
                <a:gd name="T46" fmla="*/ 0 w 247"/>
                <a:gd name="T47" fmla="*/ 0 h 284"/>
                <a:gd name="T48" fmla="*/ 0 w 247"/>
                <a:gd name="T49" fmla="*/ 0 h 284"/>
                <a:gd name="T50" fmla="*/ 0 w 247"/>
                <a:gd name="T51" fmla="*/ 0 h 284"/>
                <a:gd name="T52" fmla="*/ 0 w 247"/>
                <a:gd name="T53" fmla="*/ 0 h 284"/>
                <a:gd name="T54" fmla="*/ 0 w 247"/>
                <a:gd name="T55" fmla="*/ 0 h 284"/>
                <a:gd name="T56" fmla="*/ 0 w 247"/>
                <a:gd name="T57" fmla="*/ 0 h 284"/>
                <a:gd name="T58" fmla="*/ 0 w 247"/>
                <a:gd name="T59" fmla="*/ 0 h 284"/>
                <a:gd name="T60" fmla="*/ 0 w 247"/>
                <a:gd name="T61" fmla="*/ 0 h 284"/>
                <a:gd name="T62" fmla="*/ 0 w 247"/>
                <a:gd name="T63" fmla="*/ 0 h 284"/>
                <a:gd name="T64" fmla="*/ 0 w 247"/>
                <a:gd name="T65" fmla="*/ 0 h 284"/>
                <a:gd name="T66" fmla="*/ 0 w 247"/>
                <a:gd name="T67" fmla="*/ 0 h 284"/>
                <a:gd name="T68" fmla="*/ 0 w 247"/>
                <a:gd name="T69" fmla="*/ 0 h 284"/>
                <a:gd name="T70" fmla="*/ 0 w 247"/>
                <a:gd name="T71" fmla="*/ 0 h 284"/>
                <a:gd name="T72" fmla="*/ 0 w 247"/>
                <a:gd name="T73" fmla="*/ 0 h 284"/>
                <a:gd name="T74" fmla="*/ 0 w 247"/>
                <a:gd name="T75" fmla="*/ 0 h 284"/>
                <a:gd name="T76" fmla="*/ 0 w 247"/>
                <a:gd name="T77" fmla="*/ 0 h 284"/>
                <a:gd name="T78" fmla="*/ 0 w 247"/>
                <a:gd name="T79" fmla="*/ 0 h 284"/>
                <a:gd name="T80" fmla="*/ 0 w 247"/>
                <a:gd name="T81" fmla="*/ 0 h 284"/>
                <a:gd name="T82" fmla="*/ 0 w 247"/>
                <a:gd name="T83" fmla="*/ 0 h 284"/>
                <a:gd name="T84" fmla="*/ 0 w 247"/>
                <a:gd name="T85" fmla="*/ 0 h 284"/>
                <a:gd name="T86" fmla="*/ 0 w 247"/>
                <a:gd name="T87" fmla="*/ 0 h 284"/>
                <a:gd name="T88" fmla="*/ 0 w 247"/>
                <a:gd name="T89" fmla="*/ 0 h 284"/>
                <a:gd name="T90" fmla="*/ 0 w 247"/>
                <a:gd name="T91" fmla="*/ 0 h 284"/>
                <a:gd name="T92" fmla="*/ 0 w 247"/>
                <a:gd name="T93" fmla="*/ 0 h 284"/>
                <a:gd name="T94" fmla="*/ 0 w 247"/>
                <a:gd name="T95" fmla="*/ 0 h 284"/>
                <a:gd name="T96" fmla="*/ 0 w 247"/>
                <a:gd name="T97" fmla="*/ 0 h 284"/>
                <a:gd name="T98" fmla="*/ 0 w 247"/>
                <a:gd name="T99" fmla="*/ 0 h 284"/>
                <a:gd name="T100" fmla="*/ 0 w 247"/>
                <a:gd name="T101" fmla="*/ 0 h 284"/>
                <a:gd name="T102" fmla="*/ 0 w 247"/>
                <a:gd name="T103" fmla="*/ 0 h 284"/>
                <a:gd name="T104" fmla="*/ 0 w 247"/>
                <a:gd name="T105" fmla="*/ 0 h 284"/>
                <a:gd name="T106" fmla="*/ 0 w 247"/>
                <a:gd name="T107" fmla="*/ 0 h 2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47"/>
                <a:gd name="T163" fmla="*/ 0 h 284"/>
                <a:gd name="T164" fmla="*/ 247 w 247"/>
                <a:gd name="T165" fmla="*/ 284 h 28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47" h="284">
                  <a:moveTo>
                    <a:pt x="90" y="275"/>
                  </a:moveTo>
                  <a:cubicBezTo>
                    <a:pt x="92" y="236"/>
                    <a:pt x="92" y="236"/>
                    <a:pt x="92" y="236"/>
                  </a:cubicBezTo>
                  <a:cubicBezTo>
                    <a:pt x="92" y="236"/>
                    <a:pt x="134" y="252"/>
                    <a:pt x="142" y="250"/>
                  </a:cubicBezTo>
                  <a:cubicBezTo>
                    <a:pt x="150" y="247"/>
                    <a:pt x="134" y="229"/>
                    <a:pt x="143" y="227"/>
                  </a:cubicBezTo>
                  <a:cubicBezTo>
                    <a:pt x="152" y="225"/>
                    <a:pt x="169" y="245"/>
                    <a:pt x="182" y="240"/>
                  </a:cubicBezTo>
                  <a:cubicBezTo>
                    <a:pt x="195" y="236"/>
                    <a:pt x="190" y="223"/>
                    <a:pt x="190" y="223"/>
                  </a:cubicBezTo>
                  <a:cubicBezTo>
                    <a:pt x="182" y="202"/>
                    <a:pt x="182" y="202"/>
                    <a:pt x="182" y="202"/>
                  </a:cubicBezTo>
                  <a:cubicBezTo>
                    <a:pt x="213" y="235"/>
                    <a:pt x="213" y="235"/>
                    <a:pt x="213" y="235"/>
                  </a:cubicBezTo>
                  <a:cubicBezTo>
                    <a:pt x="213" y="235"/>
                    <a:pt x="201" y="274"/>
                    <a:pt x="210" y="280"/>
                  </a:cubicBezTo>
                  <a:cubicBezTo>
                    <a:pt x="213" y="282"/>
                    <a:pt x="218" y="283"/>
                    <a:pt x="222" y="284"/>
                  </a:cubicBezTo>
                  <a:cubicBezTo>
                    <a:pt x="224" y="277"/>
                    <a:pt x="226" y="273"/>
                    <a:pt x="226" y="273"/>
                  </a:cubicBezTo>
                  <a:cubicBezTo>
                    <a:pt x="247" y="276"/>
                    <a:pt x="247" y="276"/>
                    <a:pt x="247" y="276"/>
                  </a:cubicBezTo>
                  <a:cubicBezTo>
                    <a:pt x="240" y="237"/>
                    <a:pt x="240" y="237"/>
                    <a:pt x="240" y="237"/>
                  </a:cubicBezTo>
                  <a:cubicBezTo>
                    <a:pt x="240" y="237"/>
                    <a:pt x="224" y="198"/>
                    <a:pt x="220" y="187"/>
                  </a:cubicBezTo>
                  <a:cubicBezTo>
                    <a:pt x="216" y="176"/>
                    <a:pt x="222" y="157"/>
                    <a:pt x="204" y="153"/>
                  </a:cubicBezTo>
                  <a:cubicBezTo>
                    <a:pt x="186" y="149"/>
                    <a:pt x="194" y="170"/>
                    <a:pt x="194" y="170"/>
                  </a:cubicBezTo>
                  <a:cubicBezTo>
                    <a:pt x="187" y="193"/>
                    <a:pt x="187" y="193"/>
                    <a:pt x="187" y="193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58" y="175"/>
                    <a:pt x="158" y="159"/>
                  </a:cubicBezTo>
                  <a:cubicBezTo>
                    <a:pt x="158" y="143"/>
                    <a:pt x="160" y="133"/>
                    <a:pt x="168" y="130"/>
                  </a:cubicBezTo>
                  <a:cubicBezTo>
                    <a:pt x="176" y="127"/>
                    <a:pt x="190" y="129"/>
                    <a:pt x="193" y="115"/>
                  </a:cubicBezTo>
                  <a:cubicBezTo>
                    <a:pt x="196" y="101"/>
                    <a:pt x="196" y="92"/>
                    <a:pt x="196" y="92"/>
                  </a:cubicBezTo>
                  <a:cubicBezTo>
                    <a:pt x="196" y="92"/>
                    <a:pt x="206" y="96"/>
                    <a:pt x="206" y="86"/>
                  </a:cubicBezTo>
                  <a:cubicBezTo>
                    <a:pt x="206" y="76"/>
                    <a:pt x="184" y="68"/>
                    <a:pt x="184" y="68"/>
                  </a:cubicBezTo>
                  <a:cubicBezTo>
                    <a:pt x="154" y="79"/>
                    <a:pt x="154" y="79"/>
                    <a:pt x="154" y="79"/>
                  </a:cubicBezTo>
                  <a:cubicBezTo>
                    <a:pt x="154" y="79"/>
                    <a:pt x="123" y="75"/>
                    <a:pt x="113" y="75"/>
                  </a:cubicBezTo>
                  <a:cubicBezTo>
                    <a:pt x="103" y="75"/>
                    <a:pt x="86" y="72"/>
                    <a:pt x="86" y="69"/>
                  </a:cubicBezTo>
                  <a:cubicBezTo>
                    <a:pt x="86" y="66"/>
                    <a:pt x="85" y="46"/>
                    <a:pt x="85" y="46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26"/>
                    <a:pt x="77" y="23"/>
                  </a:cubicBezTo>
                  <a:cubicBezTo>
                    <a:pt x="73" y="20"/>
                    <a:pt x="67" y="17"/>
                    <a:pt x="67" y="1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56" y="27"/>
                    <a:pt x="50" y="21"/>
                  </a:cubicBezTo>
                  <a:cubicBezTo>
                    <a:pt x="44" y="15"/>
                    <a:pt x="41" y="3"/>
                    <a:pt x="41" y="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0" y="24"/>
                    <a:pt x="2" y="35"/>
                  </a:cubicBezTo>
                  <a:cubicBezTo>
                    <a:pt x="4" y="46"/>
                    <a:pt x="26" y="54"/>
                    <a:pt x="26" y="54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44" y="73"/>
                    <a:pt x="44" y="73"/>
                    <a:pt x="44" y="73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93"/>
                    <a:pt x="22" y="93"/>
                    <a:pt x="22" y="93"/>
                  </a:cubicBezTo>
                  <a:cubicBezTo>
                    <a:pt x="22" y="93"/>
                    <a:pt x="3" y="96"/>
                    <a:pt x="13" y="106"/>
                  </a:cubicBezTo>
                  <a:cubicBezTo>
                    <a:pt x="23" y="116"/>
                    <a:pt x="50" y="110"/>
                    <a:pt x="47" y="126"/>
                  </a:cubicBezTo>
                  <a:cubicBezTo>
                    <a:pt x="44" y="142"/>
                    <a:pt x="35" y="150"/>
                    <a:pt x="35" y="150"/>
                  </a:cubicBezTo>
                  <a:cubicBezTo>
                    <a:pt x="44" y="170"/>
                    <a:pt x="44" y="170"/>
                    <a:pt x="44" y="170"/>
                  </a:cubicBezTo>
                  <a:cubicBezTo>
                    <a:pt x="64" y="186"/>
                    <a:pt x="64" y="186"/>
                    <a:pt x="64" y="18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75" y="234"/>
                    <a:pt x="75" y="234"/>
                    <a:pt x="75" y="234"/>
                  </a:cubicBezTo>
                  <a:cubicBezTo>
                    <a:pt x="73" y="252"/>
                    <a:pt x="73" y="252"/>
                    <a:pt x="73" y="252"/>
                  </a:cubicBezTo>
                  <a:lnTo>
                    <a:pt x="90" y="275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21" name="Freeform 37"/>
            <p:cNvSpPr>
              <a:spLocks noEditPoints="1"/>
            </p:cNvSpPr>
            <p:nvPr/>
          </p:nvSpPr>
          <p:spPr bwMode="auto">
            <a:xfrm>
              <a:off x="3878" y="2018"/>
              <a:ext cx="495" cy="599"/>
            </a:xfrm>
            <a:custGeom>
              <a:avLst/>
              <a:gdLst>
                <a:gd name="T0" fmla="*/ 0 w 1304"/>
                <a:gd name="T1" fmla="*/ 0 h 1578"/>
                <a:gd name="T2" fmla="*/ 0 w 1304"/>
                <a:gd name="T3" fmla="*/ 0 h 1578"/>
                <a:gd name="T4" fmla="*/ 0 w 1304"/>
                <a:gd name="T5" fmla="*/ 0 h 1578"/>
                <a:gd name="T6" fmla="*/ 0 w 1304"/>
                <a:gd name="T7" fmla="*/ 0 h 1578"/>
                <a:gd name="T8" fmla="*/ 0 w 1304"/>
                <a:gd name="T9" fmla="*/ 0 h 1578"/>
                <a:gd name="T10" fmla="*/ 0 w 1304"/>
                <a:gd name="T11" fmla="*/ 0 h 1578"/>
                <a:gd name="T12" fmla="*/ 0 w 1304"/>
                <a:gd name="T13" fmla="*/ 0 h 1578"/>
                <a:gd name="T14" fmla="*/ 0 w 1304"/>
                <a:gd name="T15" fmla="*/ 0 h 1578"/>
                <a:gd name="T16" fmla="*/ 0 w 1304"/>
                <a:gd name="T17" fmla="*/ 0 h 1578"/>
                <a:gd name="T18" fmla="*/ 0 w 1304"/>
                <a:gd name="T19" fmla="*/ 0 h 1578"/>
                <a:gd name="T20" fmla="*/ 0 w 1304"/>
                <a:gd name="T21" fmla="*/ 0 h 1578"/>
                <a:gd name="T22" fmla="*/ 0 w 1304"/>
                <a:gd name="T23" fmla="*/ 0 h 1578"/>
                <a:gd name="T24" fmla="*/ 0 w 1304"/>
                <a:gd name="T25" fmla="*/ 0 h 1578"/>
                <a:gd name="T26" fmla="*/ 0 w 1304"/>
                <a:gd name="T27" fmla="*/ 0 h 1578"/>
                <a:gd name="T28" fmla="*/ 0 w 1304"/>
                <a:gd name="T29" fmla="*/ 0 h 1578"/>
                <a:gd name="T30" fmla="*/ 0 w 1304"/>
                <a:gd name="T31" fmla="*/ 0 h 1578"/>
                <a:gd name="T32" fmla="*/ 0 w 1304"/>
                <a:gd name="T33" fmla="*/ 0 h 1578"/>
                <a:gd name="T34" fmla="*/ 0 w 1304"/>
                <a:gd name="T35" fmla="*/ 0 h 1578"/>
                <a:gd name="T36" fmla="*/ 0 w 1304"/>
                <a:gd name="T37" fmla="*/ 0 h 1578"/>
                <a:gd name="T38" fmla="*/ 0 w 1304"/>
                <a:gd name="T39" fmla="*/ 0 h 1578"/>
                <a:gd name="T40" fmla="*/ 0 w 1304"/>
                <a:gd name="T41" fmla="*/ 0 h 1578"/>
                <a:gd name="T42" fmla="*/ 0 w 1304"/>
                <a:gd name="T43" fmla="*/ 0 h 1578"/>
                <a:gd name="T44" fmla="*/ 0 w 1304"/>
                <a:gd name="T45" fmla="*/ 0 h 1578"/>
                <a:gd name="T46" fmla="*/ 0 w 1304"/>
                <a:gd name="T47" fmla="*/ 0 h 1578"/>
                <a:gd name="T48" fmla="*/ 0 w 1304"/>
                <a:gd name="T49" fmla="*/ 0 h 1578"/>
                <a:gd name="T50" fmla="*/ 0 w 1304"/>
                <a:gd name="T51" fmla="*/ 0 h 1578"/>
                <a:gd name="T52" fmla="*/ 0 w 1304"/>
                <a:gd name="T53" fmla="*/ 0 h 1578"/>
                <a:gd name="T54" fmla="*/ 0 w 1304"/>
                <a:gd name="T55" fmla="*/ 0 h 1578"/>
                <a:gd name="T56" fmla="*/ 0 w 1304"/>
                <a:gd name="T57" fmla="*/ 0 h 1578"/>
                <a:gd name="T58" fmla="*/ 0 w 1304"/>
                <a:gd name="T59" fmla="*/ 0 h 1578"/>
                <a:gd name="T60" fmla="*/ 0 w 1304"/>
                <a:gd name="T61" fmla="*/ 0 h 1578"/>
                <a:gd name="T62" fmla="*/ 0 w 1304"/>
                <a:gd name="T63" fmla="*/ 0 h 1578"/>
                <a:gd name="T64" fmla="*/ 0 w 1304"/>
                <a:gd name="T65" fmla="*/ 0 h 1578"/>
                <a:gd name="T66" fmla="*/ 0 w 1304"/>
                <a:gd name="T67" fmla="*/ 0 h 1578"/>
                <a:gd name="T68" fmla="*/ 0 w 1304"/>
                <a:gd name="T69" fmla="*/ 0 h 1578"/>
                <a:gd name="T70" fmla="*/ 0 w 1304"/>
                <a:gd name="T71" fmla="*/ 0 h 1578"/>
                <a:gd name="T72" fmla="*/ 0 w 1304"/>
                <a:gd name="T73" fmla="*/ 0 h 1578"/>
                <a:gd name="T74" fmla="*/ 0 w 1304"/>
                <a:gd name="T75" fmla="*/ 0 h 1578"/>
                <a:gd name="T76" fmla="*/ 0 w 1304"/>
                <a:gd name="T77" fmla="*/ 0 h 1578"/>
                <a:gd name="T78" fmla="*/ 0 w 1304"/>
                <a:gd name="T79" fmla="*/ 0 h 1578"/>
                <a:gd name="T80" fmla="*/ 0 w 1304"/>
                <a:gd name="T81" fmla="*/ 0 h 1578"/>
                <a:gd name="T82" fmla="*/ 0 w 1304"/>
                <a:gd name="T83" fmla="*/ 0 h 1578"/>
                <a:gd name="T84" fmla="*/ 0 w 1304"/>
                <a:gd name="T85" fmla="*/ 0 h 1578"/>
                <a:gd name="T86" fmla="*/ 0 w 1304"/>
                <a:gd name="T87" fmla="*/ 0 h 1578"/>
                <a:gd name="T88" fmla="*/ 0 w 1304"/>
                <a:gd name="T89" fmla="*/ 0 h 1578"/>
                <a:gd name="T90" fmla="*/ 0 w 1304"/>
                <a:gd name="T91" fmla="*/ 0 h 1578"/>
                <a:gd name="T92" fmla="*/ 0 w 1304"/>
                <a:gd name="T93" fmla="*/ 0 h 1578"/>
                <a:gd name="T94" fmla="*/ 0 w 1304"/>
                <a:gd name="T95" fmla="*/ 0 h 1578"/>
                <a:gd name="T96" fmla="*/ 0 w 1304"/>
                <a:gd name="T97" fmla="*/ 0 h 1578"/>
                <a:gd name="T98" fmla="*/ 0 w 1304"/>
                <a:gd name="T99" fmla="*/ 0 h 1578"/>
                <a:gd name="T100" fmla="*/ 0 w 1304"/>
                <a:gd name="T101" fmla="*/ 0 h 1578"/>
                <a:gd name="T102" fmla="*/ 0 w 1304"/>
                <a:gd name="T103" fmla="*/ 0 h 1578"/>
                <a:gd name="T104" fmla="*/ 0 w 1304"/>
                <a:gd name="T105" fmla="*/ 0 h 1578"/>
                <a:gd name="T106" fmla="*/ 0 w 1304"/>
                <a:gd name="T107" fmla="*/ 0 h 1578"/>
                <a:gd name="T108" fmla="*/ 0 w 1304"/>
                <a:gd name="T109" fmla="*/ 0 h 1578"/>
                <a:gd name="T110" fmla="*/ 0 w 1304"/>
                <a:gd name="T111" fmla="*/ 0 h 1578"/>
                <a:gd name="T112" fmla="*/ 0 w 1304"/>
                <a:gd name="T113" fmla="*/ 0 h 157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04"/>
                <a:gd name="T172" fmla="*/ 0 h 1578"/>
                <a:gd name="T173" fmla="*/ 1304 w 1304"/>
                <a:gd name="T174" fmla="*/ 1578 h 157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04" h="1578">
                  <a:moveTo>
                    <a:pt x="1204" y="1196"/>
                  </a:moveTo>
                  <a:cubicBezTo>
                    <a:pt x="1184" y="1198"/>
                    <a:pt x="1188" y="1259"/>
                    <a:pt x="1188" y="1259"/>
                  </a:cubicBezTo>
                  <a:cubicBezTo>
                    <a:pt x="1191" y="1325"/>
                    <a:pt x="1191" y="1325"/>
                    <a:pt x="1191" y="1325"/>
                  </a:cubicBezTo>
                  <a:cubicBezTo>
                    <a:pt x="1202" y="1305"/>
                    <a:pt x="1202" y="1305"/>
                    <a:pt x="1202" y="1305"/>
                  </a:cubicBezTo>
                  <a:cubicBezTo>
                    <a:pt x="1202" y="1237"/>
                    <a:pt x="1202" y="1237"/>
                    <a:pt x="1202" y="1237"/>
                  </a:cubicBezTo>
                  <a:cubicBezTo>
                    <a:pt x="1202" y="1237"/>
                    <a:pt x="1220" y="1194"/>
                    <a:pt x="1204" y="1196"/>
                  </a:cubicBezTo>
                  <a:close/>
                  <a:moveTo>
                    <a:pt x="1195" y="1357"/>
                  </a:moveTo>
                  <a:cubicBezTo>
                    <a:pt x="1180" y="1357"/>
                    <a:pt x="1196" y="1389"/>
                    <a:pt x="1196" y="1389"/>
                  </a:cubicBezTo>
                  <a:cubicBezTo>
                    <a:pt x="1196" y="1389"/>
                    <a:pt x="1209" y="1357"/>
                    <a:pt x="1195" y="1357"/>
                  </a:cubicBezTo>
                  <a:close/>
                  <a:moveTo>
                    <a:pt x="1259" y="1543"/>
                  </a:moveTo>
                  <a:cubicBezTo>
                    <a:pt x="1251" y="1544"/>
                    <a:pt x="1255" y="1578"/>
                    <a:pt x="1270" y="1578"/>
                  </a:cubicBezTo>
                  <a:cubicBezTo>
                    <a:pt x="1270" y="1578"/>
                    <a:pt x="1267" y="1542"/>
                    <a:pt x="1259" y="1543"/>
                  </a:cubicBezTo>
                  <a:close/>
                  <a:moveTo>
                    <a:pt x="1280" y="454"/>
                  </a:moveTo>
                  <a:cubicBezTo>
                    <a:pt x="1280" y="445"/>
                    <a:pt x="1304" y="436"/>
                    <a:pt x="1304" y="436"/>
                  </a:cubicBezTo>
                  <a:cubicBezTo>
                    <a:pt x="1302" y="417"/>
                    <a:pt x="1302" y="417"/>
                    <a:pt x="1302" y="417"/>
                  </a:cubicBezTo>
                  <a:cubicBezTo>
                    <a:pt x="1302" y="417"/>
                    <a:pt x="1287" y="413"/>
                    <a:pt x="1280" y="413"/>
                  </a:cubicBezTo>
                  <a:cubicBezTo>
                    <a:pt x="1273" y="413"/>
                    <a:pt x="1258" y="413"/>
                    <a:pt x="1250" y="411"/>
                  </a:cubicBezTo>
                  <a:cubicBezTo>
                    <a:pt x="1242" y="409"/>
                    <a:pt x="1262" y="400"/>
                    <a:pt x="1262" y="400"/>
                  </a:cubicBezTo>
                  <a:cubicBezTo>
                    <a:pt x="1251" y="380"/>
                    <a:pt x="1251" y="380"/>
                    <a:pt x="1251" y="380"/>
                  </a:cubicBezTo>
                  <a:cubicBezTo>
                    <a:pt x="1251" y="380"/>
                    <a:pt x="1240" y="381"/>
                    <a:pt x="1231" y="379"/>
                  </a:cubicBezTo>
                  <a:cubicBezTo>
                    <a:pt x="1222" y="377"/>
                    <a:pt x="1238" y="369"/>
                    <a:pt x="1238" y="369"/>
                  </a:cubicBezTo>
                  <a:cubicBezTo>
                    <a:pt x="1238" y="369"/>
                    <a:pt x="1237" y="364"/>
                    <a:pt x="1219" y="355"/>
                  </a:cubicBezTo>
                  <a:cubicBezTo>
                    <a:pt x="1201" y="346"/>
                    <a:pt x="1209" y="377"/>
                    <a:pt x="1198" y="377"/>
                  </a:cubicBezTo>
                  <a:cubicBezTo>
                    <a:pt x="1187" y="377"/>
                    <a:pt x="1173" y="363"/>
                    <a:pt x="1165" y="363"/>
                  </a:cubicBezTo>
                  <a:cubicBezTo>
                    <a:pt x="1157" y="363"/>
                    <a:pt x="1140" y="382"/>
                    <a:pt x="1133" y="390"/>
                  </a:cubicBezTo>
                  <a:cubicBezTo>
                    <a:pt x="1126" y="398"/>
                    <a:pt x="1102" y="394"/>
                    <a:pt x="1102" y="394"/>
                  </a:cubicBezTo>
                  <a:cubicBezTo>
                    <a:pt x="1102" y="394"/>
                    <a:pt x="1109" y="410"/>
                    <a:pt x="1107" y="415"/>
                  </a:cubicBezTo>
                  <a:cubicBezTo>
                    <a:pt x="1105" y="420"/>
                    <a:pt x="1084" y="422"/>
                    <a:pt x="1084" y="422"/>
                  </a:cubicBezTo>
                  <a:cubicBezTo>
                    <a:pt x="1084" y="422"/>
                    <a:pt x="1092" y="438"/>
                    <a:pt x="1084" y="445"/>
                  </a:cubicBezTo>
                  <a:cubicBezTo>
                    <a:pt x="1076" y="452"/>
                    <a:pt x="1045" y="450"/>
                    <a:pt x="1045" y="450"/>
                  </a:cubicBezTo>
                  <a:cubicBezTo>
                    <a:pt x="1045" y="450"/>
                    <a:pt x="1039" y="452"/>
                    <a:pt x="1043" y="459"/>
                  </a:cubicBezTo>
                  <a:cubicBezTo>
                    <a:pt x="1047" y="466"/>
                    <a:pt x="1064" y="465"/>
                    <a:pt x="1064" y="465"/>
                  </a:cubicBezTo>
                  <a:cubicBezTo>
                    <a:pt x="1064" y="479"/>
                    <a:pt x="1064" y="479"/>
                    <a:pt x="1064" y="479"/>
                  </a:cubicBezTo>
                  <a:cubicBezTo>
                    <a:pt x="1064" y="479"/>
                    <a:pt x="1079" y="490"/>
                    <a:pt x="1065" y="497"/>
                  </a:cubicBezTo>
                  <a:cubicBezTo>
                    <a:pt x="1051" y="504"/>
                    <a:pt x="1042" y="497"/>
                    <a:pt x="1042" y="497"/>
                  </a:cubicBezTo>
                  <a:cubicBezTo>
                    <a:pt x="1042" y="497"/>
                    <a:pt x="1034" y="501"/>
                    <a:pt x="1016" y="501"/>
                  </a:cubicBezTo>
                  <a:cubicBezTo>
                    <a:pt x="998" y="501"/>
                    <a:pt x="1000" y="495"/>
                    <a:pt x="991" y="495"/>
                  </a:cubicBezTo>
                  <a:cubicBezTo>
                    <a:pt x="982" y="495"/>
                    <a:pt x="988" y="503"/>
                    <a:pt x="969" y="503"/>
                  </a:cubicBezTo>
                  <a:cubicBezTo>
                    <a:pt x="950" y="503"/>
                    <a:pt x="953" y="492"/>
                    <a:pt x="953" y="492"/>
                  </a:cubicBezTo>
                  <a:cubicBezTo>
                    <a:pt x="953" y="492"/>
                    <a:pt x="949" y="503"/>
                    <a:pt x="926" y="487"/>
                  </a:cubicBezTo>
                  <a:cubicBezTo>
                    <a:pt x="903" y="471"/>
                    <a:pt x="921" y="467"/>
                    <a:pt x="921" y="467"/>
                  </a:cubicBezTo>
                  <a:cubicBezTo>
                    <a:pt x="921" y="467"/>
                    <a:pt x="916" y="468"/>
                    <a:pt x="911" y="466"/>
                  </a:cubicBezTo>
                  <a:cubicBezTo>
                    <a:pt x="906" y="464"/>
                    <a:pt x="917" y="436"/>
                    <a:pt x="906" y="427"/>
                  </a:cubicBezTo>
                  <a:cubicBezTo>
                    <a:pt x="899" y="422"/>
                    <a:pt x="888" y="428"/>
                    <a:pt x="876" y="435"/>
                  </a:cubicBezTo>
                  <a:cubicBezTo>
                    <a:pt x="882" y="450"/>
                    <a:pt x="882" y="450"/>
                    <a:pt x="882" y="450"/>
                  </a:cubicBezTo>
                  <a:cubicBezTo>
                    <a:pt x="882" y="482"/>
                    <a:pt x="882" y="482"/>
                    <a:pt x="882" y="482"/>
                  </a:cubicBezTo>
                  <a:cubicBezTo>
                    <a:pt x="892" y="497"/>
                    <a:pt x="892" y="497"/>
                    <a:pt x="892" y="497"/>
                  </a:cubicBezTo>
                  <a:cubicBezTo>
                    <a:pt x="892" y="497"/>
                    <a:pt x="892" y="506"/>
                    <a:pt x="891" y="515"/>
                  </a:cubicBezTo>
                  <a:cubicBezTo>
                    <a:pt x="890" y="524"/>
                    <a:pt x="869" y="521"/>
                    <a:pt x="869" y="521"/>
                  </a:cubicBezTo>
                  <a:cubicBezTo>
                    <a:pt x="869" y="521"/>
                    <a:pt x="862" y="520"/>
                    <a:pt x="853" y="520"/>
                  </a:cubicBezTo>
                  <a:cubicBezTo>
                    <a:pt x="844" y="520"/>
                    <a:pt x="849" y="510"/>
                    <a:pt x="843" y="510"/>
                  </a:cubicBezTo>
                  <a:cubicBezTo>
                    <a:pt x="837" y="510"/>
                    <a:pt x="829" y="521"/>
                    <a:pt x="829" y="521"/>
                  </a:cubicBezTo>
                  <a:cubicBezTo>
                    <a:pt x="829" y="521"/>
                    <a:pt x="818" y="508"/>
                    <a:pt x="805" y="504"/>
                  </a:cubicBezTo>
                  <a:cubicBezTo>
                    <a:pt x="792" y="500"/>
                    <a:pt x="788" y="509"/>
                    <a:pt x="788" y="509"/>
                  </a:cubicBezTo>
                  <a:cubicBezTo>
                    <a:pt x="766" y="495"/>
                    <a:pt x="766" y="495"/>
                    <a:pt x="766" y="495"/>
                  </a:cubicBezTo>
                  <a:cubicBezTo>
                    <a:pt x="754" y="504"/>
                    <a:pt x="754" y="504"/>
                    <a:pt x="754" y="504"/>
                  </a:cubicBezTo>
                  <a:cubicBezTo>
                    <a:pt x="754" y="504"/>
                    <a:pt x="745" y="493"/>
                    <a:pt x="736" y="485"/>
                  </a:cubicBezTo>
                  <a:cubicBezTo>
                    <a:pt x="727" y="477"/>
                    <a:pt x="719" y="467"/>
                    <a:pt x="719" y="467"/>
                  </a:cubicBezTo>
                  <a:cubicBezTo>
                    <a:pt x="705" y="470"/>
                    <a:pt x="705" y="470"/>
                    <a:pt x="705" y="470"/>
                  </a:cubicBezTo>
                  <a:cubicBezTo>
                    <a:pt x="705" y="470"/>
                    <a:pt x="704" y="462"/>
                    <a:pt x="695" y="457"/>
                  </a:cubicBezTo>
                  <a:cubicBezTo>
                    <a:pt x="686" y="452"/>
                    <a:pt x="687" y="471"/>
                    <a:pt x="687" y="471"/>
                  </a:cubicBezTo>
                  <a:cubicBezTo>
                    <a:pt x="687" y="471"/>
                    <a:pt x="686" y="464"/>
                    <a:pt x="677" y="464"/>
                  </a:cubicBezTo>
                  <a:cubicBezTo>
                    <a:pt x="668" y="464"/>
                    <a:pt x="663" y="472"/>
                    <a:pt x="663" y="472"/>
                  </a:cubicBezTo>
                  <a:cubicBezTo>
                    <a:pt x="660" y="465"/>
                    <a:pt x="660" y="465"/>
                    <a:pt x="660" y="465"/>
                  </a:cubicBezTo>
                  <a:cubicBezTo>
                    <a:pt x="660" y="465"/>
                    <a:pt x="653" y="461"/>
                    <a:pt x="640" y="459"/>
                  </a:cubicBezTo>
                  <a:cubicBezTo>
                    <a:pt x="627" y="457"/>
                    <a:pt x="639" y="452"/>
                    <a:pt x="634" y="450"/>
                  </a:cubicBezTo>
                  <a:cubicBezTo>
                    <a:pt x="629" y="448"/>
                    <a:pt x="624" y="451"/>
                    <a:pt x="616" y="451"/>
                  </a:cubicBezTo>
                  <a:cubicBezTo>
                    <a:pt x="608" y="451"/>
                    <a:pt x="601" y="437"/>
                    <a:pt x="601" y="437"/>
                  </a:cubicBezTo>
                  <a:cubicBezTo>
                    <a:pt x="592" y="438"/>
                    <a:pt x="592" y="438"/>
                    <a:pt x="592" y="438"/>
                  </a:cubicBezTo>
                  <a:cubicBezTo>
                    <a:pt x="564" y="423"/>
                    <a:pt x="564" y="423"/>
                    <a:pt x="564" y="423"/>
                  </a:cubicBezTo>
                  <a:cubicBezTo>
                    <a:pt x="557" y="413"/>
                    <a:pt x="557" y="413"/>
                    <a:pt x="557" y="413"/>
                  </a:cubicBezTo>
                  <a:cubicBezTo>
                    <a:pt x="539" y="413"/>
                    <a:pt x="539" y="413"/>
                    <a:pt x="539" y="413"/>
                  </a:cubicBezTo>
                  <a:cubicBezTo>
                    <a:pt x="528" y="395"/>
                    <a:pt x="528" y="395"/>
                    <a:pt x="528" y="395"/>
                  </a:cubicBezTo>
                  <a:cubicBezTo>
                    <a:pt x="518" y="401"/>
                    <a:pt x="518" y="401"/>
                    <a:pt x="518" y="401"/>
                  </a:cubicBezTo>
                  <a:cubicBezTo>
                    <a:pt x="518" y="401"/>
                    <a:pt x="506" y="390"/>
                    <a:pt x="499" y="382"/>
                  </a:cubicBezTo>
                  <a:cubicBezTo>
                    <a:pt x="492" y="374"/>
                    <a:pt x="511" y="364"/>
                    <a:pt x="511" y="364"/>
                  </a:cubicBezTo>
                  <a:cubicBezTo>
                    <a:pt x="511" y="364"/>
                    <a:pt x="506" y="364"/>
                    <a:pt x="502" y="358"/>
                  </a:cubicBezTo>
                  <a:cubicBezTo>
                    <a:pt x="498" y="352"/>
                    <a:pt x="509" y="350"/>
                    <a:pt x="509" y="350"/>
                  </a:cubicBezTo>
                  <a:cubicBezTo>
                    <a:pt x="503" y="341"/>
                    <a:pt x="503" y="341"/>
                    <a:pt x="503" y="341"/>
                  </a:cubicBezTo>
                  <a:cubicBezTo>
                    <a:pt x="518" y="323"/>
                    <a:pt x="518" y="323"/>
                    <a:pt x="518" y="323"/>
                  </a:cubicBezTo>
                  <a:cubicBezTo>
                    <a:pt x="524" y="310"/>
                    <a:pt x="524" y="310"/>
                    <a:pt x="524" y="310"/>
                  </a:cubicBezTo>
                  <a:cubicBezTo>
                    <a:pt x="509" y="296"/>
                    <a:pt x="509" y="296"/>
                    <a:pt x="509" y="296"/>
                  </a:cubicBezTo>
                  <a:cubicBezTo>
                    <a:pt x="509" y="296"/>
                    <a:pt x="498" y="296"/>
                    <a:pt x="492" y="293"/>
                  </a:cubicBezTo>
                  <a:cubicBezTo>
                    <a:pt x="486" y="290"/>
                    <a:pt x="492" y="282"/>
                    <a:pt x="492" y="282"/>
                  </a:cubicBezTo>
                  <a:cubicBezTo>
                    <a:pt x="481" y="283"/>
                    <a:pt x="481" y="283"/>
                    <a:pt x="481" y="283"/>
                  </a:cubicBezTo>
                  <a:cubicBezTo>
                    <a:pt x="466" y="272"/>
                    <a:pt x="466" y="272"/>
                    <a:pt x="466" y="272"/>
                  </a:cubicBezTo>
                  <a:cubicBezTo>
                    <a:pt x="466" y="272"/>
                    <a:pt x="456" y="270"/>
                    <a:pt x="445" y="266"/>
                  </a:cubicBezTo>
                  <a:cubicBezTo>
                    <a:pt x="434" y="262"/>
                    <a:pt x="430" y="247"/>
                    <a:pt x="430" y="247"/>
                  </a:cubicBezTo>
                  <a:cubicBezTo>
                    <a:pt x="430" y="247"/>
                    <a:pt x="419" y="252"/>
                    <a:pt x="412" y="249"/>
                  </a:cubicBezTo>
                  <a:cubicBezTo>
                    <a:pt x="405" y="246"/>
                    <a:pt x="412" y="221"/>
                    <a:pt x="412" y="221"/>
                  </a:cubicBezTo>
                  <a:cubicBezTo>
                    <a:pt x="412" y="221"/>
                    <a:pt x="392" y="210"/>
                    <a:pt x="390" y="200"/>
                  </a:cubicBezTo>
                  <a:cubicBezTo>
                    <a:pt x="388" y="190"/>
                    <a:pt x="401" y="185"/>
                    <a:pt x="405" y="185"/>
                  </a:cubicBezTo>
                  <a:cubicBezTo>
                    <a:pt x="409" y="185"/>
                    <a:pt x="407" y="195"/>
                    <a:pt x="407" y="195"/>
                  </a:cubicBezTo>
                  <a:cubicBezTo>
                    <a:pt x="417" y="203"/>
                    <a:pt x="417" y="203"/>
                    <a:pt x="417" y="203"/>
                  </a:cubicBezTo>
                  <a:cubicBezTo>
                    <a:pt x="423" y="194"/>
                    <a:pt x="423" y="194"/>
                    <a:pt x="423" y="194"/>
                  </a:cubicBezTo>
                  <a:cubicBezTo>
                    <a:pt x="423" y="194"/>
                    <a:pt x="432" y="191"/>
                    <a:pt x="440" y="186"/>
                  </a:cubicBezTo>
                  <a:cubicBezTo>
                    <a:pt x="448" y="181"/>
                    <a:pt x="429" y="166"/>
                    <a:pt x="429" y="166"/>
                  </a:cubicBezTo>
                  <a:cubicBezTo>
                    <a:pt x="424" y="157"/>
                    <a:pt x="424" y="157"/>
                    <a:pt x="424" y="157"/>
                  </a:cubicBezTo>
                  <a:cubicBezTo>
                    <a:pt x="424" y="157"/>
                    <a:pt x="419" y="154"/>
                    <a:pt x="404" y="147"/>
                  </a:cubicBezTo>
                  <a:cubicBezTo>
                    <a:pt x="389" y="140"/>
                    <a:pt x="395" y="129"/>
                    <a:pt x="395" y="129"/>
                  </a:cubicBezTo>
                  <a:cubicBezTo>
                    <a:pt x="406" y="123"/>
                    <a:pt x="406" y="123"/>
                    <a:pt x="406" y="123"/>
                  </a:cubicBezTo>
                  <a:cubicBezTo>
                    <a:pt x="394" y="107"/>
                    <a:pt x="394" y="107"/>
                    <a:pt x="394" y="107"/>
                  </a:cubicBezTo>
                  <a:cubicBezTo>
                    <a:pt x="394" y="107"/>
                    <a:pt x="413" y="108"/>
                    <a:pt x="422" y="103"/>
                  </a:cubicBezTo>
                  <a:cubicBezTo>
                    <a:pt x="431" y="98"/>
                    <a:pt x="425" y="74"/>
                    <a:pt x="425" y="74"/>
                  </a:cubicBezTo>
                  <a:cubicBezTo>
                    <a:pt x="425" y="74"/>
                    <a:pt x="434" y="74"/>
                    <a:pt x="438" y="69"/>
                  </a:cubicBezTo>
                  <a:cubicBezTo>
                    <a:pt x="442" y="64"/>
                    <a:pt x="438" y="28"/>
                    <a:pt x="438" y="28"/>
                  </a:cubicBezTo>
                  <a:cubicBezTo>
                    <a:pt x="438" y="28"/>
                    <a:pt x="424" y="30"/>
                    <a:pt x="413" y="28"/>
                  </a:cubicBezTo>
                  <a:cubicBezTo>
                    <a:pt x="402" y="26"/>
                    <a:pt x="400" y="12"/>
                    <a:pt x="383" y="6"/>
                  </a:cubicBezTo>
                  <a:cubicBezTo>
                    <a:pt x="366" y="0"/>
                    <a:pt x="335" y="29"/>
                    <a:pt x="335" y="29"/>
                  </a:cubicBezTo>
                  <a:cubicBezTo>
                    <a:pt x="335" y="29"/>
                    <a:pt x="328" y="29"/>
                    <a:pt x="319" y="29"/>
                  </a:cubicBezTo>
                  <a:cubicBezTo>
                    <a:pt x="304" y="51"/>
                    <a:pt x="304" y="51"/>
                    <a:pt x="304" y="51"/>
                  </a:cubicBezTo>
                  <a:cubicBezTo>
                    <a:pt x="289" y="57"/>
                    <a:pt x="289" y="57"/>
                    <a:pt x="289" y="57"/>
                  </a:cubicBezTo>
                  <a:cubicBezTo>
                    <a:pt x="289" y="57"/>
                    <a:pt x="289" y="68"/>
                    <a:pt x="286" y="69"/>
                  </a:cubicBezTo>
                  <a:cubicBezTo>
                    <a:pt x="283" y="70"/>
                    <a:pt x="272" y="69"/>
                    <a:pt x="272" y="69"/>
                  </a:cubicBezTo>
                  <a:cubicBezTo>
                    <a:pt x="266" y="74"/>
                    <a:pt x="266" y="74"/>
                    <a:pt x="266" y="74"/>
                  </a:cubicBezTo>
                  <a:cubicBezTo>
                    <a:pt x="262" y="70"/>
                    <a:pt x="262" y="70"/>
                    <a:pt x="262" y="70"/>
                  </a:cubicBezTo>
                  <a:cubicBezTo>
                    <a:pt x="262" y="70"/>
                    <a:pt x="244" y="83"/>
                    <a:pt x="237" y="84"/>
                  </a:cubicBezTo>
                  <a:cubicBezTo>
                    <a:pt x="230" y="85"/>
                    <a:pt x="227" y="73"/>
                    <a:pt x="227" y="73"/>
                  </a:cubicBezTo>
                  <a:cubicBezTo>
                    <a:pt x="227" y="73"/>
                    <a:pt x="198" y="67"/>
                    <a:pt x="176" y="70"/>
                  </a:cubicBezTo>
                  <a:cubicBezTo>
                    <a:pt x="154" y="73"/>
                    <a:pt x="156" y="89"/>
                    <a:pt x="156" y="89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67" y="108"/>
                    <a:pt x="167" y="108"/>
                    <a:pt x="167" y="108"/>
                  </a:cubicBezTo>
                  <a:cubicBezTo>
                    <a:pt x="187" y="112"/>
                    <a:pt x="187" y="112"/>
                    <a:pt x="187" y="112"/>
                  </a:cubicBezTo>
                  <a:cubicBezTo>
                    <a:pt x="187" y="112"/>
                    <a:pt x="178" y="120"/>
                    <a:pt x="175" y="130"/>
                  </a:cubicBezTo>
                  <a:cubicBezTo>
                    <a:pt x="172" y="140"/>
                    <a:pt x="186" y="141"/>
                    <a:pt x="186" y="141"/>
                  </a:cubicBezTo>
                  <a:cubicBezTo>
                    <a:pt x="186" y="141"/>
                    <a:pt x="185" y="149"/>
                    <a:pt x="184" y="157"/>
                  </a:cubicBezTo>
                  <a:cubicBezTo>
                    <a:pt x="183" y="165"/>
                    <a:pt x="194" y="162"/>
                    <a:pt x="194" y="162"/>
                  </a:cubicBezTo>
                  <a:cubicBezTo>
                    <a:pt x="202" y="172"/>
                    <a:pt x="202" y="172"/>
                    <a:pt x="202" y="172"/>
                  </a:cubicBezTo>
                  <a:cubicBezTo>
                    <a:pt x="216" y="173"/>
                    <a:pt x="216" y="173"/>
                    <a:pt x="216" y="173"/>
                  </a:cubicBezTo>
                  <a:cubicBezTo>
                    <a:pt x="219" y="196"/>
                    <a:pt x="219" y="196"/>
                    <a:pt x="219" y="196"/>
                  </a:cubicBezTo>
                  <a:cubicBezTo>
                    <a:pt x="243" y="195"/>
                    <a:pt x="243" y="195"/>
                    <a:pt x="243" y="195"/>
                  </a:cubicBezTo>
                  <a:cubicBezTo>
                    <a:pt x="243" y="195"/>
                    <a:pt x="255" y="200"/>
                    <a:pt x="256" y="209"/>
                  </a:cubicBezTo>
                  <a:cubicBezTo>
                    <a:pt x="257" y="218"/>
                    <a:pt x="228" y="222"/>
                    <a:pt x="224" y="224"/>
                  </a:cubicBezTo>
                  <a:cubicBezTo>
                    <a:pt x="220" y="226"/>
                    <a:pt x="223" y="240"/>
                    <a:pt x="223" y="244"/>
                  </a:cubicBezTo>
                  <a:cubicBezTo>
                    <a:pt x="223" y="248"/>
                    <a:pt x="235" y="268"/>
                    <a:pt x="235" y="268"/>
                  </a:cubicBezTo>
                  <a:cubicBezTo>
                    <a:pt x="217" y="281"/>
                    <a:pt x="217" y="281"/>
                    <a:pt x="217" y="281"/>
                  </a:cubicBezTo>
                  <a:cubicBezTo>
                    <a:pt x="200" y="305"/>
                    <a:pt x="200" y="305"/>
                    <a:pt x="200" y="305"/>
                  </a:cubicBezTo>
                  <a:cubicBezTo>
                    <a:pt x="211" y="322"/>
                    <a:pt x="211" y="322"/>
                    <a:pt x="211" y="322"/>
                  </a:cubicBezTo>
                  <a:cubicBezTo>
                    <a:pt x="211" y="322"/>
                    <a:pt x="192" y="323"/>
                    <a:pt x="188" y="332"/>
                  </a:cubicBezTo>
                  <a:cubicBezTo>
                    <a:pt x="184" y="341"/>
                    <a:pt x="187" y="359"/>
                    <a:pt x="179" y="372"/>
                  </a:cubicBezTo>
                  <a:cubicBezTo>
                    <a:pt x="171" y="385"/>
                    <a:pt x="155" y="388"/>
                    <a:pt x="151" y="391"/>
                  </a:cubicBezTo>
                  <a:cubicBezTo>
                    <a:pt x="147" y="394"/>
                    <a:pt x="146" y="414"/>
                    <a:pt x="146" y="414"/>
                  </a:cubicBezTo>
                  <a:cubicBezTo>
                    <a:pt x="137" y="419"/>
                    <a:pt x="137" y="419"/>
                    <a:pt x="137" y="419"/>
                  </a:cubicBezTo>
                  <a:cubicBezTo>
                    <a:pt x="137" y="419"/>
                    <a:pt x="136" y="429"/>
                    <a:pt x="129" y="437"/>
                  </a:cubicBezTo>
                  <a:cubicBezTo>
                    <a:pt x="122" y="445"/>
                    <a:pt x="107" y="437"/>
                    <a:pt x="107" y="437"/>
                  </a:cubicBezTo>
                  <a:cubicBezTo>
                    <a:pt x="107" y="437"/>
                    <a:pt x="102" y="445"/>
                    <a:pt x="89" y="447"/>
                  </a:cubicBezTo>
                  <a:cubicBezTo>
                    <a:pt x="76" y="449"/>
                    <a:pt x="84" y="432"/>
                    <a:pt x="70" y="434"/>
                  </a:cubicBezTo>
                  <a:cubicBezTo>
                    <a:pt x="56" y="436"/>
                    <a:pt x="57" y="450"/>
                    <a:pt x="57" y="450"/>
                  </a:cubicBezTo>
                  <a:cubicBezTo>
                    <a:pt x="57" y="450"/>
                    <a:pt x="50" y="462"/>
                    <a:pt x="42" y="469"/>
                  </a:cubicBezTo>
                  <a:cubicBezTo>
                    <a:pt x="34" y="476"/>
                    <a:pt x="33" y="476"/>
                    <a:pt x="33" y="493"/>
                  </a:cubicBezTo>
                  <a:cubicBezTo>
                    <a:pt x="33" y="510"/>
                    <a:pt x="48" y="508"/>
                    <a:pt x="48" y="508"/>
                  </a:cubicBezTo>
                  <a:cubicBezTo>
                    <a:pt x="66" y="506"/>
                    <a:pt x="66" y="506"/>
                    <a:pt x="66" y="506"/>
                  </a:cubicBezTo>
                  <a:cubicBezTo>
                    <a:pt x="67" y="516"/>
                    <a:pt x="67" y="516"/>
                    <a:pt x="67" y="516"/>
                  </a:cubicBezTo>
                  <a:cubicBezTo>
                    <a:pt x="65" y="536"/>
                    <a:pt x="65" y="536"/>
                    <a:pt x="65" y="536"/>
                  </a:cubicBezTo>
                  <a:cubicBezTo>
                    <a:pt x="65" y="536"/>
                    <a:pt x="67" y="544"/>
                    <a:pt x="74" y="551"/>
                  </a:cubicBezTo>
                  <a:cubicBezTo>
                    <a:pt x="81" y="558"/>
                    <a:pt x="97" y="558"/>
                    <a:pt x="97" y="558"/>
                  </a:cubicBezTo>
                  <a:cubicBezTo>
                    <a:pt x="97" y="573"/>
                    <a:pt x="97" y="573"/>
                    <a:pt x="97" y="573"/>
                  </a:cubicBezTo>
                  <a:cubicBezTo>
                    <a:pt x="111" y="601"/>
                    <a:pt x="111" y="601"/>
                    <a:pt x="111" y="601"/>
                  </a:cubicBezTo>
                  <a:cubicBezTo>
                    <a:pt x="111" y="601"/>
                    <a:pt x="122" y="616"/>
                    <a:pt x="120" y="625"/>
                  </a:cubicBezTo>
                  <a:cubicBezTo>
                    <a:pt x="118" y="634"/>
                    <a:pt x="109" y="635"/>
                    <a:pt x="98" y="635"/>
                  </a:cubicBezTo>
                  <a:cubicBezTo>
                    <a:pt x="87" y="635"/>
                    <a:pt x="97" y="624"/>
                    <a:pt x="86" y="626"/>
                  </a:cubicBezTo>
                  <a:cubicBezTo>
                    <a:pt x="75" y="628"/>
                    <a:pt x="77" y="638"/>
                    <a:pt x="63" y="638"/>
                  </a:cubicBezTo>
                  <a:cubicBezTo>
                    <a:pt x="49" y="638"/>
                    <a:pt x="52" y="630"/>
                    <a:pt x="52" y="630"/>
                  </a:cubicBezTo>
                  <a:cubicBezTo>
                    <a:pt x="35" y="636"/>
                    <a:pt x="35" y="636"/>
                    <a:pt x="35" y="636"/>
                  </a:cubicBezTo>
                  <a:cubicBezTo>
                    <a:pt x="35" y="636"/>
                    <a:pt x="26" y="629"/>
                    <a:pt x="15" y="630"/>
                  </a:cubicBezTo>
                  <a:cubicBezTo>
                    <a:pt x="4" y="631"/>
                    <a:pt x="13" y="647"/>
                    <a:pt x="13" y="647"/>
                  </a:cubicBezTo>
                  <a:cubicBezTo>
                    <a:pt x="0" y="652"/>
                    <a:pt x="0" y="652"/>
                    <a:pt x="0" y="652"/>
                  </a:cubicBezTo>
                  <a:cubicBezTo>
                    <a:pt x="11" y="653"/>
                    <a:pt x="23" y="653"/>
                    <a:pt x="23" y="653"/>
                  </a:cubicBezTo>
                  <a:cubicBezTo>
                    <a:pt x="23" y="653"/>
                    <a:pt x="13" y="677"/>
                    <a:pt x="26" y="686"/>
                  </a:cubicBezTo>
                  <a:cubicBezTo>
                    <a:pt x="38" y="696"/>
                    <a:pt x="71" y="699"/>
                    <a:pt x="78" y="697"/>
                  </a:cubicBezTo>
                  <a:cubicBezTo>
                    <a:pt x="84" y="695"/>
                    <a:pt x="108" y="678"/>
                    <a:pt x="108" y="678"/>
                  </a:cubicBezTo>
                  <a:cubicBezTo>
                    <a:pt x="108" y="678"/>
                    <a:pt x="118" y="690"/>
                    <a:pt x="106" y="701"/>
                  </a:cubicBezTo>
                  <a:cubicBezTo>
                    <a:pt x="94" y="712"/>
                    <a:pt x="70" y="719"/>
                    <a:pt x="70" y="719"/>
                  </a:cubicBezTo>
                  <a:cubicBezTo>
                    <a:pt x="70" y="719"/>
                    <a:pt x="32" y="724"/>
                    <a:pt x="30" y="735"/>
                  </a:cubicBezTo>
                  <a:cubicBezTo>
                    <a:pt x="28" y="746"/>
                    <a:pt x="58" y="770"/>
                    <a:pt x="70" y="779"/>
                  </a:cubicBezTo>
                  <a:cubicBezTo>
                    <a:pt x="83" y="788"/>
                    <a:pt x="106" y="816"/>
                    <a:pt x="136" y="818"/>
                  </a:cubicBezTo>
                  <a:cubicBezTo>
                    <a:pt x="167" y="821"/>
                    <a:pt x="205" y="794"/>
                    <a:pt x="201" y="775"/>
                  </a:cubicBezTo>
                  <a:cubicBezTo>
                    <a:pt x="197" y="757"/>
                    <a:pt x="207" y="742"/>
                    <a:pt x="217" y="733"/>
                  </a:cubicBezTo>
                  <a:cubicBezTo>
                    <a:pt x="226" y="723"/>
                    <a:pt x="248" y="718"/>
                    <a:pt x="238" y="735"/>
                  </a:cubicBezTo>
                  <a:cubicBezTo>
                    <a:pt x="229" y="752"/>
                    <a:pt x="206" y="767"/>
                    <a:pt x="213" y="781"/>
                  </a:cubicBezTo>
                  <a:cubicBezTo>
                    <a:pt x="220" y="795"/>
                    <a:pt x="238" y="793"/>
                    <a:pt x="238" y="808"/>
                  </a:cubicBezTo>
                  <a:cubicBezTo>
                    <a:pt x="237" y="822"/>
                    <a:pt x="233" y="838"/>
                    <a:pt x="227" y="861"/>
                  </a:cubicBezTo>
                  <a:cubicBezTo>
                    <a:pt x="220" y="885"/>
                    <a:pt x="220" y="907"/>
                    <a:pt x="227" y="936"/>
                  </a:cubicBezTo>
                  <a:cubicBezTo>
                    <a:pt x="235" y="964"/>
                    <a:pt x="247" y="1014"/>
                    <a:pt x="258" y="1029"/>
                  </a:cubicBezTo>
                  <a:cubicBezTo>
                    <a:pt x="269" y="1045"/>
                    <a:pt x="272" y="1039"/>
                    <a:pt x="267" y="1062"/>
                  </a:cubicBezTo>
                  <a:cubicBezTo>
                    <a:pt x="262" y="1085"/>
                    <a:pt x="299" y="1092"/>
                    <a:pt x="299" y="1092"/>
                  </a:cubicBezTo>
                  <a:cubicBezTo>
                    <a:pt x="299" y="1092"/>
                    <a:pt x="304" y="1124"/>
                    <a:pt x="312" y="1135"/>
                  </a:cubicBezTo>
                  <a:cubicBezTo>
                    <a:pt x="321" y="1147"/>
                    <a:pt x="339" y="1156"/>
                    <a:pt x="339" y="1156"/>
                  </a:cubicBezTo>
                  <a:cubicBezTo>
                    <a:pt x="339" y="1156"/>
                    <a:pt x="344" y="1222"/>
                    <a:pt x="354" y="1252"/>
                  </a:cubicBezTo>
                  <a:cubicBezTo>
                    <a:pt x="365" y="1282"/>
                    <a:pt x="402" y="1323"/>
                    <a:pt x="407" y="1335"/>
                  </a:cubicBezTo>
                  <a:cubicBezTo>
                    <a:pt x="412" y="1348"/>
                    <a:pt x="414" y="1374"/>
                    <a:pt x="413" y="1386"/>
                  </a:cubicBezTo>
                  <a:cubicBezTo>
                    <a:pt x="411" y="1398"/>
                    <a:pt x="479" y="1502"/>
                    <a:pt x="479" y="1502"/>
                  </a:cubicBezTo>
                  <a:cubicBezTo>
                    <a:pt x="479" y="1502"/>
                    <a:pt x="512" y="1493"/>
                    <a:pt x="518" y="1484"/>
                  </a:cubicBezTo>
                  <a:cubicBezTo>
                    <a:pt x="523" y="1474"/>
                    <a:pt x="515" y="1452"/>
                    <a:pt x="526" y="1445"/>
                  </a:cubicBezTo>
                  <a:cubicBezTo>
                    <a:pt x="536" y="1438"/>
                    <a:pt x="540" y="1446"/>
                    <a:pt x="550" y="1443"/>
                  </a:cubicBezTo>
                  <a:cubicBezTo>
                    <a:pt x="561" y="1440"/>
                    <a:pt x="578" y="1427"/>
                    <a:pt x="578" y="1427"/>
                  </a:cubicBezTo>
                  <a:cubicBezTo>
                    <a:pt x="578" y="1427"/>
                    <a:pt x="563" y="1431"/>
                    <a:pt x="566" y="1414"/>
                  </a:cubicBezTo>
                  <a:cubicBezTo>
                    <a:pt x="568" y="1397"/>
                    <a:pt x="575" y="1394"/>
                    <a:pt x="587" y="1388"/>
                  </a:cubicBezTo>
                  <a:cubicBezTo>
                    <a:pt x="599" y="1382"/>
                    <a:pt x="613" y="1379"/>
                    <a:pt x="613" y="1371"/>
                  </a:cubicBezTo>
                  <a:cubicBezTo>
                    <a:pt x="614" y="1362"/>
                    <a:pt x="601" y="1330"/>
                    <a:pt x="601" y="1311"/>
                  </a:cubicBezTo>
                  <a:cubicBezTo>
                    <a:pt x="600" y="1293"/>
                    <a:pt x="599" y="1264"/>
                    <a:pt x="605" y="1261"/>
                  </a:cubicBezTo>
                  <a:cubicBezTo>
                    <a:pt x="612" y="1257"/>
                    <a:pt x="609" y="1249"/>
                    <a:pt x="610" y="1217"/>
                  </a:cubicBezTo>
                  <a:cubicBezTo>
                    <a:pt x="612" y="1185"/>
                    <a:pt x="592" y="1185"/>
                    <a:pt x="590" y="1172"/>
                  </a:cubicBezTo>
                  <a:cubicBezTo>
                    <a:pt x="588" y="1160"/>
                    <a:pt x="598" y="1154"/>
                    <a:pt x="599" y="1142"/>
                  </a:cubicBezTo>
                  <a:cubicBezTo>
                    <a:pt x="601" y="1130"/>
                    <a:pt x="594" y="1123"/>
                    <a:pt x="594" y="1107"/>
                  </a:cubicBezTo>
                  <a:cubicBezTo>
                    <a:pt x="595" y="1091"/>
                    <a:pt x="631" y="1089"/>
                    <a:pt x="631" y="1082"/>
                  </a:cubicBezTo>
                  <a:cubicBezTo>
                    <a:pt x="631" y="1075"/>
                    <a:pt x="631" y="1059"/>
                    <a:pt x="638" y="1054"/>
                  </a:cubicBezTo>
                  <a:cubicBezTo>
                    <a:pt x="646" y="1049"/>
                    <a:pt x="660" y="1050"/>
                    <a:pt x="660" y="1050"/>
                  </a:cubicBezTo>
                  <a:cubicBezTo>
                    <a:pt x="663" y="1044"/>
                    <a:pt x="663" y="1044"/>
                    <a:pt x="663" y="1044"/>
                  </a:cubicBezTo>
                  <a:cubicBezTo>
                    <a:pt x="663" y="1044"/>
                    <a:pt x="686" y="1055"/>
                    <a:pt x="688" y="1044"/>
                  </a:cubicBezTo>
                  <a:cubicBezTo>
                    <a:pt x="690" y="1033"/>
                    <a:pt x="709" y="998"/>
                    <a:pt x="715" y="988"/>
                  </a:cubicBezTo>
                  <a:cubicBezTo>
                    <a:pt x="722" y="979"/>
                    <a:pt x="744" y="980"/>
                    <a:pt x="751" y="966"/>
                  </a:cubicBezTo>
                  <a:cubicBezTo>
                    <a:pt x="758" y="953"/>
                    <a:pt x="769" y="925"/>
                    <a:pt x="779" y="916"/>
                  </a:cubicBezTo>
                  <a:cubicBezTo>
                    <a:pt x="788" y="906"/>
                    <a:pt x="827" y="886"/>
                    <a:pt x="827" y="886"/>
                  </a:cubicBezTo>
                  <a:cubicBezTo>
                    <a:pt x="820" y="866"/>
                    <a:pt x="820" y="866"/>
                    <a:pt x="820" y="866"/>
                  </a:cubicBezTo>
                  <a:cubicBezTo>
                    <a:pt x="826" y="861"/>
                    <a:pt x="826" y="861"/>
                    <a:pt x="826" y="861"/>
                  </a:cubicBezTo>
                  <a:cubicBezTo>
                    <a:pt x="839" y="880"/>
                    <a:pt x="839" y="880"/>
                    <a:pt x="839" y="880"/>
                  </a:cubicBezTo>
                  <a:cubicBezTo>
                    <a:pt x="880" y="841"/>
                    <a:pt x="880" y="841"/>
                    <a:pt x="880" y="841"/>
                  </a:cubicBezTo>
                  <a:cubicBezTo>
                    <a:pt x="887" y="823"/>
                    <a:pt x="887" y="823"/>
                    <a:pt x="887" y="823"/>
                  </a:cubicBezTo>
                  <a:cubicBezTo>
                    <a:pt x="887" y="823"/>
                    <a:pt x="873" y="806"/>
                    <a:pt x="873" y="795"/>
                  </a:cubicBezTo>
                  <a:cubicBezTo>
                    <a:pt x="874" y="784"/>
                    <a:pt x="897" y="788"/>
                    <a:pt x="909" y="773"/>
                  </a:cubicBezTo>
                  <a:cubicBezTo>
                    <a:pt x="921" y="757"/>
                    <a:pt x="917" y="744"/>
                    <a:pt x="917" y="744"/>
                  </a:cubicBezTo>
                  <a:cubicBezTo>
                    <a:pt x="928" y="749"/>
                    <a:pt x="928" y="749"/>
                    <a:pt x="928" y="749"/>
                  </a:cubicBezTo>
                  <a:cubicBezTo>
                    <a:pt x="934" y="767"/>
                    <a:pt x="934" y="767"/>
                    <a:pt x="934" y="767"/>
                  </a:cubicBezTo>
                  <a:cubicBezTo>
                    <a:pt x="942" y="744"/>
                    <a:pt x="942" y="744"/>
                    <a:pt x="942" y="744"/>
                  </a:cubicBezTo>
                  <a:cubicBezTo>
                    <a:pt x="942" y="744"/>
                    <a:pt x="950" y="786"/>
                    <a:pt x="957" y="789"/>
                  </a:cubicBezTo>
                  <a:cubicBezTo>
                    <a:pt x="965" y="791"/>
                    <a:pt x="968" y="763"/>
                    <a:pt x="968" y="763"/>
                  </a:cubicBezTo>
                  <a:cubicBezTo>
                    <a:pt x="970" y="745"/>
                    <a:pt x="970" y="745"/>
                    <a:pt x="970" y="745"/>
                  </a:cubicBezTo>
                  <a:cubicBezTo>
                    <a:pt x="958" y="717"/>
                    <a:pt x="958" y="717"/>
                    <a:pt x="958" y="717"/>
                  </a:cubicBezTo>
                  <a:cubicBezTo>
                    <a:pt x="959" y="697"/>
                    <a:pt x="959" y="697"/>
                    <a:pt x="959" y="697"/>
                  </a:cubicBezTo>
                  <a:cubicBezTo>
                    <a:pt x="939" y="681"/>
                    <a:pt x="939" y="681"/>
                    <a:pt x="939" y="681"/>
                  </a:cubicBezTo>
                  <a:cubicBezTo>
                    <a:pt x="930" y="661"/>
                    <a:pt x="930" y="661"/>
                    <a:pt x="930" y="661"/>
                  </a:cubicBezTo>
                  <a:cubicBezTo>
                    <a:pt x="930" y="661"/>
                    <a:pt x="939" y="653"/>
                    <a:pt x="942" y="637"/>
                  </a:cubicBezTo>
                  <a:cubicBezTo>
                    <a:pt x="945" y="621"/>
                    <a:pt x="918" y="627"/>
                    <a:pt x="908" y="617"/>
                  </a:cubicBezTo>
                  <a:cubicBezTo>
                    <a:pt x="898" y="607"/>
                    <a:pt x="917" y="604"/>
                    <a:pt x="917" y="604"/>
                  </a:cubicBezTo>
                  <a:cubicBezTo>
                    <a:pt x="917" y="585"/>
                    <a:pt x="917" y="585"/>
                    <a:pt x="917" y="585"/>
                  </a:cubicBezTo>
                  <a:cubicBezTo>
                    <a:pt x="939" y="584"/>
                    <a:pt x="939" y="584"/>
                    <a:pt x="939" y="584"/>
                  </a:cubicBezTo>
                  <a:cubicBezTo>
                    <a:pt x="938" y="576"/>
                    <a:pt x="938" y="576"/>
                    <a:pt x="938" y="576"/>
                  </a:cubicBezTo>
                  <a:cubicBezTo>
                    <a:pt x="921" y="565"/>
                    <a:pt x="921" y="565"/>
                    <a:pt x="921" y="565"/>
                  </a:cubicBezTo>
                  <a:cubicBezTo>
                    <a:pt x="921" y="565"/>
                    <a:pt x="899" y="557"/>
                    <a:pt x="897" y="546"/>
                  </a:cubicBezTo>
                  <a:cubicBezTo>
                    <a:pt x="895" y="535"/>
                    <a:pt x="906" y="523"/>
                    <a:pt x="906" y="523"/>
                  </a:cubicBezTo>
                  <a:cubicBezTo>
                    <a:pt x="901" y="511"/>
                    <a:pt x="901" y="511"/>
                    <a:pt x="901" y="511"/>
                  </a:cubicBezTo>
                  <a:cubicBezTo>
                    <a:pt x="912" y="514"/>
                    <a:pt x="912" y="514"/>
                    <a:pt x="912" y="514"/>
                  </a:cubicBezTo>
                  <a:cubicBezTo>
                    <a:pt x="928" y="522"/>
                    <a:pt x="928" y="522"/>
                    <a:pt x="928" y="522"/>
                  </a:cubicBezTo>
                  <a:cubicBezTo>
                    <a:pt x="925" y="515"/>
                    <a:pt x="925" y="515"/>
                    <a:pt x="925" y="515"/>
                  </a:cubicBezTo>
                  <a:cubicBezTo>
                    <a:pt x="936" y="514"/>
                    <a:pt x="936" y="514"/>
                    <a:pt x="936" y="514"/>
                  </a:cubicBezTo>
                  <a:cubicBezTo>
                    <a:pt x="936" y="514"/>
                    <a:pt x="939" y="526"/>
                    <a:pt x="945" y="532"/>
                  </a:cubicBezTo>
                  <a:cubicBezTo>
                    <a:pt x="951" y="538"/>
                    <a:pt x="961" y="540"/>
                    <a:pt x="961" y="540"/>
                  </a:cubicBezTo>
                  <a:cubicBezTo>
                    <a:pt x="962" y="528"/>
                    <a:pt x="962" y="528"/>
                    <a:pt x="962" y="528"/>
                  </a:cubicBezTo>
                  <a:cubicBezTo>
                    <a:pt x="962" y="528"/>
                    <a:pt x="968" y="531"/>
                    <a:pt x="972" y="534"/>
                  </a:cubicBezTo>
                  <a:cubicBezTo>
                    <a:pt x="976" y="537"/>
                    <a:pt x="976" y="555"/>
                    <a:pt x="976" y="555"/>
                  </a:cubicBezTo>
                  <a:cubicBezTo>
                    <a:pt x="980" y="557"/>
                    <a:pt x="980" y="557"/>
                    <a:pt x="980" y="557"/>
                  </a:cubicBezTo>
                  <a:cubicBezTo>
                    <a:pt x="980" y="557"/>
                    <a:pt x="981" y="577"/>
                    <a:pt x="981" y="580"/>
                  </a:cubicBezTo>
                  <a:cubicBezTo>
                    <a:pt x="981" y="583"/>
                    <a:pt x="998" y="586"/>
                    <a:pt x="1008" y="586"/>
                  </a:cubicBezTo>
                  <a:cubicBezTo>
                    <a:pt x="1018" y="586"/>
                    <a:pt x="1049" y="590"/>
                    <a:pt x="1049" y="590"/>
                  </a:cubicBezTo>
                  <a:cubicBezTo>
                    <a:pt x="1079" y="579"/>
                    <a:pt x="1079" y="579"/>
                    <a:pt x="1079" y="579"/>
                  </a:cubicBezTo>
                  <a:cubicBezTo>
                    <a:pt x="1079" y="579"/>
                    <a:pt x="1101" y="587"/>
                    <a:pt x="1101" y="597"/>
                  </a:cubicBezTo>
                  <a:cubicBezTo>
                    <a:pt x="1101" y="607"/>
                    <a:pt x="1091" y="603"/>
                    <a:pt x="1091" y="603"/>
                  </a:cubicBezTo>
                  <a:cubicBezTo>
                    <a:pt x="1091" y="603"/>
                    <a:pt x="1091" y="612"/>
                    <a:pt x="1088" y="626"/>
                  </a:cubicBezTo>
                  <a:cubicBezTo>
                    <a:pt x="1085" y="640"/>
                    <a:pt x="1071" y="638"/>
                    <a:pt x="1063" y="641"/>
                  </a:cubicBezTo>
                  <a:cubicBezTo>
                    <a:pt x="1055" y="644"/>
                    <a:pt x="1053" y="654"/>
                    <a:pt x="1053" y="670"/>
                  </a:cubicBezTo>
                  <a:cubicBezTo>
                    <a:pt x="1053" y="686"/>
                    <a:pt x="1073" y="689"/>
                    <a:pt x="1073" y="689"/>
                  </a:cubicBezTo>
                  <a:cubicBezTo>
                    <a:pt x="1082" y="704"/>
                    <a:pt x="1082" y="704"/>
                    <a:pt x="1082" y="704"/>
                  </a:cubicBezTo>
                  <a:cubicBezTo>
                    <a:pt x="1089" y="681"/>
                    <a:pt x="1089" y="681"/>
                    <a:pt x="1089" y="681"/>
                  </a:cubicBezTo>
                  <a:cubicBezTo>
                    <a:pt x="1089" y="681"/>
                    <a:pt x="1081" y="660"/>
                    <a:pt x="1099" y="664"/>
                  </a:cubicBezTo>
                  <a:cubicBezTo>
                    <a:pt x="1117" y="668"/>
                    <a:pt x="1111" y="687"/>
                    <a:pt x="1115" y="698"/>
                  </a:cubicBezTo>
                  <a:cubicBezTo>
                    <a:pt x="1119" y="709"/>
                    <a:pt x="1135" y="748"/>
                    <a:pt x="1135" y="748"/>
                  </a:cubicBezTo>
                  <a:cubicBezTo>
                    <a:pt x="1149" y="760"/>
                    <a:pt x="1149" y="760"/>
                    <a:pt x="1149" y="760"/>
                  </a:cubicBezTo>
                  <a:cubicBezTo>
                    <a:pt x="1149" y="760"/>
                    <a:pt x="1148" y="752"/>
                    <a:pt x="1148" y="746"/>
                  </a:cubicBezTo>
                  <a:cubicBezTo>
                    <a:pt x="1148" y="740"/>
                    <a:pt x="1152" y="752"/>
                    <a:pt x="1161" y="750"/>
                  </a:cubicBezTo>
                  <a:cubicBezTo>
                    <a:pt x="1170" y="748"/>
                    <a:pt x="1160" y="736"/>
                    <a:pt x="1156" y="732"/>
                  </a:cubicBezTo>
                  <a:cubicBezTo>
                    <a:pt x="1152" y="728"/>
                    <a:pt x="1152" y="714"/>
                    <a:pt x="1149" y="705"/>
                  </a:cubicBezTo>
                  <a:cubicBezTo>
                    <a:pt x="1146" y="696"/>
                    <a:pt x="1163" y="694"/>
                    <a:pt x="1163" y="694"/>
                  </a:cubicBezTo>
                  <a:cubicBezTo>
                    <a:pt x="1161" y="661"/>
                    <a:pt x="1161" y="661"/>
                    <a:pt x="1161" y="661"/>
                  </a:cubicBezTo>
                  <a:cubicBezTo>
                    <a:pt x="1161" y="661"/>
                    <a:pt x="1147" y="650"/>
                    <a:pt x="1143" y="648"/>
                  </a:cubicBezTo>
                  <a:cubicBezTo>
                    <a:pt x="1139" y="646"/>
                    <a:pt x="1164" y="647"/>
                    <a:pt x="1168" y="648"/>
                  </a:cubicBezTo>
                  <a:cubicBezTo>
                    <a:pt x="1172" y="649"/>
                    <a:pt x="1197" y="653"/>
                    <a:pt x="1197" y="653"/>
                  </a:cubicBezTo>
                  <a:cubicBezTo>
                    <a:pt x="1197" y="629"/>
                    <a:pt x="1197" y="629"/>
                    <a:pt x="1197" y="629"/>
                  </a:cubicBezTo>
                  <a:cubicBezTo>
                    <a:pt x="1209" y="594"/>
                    <a:pt x="1209" y="594"/>
                    <a:pt x="1209" y="594"/>
                  </a:cubicBezTo>
                  <a:cubicBezTo>
                    <a:pt x="1209" y="594"/>
                    <a:pt x="1199" y="586"/>
                    <a:pt x="1199" y="576"/>
                  </a:cubicBezTo>
                  <a:cubicBezTo>
                    <a:pt x="1199" y="566"/>
                    <a:pt x="1213" y="562"/>
                    <a:pt x="1213" y="562"/>
                  </a:cubicBezTo>
                  <a:cubicBezTo>
                    <a:pt x="1225" y="541"/>
                    <a:pt x="1225" y="541"/>
                    <a:pt x="1225" y="541"/>
                  </a:cubicBezTo>
                  <a:cubicBezTo>
                    <a:pt x="1225" y="541"/>
                    <a:pt x="1219" y="530"/>
                    <a:pt x="1218" y="525"/>
                  </a:cubicBezTo>
                  <a:cubicBezTo>
                    <a:pt x="1217" y="520"/>
                    <a:pt x="1215" y="506"/>
                    <a:pt x="1215" y="506"/>
                  </a:cubicBezTo>
                  <a:cubicBezTo>
                    <a:pt x="1215" y="506"/>
                    <a:pt x="1226" y="501"/>
                    <a:pt x="1238" y="497"/>
                  </a:cubicBezTo>
                  <a:cubicBezTo>
                    <a:pt x="1250" y="493"/>
                    <a:pt x="1245" y="478"/>
                    <a:pt x="1253" y="476"/>
                  </a:cubicBezTo>
                  <a:cubicBezTo>
                    <a:pt x="1261" y="474"/>
                    <a:pt x="1276" y="473"/>
                    <a:pt x="1276" y="473"/>
                  </a:cubicBezTo>
                  <a:cubicBezTo>
                    <a:pt x="1276" y="473"/>
                    <a:pt x="1299" y="481"/>
                    <a:pt x="1301" y="477"/>
                  </a:cubicBezTo>
                  <a:cubicBezTo>
                    <a:pt x="1303" y="473"/>
                    <a:pt x="1280" y="463"/>
                    <a:pt x="1280" y="454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22" name="Freeform 38"/>
            <p:cNvSpPr>
              <a:spLocks/>
            </p:cNvSpPr>
            <p:nvPr/>
          </p:nvSpPr>
          <p:spPr bwMode="auto">
            <a:xfrm>
              <a:off x="4302" y="2172"/>
              <a:ext cx="161" cy="379"/>
            </a:xfrm>
            <a:custGeom>
              <a:avLst/>
              <a:gdLst>
                <a:gd name="T0" fmla="*/ 0 w 426"/>
                <a:gd name="T1" fmla="*/ 0 h 1001"/>
                <a:gd name="T2" fmla="*/ 0 w 426"/>
                <a:gd name="T3" fmla="*/ 0 h 1001"/>
                <a:gd name="T4" fmla="*/ 0 w 426"/>
                <a:gd name="T5" fmla="*/ 0 h 1001"/>
                <a:gd name="T6" fmla="*/ 0 w 426"/>
                <a:gd name="T7" fmla="*/ 0 h 1001"/>
                <a:gd name="T8" fmla="*/ 0 w 426"/>
                <a:gd name="T9" fmla="*/ 0 h 1001"/>
                <a:gd name="T10" fmla="*/ 0 w 426"/>
                <a:gd name="T11" fmla="*/ 0 h 1001"/>
                <a:gd name="T12" fmla="*/ 0 w 426"/>
                <a:gd name="T13" fmla="*/ 0 h 1001"/>
                <a:gd name="T14" fmla="*/ 0 w 426"/>
                <a:gd name="T15" fmla="*/ 0 h 1001"/>
                <a:gd name="T16" fmla="*/ 0 w 426"/>
                <a:gd name="T17" fmla="*/ 0 h 1001"/>
                <a:gd name="T18" fmla="*/ 0 w 426"/>
                <a:gd name="T19" fmla="*/ 0 h 1001"/>
                <a:gd name="T20" fmla="*/ 0 w 426"/>
                <a:gd name="T21" fmla="*/ 0 h 1001"/>
                <a:gd name="T22" fmla="*/ 0 w 426"/>
                <a:gd name="T23" fmla="*/ 0 h 1001"/>
                <a:gd name="T24" fmla="*/ 0 w 426"/>
                <a:gd name="T25" fmla="*/ 0 h 1001"/>
                <a:gd name="T26" fmla="*/ 0 w 426"/>
                <a:gd name="T27" fmla="*/ 0 h 1001"/>
                <a:gd name="T28" fmla="*/ 0 w 426"/>
                <a:gd name="T29" fmla="*/ 0 h 1001"/>
                <a:gd name="T30" fmla="*/ 0 w 426"/>
                <a:gd name="T31" fmla="*/ 0 h 1001"/>
                <a:gd name="T32" fmla="*/ 0 w 426"/>
                <a:gd name="T33" fmla="*/ 0 h 1001"/>
                <a:gd name="T34" fmla="*/ 0 w 426"/>
                <a:gd name="T35" fmla="*/ 0 h 1001"/>
                <a:gd name="T36" fmla="*/ 0 w 426"/>
                <a:gd name="T37" fmla="*/ 0 h 1001"/>
                <a:gd name="T38" fmla="*/ 0 w 426"/>
                <a:gd name="T39" fmla="*/ 0 h 1001"/>
                <a:gd name="T40" fmla="*/ 0 w 426"/>
                <a:gd name="T41" fmla="*/ 0 h 1001"/>
                <a:gd name="T42" fmla="*/ 0 w 426"/>
                <a:gd name="T43" fmla="*/ 0 h 1001"/>
                <a:gd name="T44" fmla="*/ 0 w 426"/>
                <a:gd name="T45" fmla="*/ 0 h 1001"/>
                <a:gd name="T46" fmla="*/ 0 w 426"/>
                <a:gd name="T47" fmla="*/ 0 h 1001"/>
                <a:gd name="T48" fmla="*/ 0 w 426"/>
                <a:gd name="T49" fmla="*/ 0 h 1001"/>
                <a:gd name="T50" fmla="*/ 0 w 426"/>
                <a:gd name="T51" fmla="*/ 0 h 1001"/>
                <a:gd name="T52" fmla="*/ 0 w 426"/>
                <a:gd name="T53" fmla="*/ 0 h 1001"/>
                <a:gd name="T54" fmla="*/ 0 w 426"/>
                <a:gd name="T55" fmla="*/ 0 h 1001"/>
                <a:gd name="T56" fmla="*/ 0 w 426"/>
                <a:gd name="T57" fmla="*/ 0 h 1001"/>
                <a:gd name="T58" fmla="*/ 0 w 426"/>
                <a:gd name="T59" fmla="*/ 0 h 1001"/>
                <a:gd name="T60" fmla="*/ 0 w 426"/>
                <a:gd name="T61" fmla="*/ 0 h 1001"/>
                <a:gd name="T62" fmla="*/ 0 w 426"/>
                <a:gd name="T63" fmla="*/ 0 h 1001"/>
                <a:gd name="T64" fmla="*/ 0 w 426"/>
                <a:gd name="T65" fmla="*/ 0 h 1001"/>
                <a:gd name="T66" fmla="*/ 0 w 426"/>
                <a:gd name="T67" fmla="*/ 0 h 1001"/>
                <a:gd name="T68" fmla="*/ 0 w 426"/>
                <a:gd name="T69" fmla="*/ 0 h 1001"/>
                <a:gd name="T70" fmla="*/ 0 w 426"/>
                <a:gd name="T71" fmla="*/ 0 h 1001"/>
                <a:gd name="T72" fmla="*/ 0 w 426"/>
                <a:gd name="T73" fmla="*/ 0 h 1001"/>
                <a:gd name="T74" fmla="*/ 0 w 426"/>
                <a:gd name="T75" fmla="*/ 0 h 1001"/>
                <a:gd name="T76" fmla="*/ 0 w 426"/>
                <a:gd name="T77" fmla="*/ 0 h 1001"/>
                <a:gd name="T78" fmla="*/ 0 w 426"/>
                <a:gd name="T79" fmla="*/ 0 h 1001"/>
                <a:gd name="T80" fmla="*/ 0 w 426"/>
                <a:gd name="T81" fmla="*/ 0 h 1001"/>
                <a:gd name="T82" fmla="*/ 0 w 426"/>
                <a:gd name="T83" fmla="*/ 0 h 1001"/>
                <a:gd name="T84" fmla="*/ 0 w 426"/>
                <a:gd name="T85" fmla="*/ 0 h 100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26"/>
                <a:gd name="T130" fmla="*/ 0 h 1001"/>
                <a:gd name="T131" fmla="*/ 426 w 426"/>
                <a:gd name="T132" fmla="*/ 1001 h 100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26" h="1001">
                  <a:moveTo>
                    <a:pt x="0" y="391"/>
                  </a:moveTo>
                  <a:cubicBezTo>
                    <a:pt x="5" y="391"/>
                    <a:pt x="9" y="391"/>
                    <a:pt x="9" y="391"/>
                  </a:cubicBezTo>
                  <a:cubicBezTo>
                    <a:pt x="9" y="422"/>
                    <a:pt x="9" y="422"/>
                    <a:pt x="9" y="422"/>
                  </a:cubicBezTo>
                  <a:cubicBezTo>
                    <a:pt x="9" y="422"/>
                    <a:pt x="32" y="428"/>
                    <a:pt x="41" y="438"/>
                  </a:cubicBezTo>
                  <a:cubicBezTo>
                    <a:pt x="51" y="448"/>
                    <a:pt x="59" y="470"/>
                    <a:pt x="59" y="470"/>
                  </a:cubicBezTo>
                  <a:cubicBezTo>
                    <a:pt x="81" y="465"/>
                    <a:pt x="81" y="465"/>
                    <a:pt x="81" y="465"/>
                  </a:cubicBezTo>
                  <a:cubicBezTo>
                    <a:pt x="67" y="494"/>
                    <a:pt x="67" y="494"/>
                    <a:pt x="67" y="494"/>
                  </a:cubicBezTo>
                  <a:cubicBezTo>
                    <a:pt x="67" y="494"/>
                    <a:pt x="98" y="501"/>
                    <a:pt x="110" y="510"/>
                  </a:cubicBezTo>
                  <a:cubicBezTo>
                    <a:pt x="122" y="519"/>
                    <a:pt x="130" y="555"/>
                    <a:pt x="132" y="562"/>
                  </a:cubicBezTo>
                  <a:cubicBezTo>
                    <a:pt x="134" y="568"/>
                    <a:pt x="148" y="581"/>
                    <a:pt x="148" y="581"/>
                  </a:cubicBezTo>
                  <a:cubicBezTo>
                    <a:pt x="137" y="593"/>
                    <a:pt x="137" y="593"/>
                    <a:pt x="137" y="593"/>
                  </a:cubicBezTo>
                  <a:cubicBezTo>
                    <a:pt x="145" y="654"/>
                    <a:pt x="145" y="654"/>
                    <a:pt x="145" y="654"/>
                  </a:cubicBezTo>
                  <a:cubicBezTo>
                    <a:pt x="134" y="662"/>
                    <a:pt x="134" y="662"/>
                    <a:pt x="134" y="662"/>
                  </a:cubicBezTo>
                  <a:cubicBezTo>
                    <a:pt x="134" y="662"/>
                    <a:pt x="140" y="681"/>
                    <a:pt x="149" y="680"/>
                  </a:cubicBezTo>
                  <a:cubicBezTo>
                    <a:pt x="158" y="679"/>
                    <a:pt x="168" y="671"/>
                    <a:pt x="168" y="671"/>
                  </a:cubicBezTo>
                  <a:cubicBezTo>
                    <a:pt x="168" y="671"/>
                    <a:pt x="172" y="686"/>
                    <a:pt x="183" y="681"/>
                  </a:cubicBezTo>
                  <a:cubicBezTo>
                    <a:pt x="195" y="677"/>
                    <a:pt x="206" y="654"/>
                    <a:pt x="206" y="654"/>
                  </a:cubicBezTo>
                  <a:cubicBezTo>
                    <a:pt x="206" y="654"/>
                    <a:pt x="228" y="650"/>
                    <a:pt x="240" y="641"/>
                  </a:cubicBezTo>
                  <a:cubicBezTo>
                    <a:pt x="252" y="631"/>
                    <a:pt x="238" y="602"/>
                    <a:pt x="245" y="596"/>
                  </a:cubicBezTo>
                  <a:cubicBezTo>
                    <a:pt x="253" y="590"/>
                    <a:pt x="268" y="617"/>
                    <a:pt x="268" y="617"/>
                  </a:cubicBezTo>
                  <a:cubicBezTo>
                    <a:pt x="267" y="638"/>
                    <a:pt x="267" y="638"/>
                    <a:pt x="267" y="638"/>
                  </a:cubicBezTo>
                  <a:cubicBezTo>
                    <a:pt x="267" y="638"/>
                    <a:pt x="288" y="639"/>
                    <a:pt x="289" y="656"/>
                  </a:cubicBezTo>
                  <a:cubicBezTo>
                    <a:pt x="289" y="673"/>
                    <a:pt x="296" y="685"/>
                    <a:pt x="298" y="698"/>
                  </a:cubicBezTo>
                  <a:cubicBezTo>
                    <a:pt x="300" y="712"/>
                    <a:pt x="303" y="745"/>
                    <a:pt x="303" y="745"/>
                  </a:cubicBezTo>
                  <a:cubicBezTo>
                    <a:pt x="303" y="745"/>
                    <a:pt x="304" y="757"/>
                    <a:pt x="311" y="766"/>
                  </a:cubicBezTo>
                  <a:cubicBezTo>
                    <a:pt x="319" y="775"/>
                    <a:pt x="322" y="788"/>
                    <a:pt x="322" y="788"/>
                  </a:cubicBezTo>
                  <a:cubicBezTo>
                    <a:pt x="350" y="849"/>
                    <a:pt x="350" y="849"/>
                    <a:pt x="350" y="849"/>
                  </a:cubicBezTo>
                  <a:cubicBezTo>
                    <a:pt x="360" y="879"/>
                    <a:pt x="360" y="879"/>
                    <a:pt x="360" y="879"/>
                  </a:cubicBezTo>
                  <a:cubicBezTo>
                    <a:pt x="360" y="879"/>
                    <a:pt x="346" y="876"/>
                    <a:pt x="345" y="884"/>
                  </a:cubicBezTo>
                  <a:cubicBezTo>
                    <a:pt x="343" y="893"/>
                    <a:pt x="337" y="918"/>
                    <a:pt x="337" y="918"/>
                  </a:cubicBezTo>
                  <a:cubicBezTo>
                    <a:pt x="366" y="908"/>
                    <a:pt x="366" y="908"/>
                    <a:pt x="366" y="908"/>
                  </a:cubicBezTo>
                  <a:cubicBezTo>
                    <a:pt x="358" y="945"/>
                    <a:pt x="358" y="945"/>
                    <a:pt x="358" y="945"/>
                  </a:cubicBezTo>
                  <a:cubicBezTo>
                    <a:pt x="358" y="945"/>
                    <a:pt x="354" y="957"/>
                    <a:pt x="355" y="970"/>
                  </a:cubicBezTo>
                  <a:cubicBezTo>
                    <a:pt x="356" y="982"/>
                    <a:pt x="363" y="1001"/>
                    <a:pt x="363" y="1001"/>
                  </a:cubicBezTo>
                  <a:cubicBezTo>
                    <a:pt x="363" y="1001"/>
                    <a:pt x="372" y="988"/>
                    <a:pt x="373" y="979"/>
                  </a:cubicBezTo>
                  <a:cubicBezTo>
                    <a:pt x="374" y="970"/>
                    <a:pt x="366" y="963"/>
                    <a:pt x="375" y="956"/>
                  </a:cubicBezTo>
                  <a:cubicBezTo>
                    <a:pt x="384" y="949"/>
                    <a:pt x="389" y="942"/>
                    <a:pt x="392" y="932"/>
                  </a:cubicBezTo>
                  <a:cubicBezTo>
                    <a:pt x="395" y="922"/>
                    <a:pt x="402" y="897"/>
                    <a:pt x="398" y="884"/>
                  </a:cubicBezTo>
                  <a:cubicBezTo>
                    <a:pt x="394" y="871"/>
                    <a:pt x="396" y="861"/>
                    <a:pt x="396" y="861"/>
                  </a:cubicBezTo>
                  <a:cubicBezTo>
                    <a:pt x="396" y="861"/>
                    <a:pt x="381" y="849"/>
                    <a:pt x="377" y="843"/>
                  </a:cubicBezTo>
                  <a:cubicBezTo>
                    <a:pt x="373" y="837"/>
                    <a:pt x="378" y="813"/>
                    <a:pt x="374" y="798"/>
                  </a:cubicBezTo>
                  <a:cubicBezTo>
                    <a:pt x="370" y="783"/>
                    <a:pt x="348" y="770"/>
                    <a:pt x="344" y="760"/>
                  </a:cubicBezTo>
                  <a:cubicBezTo>
                    <a:pt x="340" y="750"/>
                    <a:pt x="328" y="736"/>
                    <a:pt x="328" y="736"/>
                  </a:cubicBezTo>
                  <a:cubicBezTo>
                    <a:pt x="328" y="736"/>
                    <a:pt x="320" y="723"/>
                    <a:pt x="330" y="713"/>
                  </a:cubicBezTo>
                  <a:cubicBezTo>
                    <a:pt x="340" y="703"/>
                    <a:pt x="341" y="693"/>
                    <a:pt x="341" y="687"/>
                  </a:cubicBezTo>
                  <a:cubicBezTo>
                    <a:pt x="341" y="681"/>
                    <a:pt x="338" y="670"/>
                    <a:pt x="338" y="670"/>
                  </a:cubicBezTo>
                  <a:cubicBezTo>
                    <a:pt x="338" y="670"/>
                    <a:pt x="350" y="671"/>
                    <a:pt x="350" y="658"/>
                  </a:cubicBezTo>
                  <a:cubicBezTo>
                    <a:pt x="350" y="645"/>
                    <a:pt x="344" y="653"/>
                    <a:pt x="344" y="653"/>
                  </a:cubicBezTo>
                  <a:cubicBezTo>
                    <a:pt x="344" y="653"/>
                    <a:pt x="336" y="652"/>
                    <a:pt x="331" y="640"/>
                  </a:cubicBezTo>
                  <a:cubicBezTo>
                    <a:pt x="326" y="628"/>
                    <a:pt x="340" y="633"/>
                    <a:pt x="332" y="622"/>
                  </a:cubicBezTo>
                  <a:cubicBezTo>
                    <a:pt x="324" y="611"/>
                    <a:pt x="298" y="602"/>
                    <a:pt x="295" y="592"/>
                  </a:cubicBezTo>
                  <a:cubicBezTo>
                    <a:pt x="292" y="582"/>
                    <a:pt x="287" y="579"/>
                    <a:pt x="287" y="579"/>
                  </a:cubicBezTo>
                  <a:cubicBezTo>
                    <a:pt x="291" y="564"/>
                    <a:pt x="291" y="564"/>
                    <a:pt x="291" y="564"/>
                  </a:cubicBezTo>
                  <a:cubicBezTo>
                    <a:pt x="291" y="564"/>
                    <a:pt x="278" y="558"/>
                    <a:pt x="273" y="554"/>
                  </a:cubicBezTo>
                  <a:cubicBezTo>
                    <a:pt x="268" y="550"/>
                    <a:pt x="265" y="545"/>
                    <a:pt x="268" y="542"/>
                  </a:cubicBezTo>
                  <a:cubicBezTo>
                    <a:pt x="271" y="539"/>
                    <a:pt x="282" y="545"/>
                    <a:pt x="282" y="536"/>
                  </a:cubicBezTo>
                  <a:cubicBezTo>
                    <a:pt x="282" y="527"/>
                    <a:pt x="271" y="516"/>
                    <a:pt x="272" y="512"/>
                  </a:cubicBezTo>
                  <a:cubicBezTo>
                    <a:pt x="273" y="508"/>
                    <a:pt x="283" y="507"/>
                    <a:pt x="284" y="498"/>
                  </a:cubicBezTo>
                  <a:cubicBezTo>
                    <a:pt x="285" y="489"/>
                    <a:pt x="277" y="473"/>
                    <a:pt x="288" y="471"/>
                  </a:cubicBezTo>
                  <a:cubicBezTo>
                    <a:pt x="299" y="469"/>
                    <a:pt x="308" y="480"/>
                    <a:pt x="318" y="477"/>
                  </a:cubicBezTo>
                  <a:cubicBezTo>
                    <a:pt x="328" y="474"/>
                    <a:pt x="330" y="456"/>
                    <a:pt x="330" y="456"/>
                  </a:cubicBezTo>
                  <a:cubicBezTo>
                    <a:pt x="347" y="455"/>
                    <a:pt x="347" y="455"/>
                    <a:pt x="347" y="455"/>
                  </a:cubicBezTo>
                  <a:cubicBezTo>
                    <a:pt x="352" y="440"/>
                    <a:pt x="352" y="440"/>
                    <a:pt x="352" y="440"/>
                  </a:cubicBezTo>
                  <a:cubicBezTo>
                    <a:pt x="352" y="440"/>
                    <a:pt x="371" y="434"/>
                    <a:pt x="375" y="435"/>
                  </a:cubicBezTo>
                  <a:cubicBezTo>
                    <a:pt x="375" y="435"/>
                    <a:pt x="373" y="423"/>
                    <a:pt x="382" y="420"/>
                  </a:cubicBezTo>
                  <a:cubicBezTo>
                    <a:pt x="391" y="417"/>
                    <a:pt x="399" y="414"/>
                    <a:pt x="399" y="414"/>
                  </a:cubicBezTo>
                  <a:cubicBezTo>
                    <a:pt x="394" y="407"/>
                    <a:pt x="394" y="407"/>
                    <a:pt x="394" y="407"/>
                  </a:cubicBezTo>
                  <a:cubicBezTo>
                    <a:pt x="399" y="399"/>
                    <a:pt x="399" y="399"/>
                    <a:pt x="399" y="399"/>
                  </a:cubicBezTo>
                  <a:cubicBezTo>
                    <a:pt x="399" y="392"/>
                    <a:pt x="399" y="392"/>
                    <a:pt x="399" y="392"/>
                  </a:cubicBezTo>
                  <a:cubicBezTo>
                    <a:pt x="421" y="382"/>
                    <a:pt x="421" y="382"/>
                    <a:pt x="421" y="382"/>
                  </a:cubicBezTo>
                  <a:cubicBezTo>
                    <a:pt x="421" y="382"/>
                    <a:pt x="426" y="364"/>
                    <a:pt x="416" y="363"/>
                  </a:cubicBezTo>
                  <a:cubicBezTo>
                    <a:pt x="406" y="362"/>
                    <a:pt x="397" y="380"/>
                    <a:pt x="397" y="380"/>
                  </a:cubicBezTo>
                  <a:cubicBezTo>
                    <a:pt x="397" y="380"/>
                    <a:pt x="378" y="381"/>
                    <a:pt x="375" y="381"/>
                  </a:cubicBezTo>
                  <a:cubicBezTo>
                    <a:pt x="372" y="381"/>
                    <a:pt x="372" y="369"/>
                    <a:pt x="372" y="369"/>
                  </a:cubicBezTo>
                  <a:cubicBezTo>
                    <a:pt x="361" y="370"/>
                    <a:pt x="361" y="370"/>
                    <a:pt x="361" y="370"/>
                  </a:cubicBezTo>
                  <a:cubicBezTo>
                    <a:pt x="356" y="350"/>
                    <a:pt x="356" y="350"/>
                    <a:pt x="356" y="350"/>
                  </a:cubicBezTo>
                  <a:cubicBezTo>
                    <a:pt x="317" y="346"/>
                    <a:pt x="317" y="346"/>
                    <a:pt x="317" y="346"/>
                  </a:cubicBezTo>
                  <a:cubicBezTo>
                    <a:pt x="317" y="346"/>
                    <a:pt x="323" y="332"/>
                    <a:pt x="326" y="329"/>
                  </a:cubicBezTo>
                  <a:cubicBezTo>
                    <a:pt x="329" y="326"/>
                    <a:pt x="320" y="314"/>
                    <a:pt x="320" y="314"/>
                  </a:cubicBezTo>
                  <a:cubicBezTo>
                    <a:pt x="320" y="314"/>
                    <a:pt x="343" y="305"/>
                    <a:pt x="336" y="299"/>
                  </a:cubicBezTo>
                  <a:cubicBezTo>
                    <a:pt x="329" y="293"/>
                    <a:pt x="301" y="292"/>
                    <a:pt x="301" y="292"/>
                  </a:cubicBezTo>
                  <a:cubicBezTo>
                    <a:pt x="296" y="265"/>
                    <a:pt x="296" y="265"/>
                    <a:pt x="296" y="265"/>
                  </a:cubicBezTo>
                  <a:cubicBezTo>
                    <a:pt x="280" y="252"/>
                    <a:pt x="280" y="252"/>
                    <a:pt x="280" y="252"/>
                  </a:cubicBezTo>
                  <a:cubicBezTo>
                    <a:pt x="297" y="237"/>
                    <a:pt x="297" y="237"/>
                    <a:pt x="297" y="237"/>
                  </a:cubicBezTo>
                  <a:cubicBezTo>
                    <a:pt x="297" y="237"/>
                    <a:pt x="268" y="237"/>
                    <a:pt x="260" y="238"/>
                  </a:cubicBezTo>
                  <a:cubicBezTo>
                    <a:pt x="252" y="239"/>
                    <a:pt x="236" y="249"/>
                    <a:pt x="236" y="249"/>
                  </a:cubicBezTo>
                  <a:cubicBezTo>
                    <a:pt x="242" y="235"/>
                    <a:pt x="242" y="235"/>
                    <a:pt x="242" y="235"/>
                  </a:cubicBezTo>
                  <a:cubicBezTo>
                    <a:pt x="242" y="235"/>
                    <a:pt x="237" y="225"/>
                    <a:pt x="232" y="220"/>
                  </a:cubicBezTo>
                  <a:cubicBezTo>
                    <a:pt x="227" y="215"/>
                    <a:pt x="226" y="206"/>
                    <a:pt x="226" y="206"/>
                  </a:cubicBezTo>
                  <a:cubicBezTo>
                    <a:pt x="233" y="203"/>
                    <a:pt x="233" y="203"/>
                    <a:pt x="233" y="203"/>
                  </a:cubicBezTo>
                  <a:cubicBezTo>
                    <a:pt x="231" y="183"/>
                    <a:pt x="231" y="183"/>
                    <a:pt x="231" y="183"/>
                  </a:cubicBezTo>
                  <a:cubicBezTo>
                    <a:pt x="231" y="183"/>
                    <a:pt x="242" y="187"/>
                    <a:pt x="243" y="176"/>
                  </a:cubicBezTo>
                  <a:cubicBezTo>
                    <a:pt x="244" y="165"/>
                    <a:pt x="243" y="156"/>
                    <a:pt x="243" y="156"/>
                  </a:cubicBezTo>
                  <a:cubicBezTo>
                    <a:pt x="243" y="156"/>
                    <a:pt x="255" y="164"/>
                    <a:pt x="258" y="157"/>
                  </a:cubicBezTo>
                  <a:cubicBezTo>
                    <a:pt x="261" y="150"/>
                    <a:pt x="262" y="144"/>
                    <a:pt x="262" y="144"/>
                  </a:cubicBezTo>
                  <a:cubicBezTo>
                    <a:pt x="262" y="144"/>
                    <a:pt x="246" y="133"/>
                    <a:pt x="253" y="133"/>
                  </a:cubicBezTo>
                  <a:cubicBezTo>
                    <a:pt x="260" y="133"/>
                    <a:pt x="270" y="127"/>
                    <a:pt x="270" y="127"/>
                  </a:cubicBezTo>
                  <a:cubicBezTo>
                    <a:pt x="263" y="90"/>
                    <a:pt x="263" y="90"/>
                    <a:pt x="263" y="90"/>
                  </a:cubicBezTo>
                  <a:cubicBezTo>
                    <a:pt x="255" y="74"/>
                    <a:pt x="255" y="74"/>
                    <a:pt x="255" y="74"/>
                  </a:cubicBezTo>
                  <a:cubicBezTo>
                    <a:pt x="255" y="74"/>
                    <a:pt x="257" y="52"/>
                    <a:pt x="250" y="50"/>
                  </a:cubicBezTo>
                  <a:cubicBezTo>
                    <a:pt x="243" y="48"/>
                    <a:pt x="228" y="50"/>
                    <a:pt x="228" y="50"/>
                  </a:cubicBezTo>
                  <a:cubicBezTo>
                    <a:pt x="228" y="50"/>
                    <a:pt x="219" y="23"/>
                    <a:pt x="211" y="15"/>
                  </a:cubicBezTo>
                  <a:cubicBezTo>
                    <a:pt x="203" y="7"/>
                    <a:pt x="189" y="0"/>
                    <a:pt x="189" y="0"/>
                  </a:cubicBezTo>
                  <a:cubicBezTo>
                    <a:pt x="185" y="13"/>
                    <a:pt x="185" y="13"/>
                    <a:pt x="185" y="13"/>
                  </a:cubicBezTo>
                  <a:cubicBezTo>
                    <a:pt x="187" y="32"/>
                    <a:pt x="187" y="32"/>
                    <a:pt x="187" y="32"/>
                  </a:cubicBezTo>
                  <a:cubicBezTo>
                    <a:pt x="187" y="32"/>
                    <a:pt x="163" y="41"/>
                    <a:pt x="163" y="50"/>
                  </a:cubicBezTo>
                  <a:cubicBezTo>
                    <a:pt x="163" y="59"/>
                    <a:pt x="186" y="69"/>
                    <a:pt x="184" y="73"/>
                  </a:cubicBezTo>
                  <a:cubicBezTo>
                    <a:pt x="182" y="77"/>
                    <a:pt x="159" y="69"/>
                    <a:pt x="159" y="69"/>
                  </a:cubicBezTo>
                  <a:cubicBezTo>
                    <a:pt x="159" y="69"/>
                    <a:pt x="144" y="70"/>
                    <a:pt x="136" y="72"/>
                  </a:cubicBezTo>
                  <a:cubicBezTo>
                    <a:pt x="128" y="74"/>
                    <a:pt x="133" y="89"/>
                    <a:pt x="121" y="93"/>
                  </a:cubicBezTo>
                  <a:cubicBezTo>
                    <a:pt x="109" y="97"/>
                    <a:pt x="98" y="102"/>
                    <a:pt x="98" y="102"/>
                  </a:cubicBezTo>
                  <a:cubicBezTo>
                    <a:pt x="98" y="102"/>
                    <a:pt x="100" y="116"/>
                    <a:pt x="101" y="121"/>
                  </a:cubicBezTo>
                  <a:cubicBezTo>
                    <a:pt x="102" y="126"/>
                    <a:pt x="108" y="137"/>
                    <a:pt x="108" y="137"/>
                  </a:cubicBezTo>
                  <a:cubicBezTo>
                    <a:pt x="96" y="158"/>
                    <a:pt x="96" y="158"/>
                    <a:pt x="96" y="158"/>
                  </a:cubicBezTo>
                  <a:cubicBezTo>
                    <a:pt x="96" y="158"/>
                    <a:pt x="82" y="162"/>
                    <a:pt x="82" y="172"/>
                  </a:cubicBezTo>
                  <a:cubicBezTo>
                    <a:pt x="82" y="182"/>
                    <a:pt x="92" y="190"/>
                    <a:pt x="92" y="190"/>
                  </a:cubicBezTo>
                  <a:cubicBezTo>
                    <a:pt x="80" y="225"/>
                    <a:pt x="80" y="225"/>
                    <a:pt x="80" y="225"/>
                  </a:cubicBezTo>
                  <a:cubicBezTo>
                    <a:pt x="80" y="249"/>
                    <a:pt x="80" y="249"/>
                    <a:pt x="80" y="249"/>
                  </a:cubicBezTo>
                  <a:cubicBezTo>
                    <a:pt x="80" y="249"/>
                    <a:pt x="55" y="245"/>
                    <a:pt x="51" y="244"/>
                  </a:cubicBezTo>
                  <a:cubicBezTo>
                    <a:pt x="47" y="243"/>
                    <a:pt x="22" y="242"/>
                    <a:pt x="26" y="244"/>
                  </a:cubicBezTo>
                  <a:cubicBezTo>
                    <a:pt x="30" y="246"/>
                    <a:pt x="44" y="257"/>
                    <a:pt x="44" y="257"/>
                  </a:cubicBezTo>
                  <a:cubicBezTo>
                    <a:pt x="46" y="290"/>
                    <a:pt x="46" y="290"/>
                    <a:pt x="46" y="290"/>
                  </a:cubicBezTo>
                  <a:cubicBezTo>
                    <a:pt x="46" y="290"/>
                    <a:pt x="29" y="292"/>
                    <a:pt x="32" y="301"/>
                  </a:cubicBezTo>
                  <a:cubicBezTo>
                    <a:pt x="35" y="310"/>
                    <a:pt x="35" y="324"/>
                    <a:pt x="39" y="328"/>
                  </a:cubicBezTo>
                  <a:cubicBezTo>
                    <a:pt x="43" y="332"/>
                    <a:pt x="53" y="344"/>
                    <a:pt x="44" y="346"/>
                  </a:cubicBezTo>
                  <a:cubicBezTo>
                    <a:pt x="35" y="348"/>
                    <a:pt x="31" y="336"/>
                    <a:pt x="31" y="342"/>
                  </a:cubicBezTo>
                  <a:cubicBezTo>
                    <a:pt x="31" y="348"/>
                    <a:pt x="32" y="356"/>
                    <a:pt x="32" y="356"/>
                  </a:cubicBezTo>
                  <a:cubicBezTo>
                    <a:pt x="18" y="344"/>
                    <a:pt x="18" y="344"/>
                    <a:pt x="18" y="344"/>
                  </a:cubicBezTo>
                  <a:cubicBezTo>
                    <a:pt x="25" y="383"/>
                    <a:pt x="25" y="383"/>
                    <a:pt x="25" y="383"/>
                  </a:cubicBezTo>
                  <a:cubicBezTo>
                    <a:pt x="4" y="380"/>
                    <a:pt x="4" y="380"/>
                    <a:pt x="4" y="380"/>
                  </a:cubicBezTo>
                  <a:cubicBezTo>
                    <a:pt x="4" y="380"/>
                    <a:pt x="2" y="384"/>
                    <a:pt x="0" y="39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23" name="Freeform 39"/>
            <p:cNvSpPr>
              <a:spLocks/>
            </p:cNvSpPr>
            <p:nvPr/>
          </p:nvSpPr>
          <p:spPr bwMode="auto">
            <a:xfrm>
              <a:off x="4748" y="1879"/>
              <a:ext cx="84" cy="106"/>
            </a:xfrm>
            <a:custGeom>
              <a:avLst/>
              <a:gdLst>
                <a:gd name="T0" fmla="*/ 0 w 220"/>
                <a:gd name="T1" fmla="*/ 0 h 280"/>
                <a:gd name="T2" fmla="*/ 0 w 220"/>
                <a:gd name="T3" fmla="*/ 0 h 280"/>
                <a:gd name="T4" fmla="*/ 0 w 220"/>
                <a:gd name="T5" fmla="*/ 0 h 280"/>
                <a:gd name="T6" fmla="*/ 0 w 220"/>
                <a:gd name="T7" fmla="*/ 0 h 280"/>
                <a:gd name="T8" fmla="*/ 0 w 220"/>
                <a:gd name="T9" fmla="*/ 0 h 280"/>
                <a:gd name="T10" fmla="*/ 0 w 220"/>
                <a:gd name="T11" fmla="*/ 0 h 280"/>
                <a:gd name="T12" fmla="*/ 0 w 220"/>
                <a:gd name="T13" fmla="*/ 0 h 280"/>
                <a:gd name="T14" fmla="*/ 0 w 220"/>
                <a:gd name="T15" fmla="*/ 0 h 280"/>
                <a:gd name="T16" fmla="*/ 0 w 220"/>
                <a:gd name="T17" fmla="*/ 0 h 280"/>
                <a:gd name="T18" fmla="*/ 0 w 220"/>
                <a:gd name="T19" fmla="*/ 0 h 280"/>
                <a:gd name="T20" fmla="*/ 0 w 220"/>
                <a:gd name="T21" fmla="*/ 0 h 280"/>
                <a:gd name="T22" fmla="*/ 0 w 220"/>
                <a:gd name="T23" fmla="*/ 0 h 280"/>
                <a:gd name="T24" fmla="*/ 0 w 220"/>
                <a:gd name="T25" fmla="*/ 0 h 280"/>
                <a:gd name="T26" fmla="*/ 0 w 220"/>
                <a:gd name="T27" fmla="*/ 0 h 280"/>
                <a:gd name="T28" fmla="*/ 0 w 220"/>
                <a:gd name="T29" fmla="*/ 0 h 280"/>
                <a:gd name="T30" fmla="*/ 0 w 220"/>
                <a:gd name="T31" fmla="*/ 0 h 280"/>
                <a:gd name="T32" fmla="*/ 0 w 220"/>
                <a:gd name="T33" fmla="*/ 0 h 280"/>
                <a:gd name="T34" fmla="*/ 0 w 220"/>
                <a:gd name="T35" fmla="*/ 0 h 280"/>
                <a:gd name="T36" fmla="*/ 0 w 220"/>
                <a:gd name="T37" fmla="*/ 0 h 280"/>
                <a:gd name="T38" fmla="*/ 0 w 220"/>
                <a:gd name="T39" fmla="*/ 0 h 280"/>
                <a:gd name="T40" fmla="*/ 0 w 220"/>
                <a:gd name="T41" fmla="*/ 0 h 280"/>
                <a:gd name="T42" fmla="*/ 0 w 220"/>
                <a:gd name="T43" fmla="*/ 0 h 280"/>
                <a:gd name="T44" fmla="*/ 0 w 220"/>
                <a:gd name="T45" fmla="*/ 0 h 280"/>
                <a:gd name="T46" fmla="*/ 0 w 220"/>
                <a:gd name="T47" fmla="*/ 0 h 280"/>
                <a:gd name="T48" fmla="*/ 0 w 220"/>
                <a:gd name="T49" fmla="*/ 0 h 280"/>
                <a:gd name="T50" fmla="*/ 0 w 220"/>
                <a:gd name="T51" fmla="*/ 0 h 280"/>
                <a:gd name="T52" fmla="*/ 0 w 220"/>
                <a:gd name="T53" fmla="*/ 0 h 280"/>
                <a:gd name="T54" fmla="*/ 0 w 220"/>
                <a:gd name="T55" fmla="*/ 0 h 280"/>
                <a:gd name="T56" fmla="*/ 0 w 220"/>
                <a:gd name="T57" fmla="*/ 0 h 280"/>
                <a:gd name="T58" fmla="*/ 0 w 220"/>
                <a:gd name="T59" fmla="*/ 0 h 280"/>
                <a:gd name="T60" fmla="*/ 0 w 220"/>
                <a:gd name="T61" fmla="*/ 0 h 280"/>
                <a:gd name="T62" fmla="*/ 0 w 220"/>
                <a:gd name="T63" fmla="*/ 0 h 280"/>
                <a:gd name="T64" fmla="*/ 0 w 220"/>
                <a:gd name="T65" fmla="*/ 0 h 280"/>
                <a:gd name="T66" fmla="*/ 0 w 220"/>
                <a:gd name="T67" fmla="*/ 0 h 280"/>
                <a:gd name="T68" fmla="*/ 0 w 220"/>
                <a:gd name="T69" fmla="*/ 0 h 280"/>
                <a:gd name="T70" fmla="*/ 0 w 220"/>
                <a:gd name="T71" fmla="*/ 0 h 280"/>
                <a:gd name="T72" fmla="*/ 0 w 220"/>
                <a:gd name="T73" fmla="*/ 0 h 280"/>
                <a:gd name="T74" fmla="*/ 0 w 220"/>
                <a:gd name="T75" fmla="*/ 0 h 280"/>
                <a:gd name="T76" fmla="*/ 0 w 220"/>
                <a:gd name="T77" fmla="*/ 0 h 280"/>
                <a:gd name="T78" fmla="*/ 0 w 220"/>
                <a:gd name="T79" fmla="*/ 0 h 280"/>
                <a:gd name="T80" fmla="*/ 0 w 220"/>
                <a:gd name="T81" fmla="*/ 0 h 280"/>
                <a:gd name="T82" fmla="*/ 0 w 220"/>
                <a:gd name="T83" fmla="*/ 0 h 280"/>
                <a:gd name="T84" fmla="*/ 0 w 220"/>
                <a:gd name="T85" fmla="*/ 0 h 280"/>
                <a:gd name="T86" fmla="*/ 0 w 220"/>
                <a:gd name="T87" fmla="*/ 0 h 280"/>
                <a:gd name="T88" fmla="*/ 0 w 220"/>
                <a:gd name="T89" fmla="*/ 0 h 280"/>
                <a:gd name="T90" fmla="*/ 0 w 220"/>
                <a:gd name="T91" fmla="*/ 0 h 280"/>
                <a:gd name="T92" fmla="*/ 0 w 220"/>
                <a:gd name="T93" fmla="*/ 0 h 28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0"/>
                <a:gd name="T142" fmla="*/ 0 h 280"/>
                <a:gd name="T143" fmla="*/ 220 w 220"/>
                <a:gd name="T144" fmla="*/ 280 h 28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0" h="280">
                  <a:moveTo>
                    <a:pt x="182" y="0"/>
                  </a:moveTo>
                  <a:cubicBezTo>
                    <a:pt x="160" y="0"/>
                    <a:pt x="160" y="0"/>
                    <a:pt x="160" y="0"/>
                  </a:cubicBezTo>
                  <a:cubicBezTo>
                    <a:pt x="160" y="0"/>
                    <a:pt x="173" y="22"/>
                    <a:pt x="171" y="27"/>
                  </a:cubicBezTo>
                  <a:cubicBezTo>
                    <a:pt x="169" y="32"/>
                    <a:pt x="153" y="28"/>
                    <a:pt x="153" y="28"/>
                  </a:cubicBezTo>
                  <a:cubicBezTo>
                    <a:pt x="153" y="28"/>
                    <a:pt x="163" y="40"/>
                    <a:pt x="153" y="49"/>
                  </a:cubicBezTo>
                  <a:cubicBezTo>
                    <a:pt x="143" y="58"/>
                    <a:pt x="119" y="42"/>
                    <a:pt x="113" y="50"/>
                  </a:cubicBezTo>
                  <a:cubicBezTo>
                    <a:pt x="107" y="58"/>
                    <a:pt x="135" y="71"/>
                    <a:pt x="135" y="71"/>
                  </a:cubicBezTo>
                  <a:cubicBezTo>
                    <a:pt x="134" y="81"/>
                    <a:pt x="134" y="81"/>
                    <a:pt x="134" y="81"/>
                  </a:cubicBezTo>
                  <a:cubicBezTo>
                    <a:pt x="134" y="81"/>
                    <a:pt x="94" y="82"/>
                    <a:pt x="87" y="77"/>
                  </a:cubicBezTo>
                  <a:cubicBezTo>
                    <a:pt x="80" y="72"/>
                    <a:pt x="65" y="61"/>
                    <a:pt x="61" y="63"/>
                  </a:cubicBezTo>
                  <a:cubicBezTo>
                    <a:pt x="57" y="65"/>
                    <a:pt x="62" y="103"/>
                    <a:pt x="47" y="115"/>
                  </a:cubicBezTo>
                  <a:cubicBezTo>
                    <a:pt x="32" y="127"/>
                    <a:pt x="25" y="128"/>
                    <a:pt x="13" y="138"/>
                  </a:cubicBezTo>
                  <a:cubicBezTo>
                    <a:pt x="3" y="146"/>
                    <a:pt x="5" y="152"/>
                    <a:pt x="7" y="154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14" y="166"/>
                    <a:pt x="14" y="166"/>
                    <a:pt x="14" y="166"/>
                  </a:cubicBezTo>
                  <a:cubicBezTo>
                    <a:pt x="26" y="180"/>
                    <a:pt x="26" y="180"/>
                    <a:pt x="26" y="180"/>
                  </a:cubicBezTo>
                  <a:cubicBezTo>
                    <a:pt x="33" y="168"/>
                    <a:pt x="33" y="168"/>
                    <a:pt x="33" y="168"/>
                  </a:cubicBezTo>
                  <a:cubicBezTo>
                    <a:pt x="33" y="168"/>
                    <a:pt x="42" y="181"/>
                    <a:pt x="47" y="181"/>
                  </a:cubicBezTo>
                  <a:cubicBezTo>
                    <a:pt x="52" y="181"/>
                    <a:pt x="60" y="175"/>
                    <a:pt x="64" y="182"/>
                  </a:cubicBezTo>
                  <a:cubicBezTo>
                    <a:pt x="68" y="189"/>
                    <a:pt x="68" y="223"/>
                    <a:pt x="68" y="223"/>
                  </a:cubicBezTo>
                  <a:cubicBezTo>
                    <a:pt x="93" y="223"/>
                    <a:pt x="93" y="223"/>
                    <a:pt x="93" y="223"/>
                  </a:cubicBezTo>
                  <a:cubicBezTo>
                    <a:pt x="96" y="233"/>
                    <a:pt x="96" y="233"/>
                    <a:pt x="96" y="233"/>
                  </a:cubicBezTo>
                  <a:cubicBezTo>
                    <a:pt x="96" y="233"/>
                    <a:pt x="73" y="221"/>
                    <a:pt x="69" y="234"/>
                  </a:cubicBezTo>
                  <a:cubicBezTo>
                    <a:pt x="65" y="247"/>
                    <a:pt x="80" y="263"/>
                    <a:pt x="80" y="263"/>
                  </a:cubicBezTo>
                  <a:cubicBezTo>
                    <a:pt x="87" y="274"/>
                    <a:pt x="87" y="274"/>
                    <a:pt x="87" y="274"/>
                  </a:cubicBezTo>
                  <a:cubicBezTo>
                    <a:pt x="106" y="266"/>
                    <a:pt x="106" y="266"/>
                    <a:pt x="106" y="266"/>
                  </a:cubicBezTo>
                  <a:cubicBezTo>
                    <a:pt x="106" y="266"/>
                    <a:pt x="126" y="280"/>
                    <a:pt x="135" y="279"/>
                  </a:cubicBezTo>
                  <a:cubicBezTo>
                    <a:pt x="144" y="278"/>
                    <a:pt x="153" y="275"/>
                    <a:pt x="153" y="275"/>
                  </a:cubicBezTo>
                  <a:cubicBezTo>
                    <a:pt x="153" y="275"/>
                    <a:pt x="165" y="268"/>
                    <a:pt x="166" y="265"/>
                  </a:cubicBezTo>
                  <a:cubicBezTo>
                    <a:pt x="167" y="262"/>
                    <a:pt x="155" y="260"/>
                    <a:pt x="169" y="252"/>
                  </a:cubicBezTo>
                  <a:cubicBezTo>
                    <a:pt x="183" y="245"/>
                    <a:pt x="207" y="246"/>
                    <a:pt x="207" y="246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2" y="229"/>
                    <a:pt x="208" y="224"/>
                    <a:pt x="208" y="224"/>
                  </a:cubicBezTo>
                  <a:cubicBezTo>
                    <a:pt x="177" y="207"/>
                    <a:pt x="177" y="207"/>
                    <a:pt x="177" y="207"/>
                  </a:cubicBezTo>
                  <a:cubicBezTo>
                    <a:pt x="177" y="207"/>
                    <a:pt x="155" y="215"/>
                    <a:pt x="162" y="202"/>
                  </a:cubicBezTo>
                  <a:cubicBezTo>
                    <a:pt x="169" y="189"/>
                    <a:pt x="169" y="189"/>
                    <a:pt x="169" y="189"/>
                  </a:cubicBezTo>
                  <a:cubicBezTo>
                    <a:pt x="169" y="189"/>
                    <a:pt x="144" y="178"/>
                    <a:pt x="154" y="167"/>
                  </a:cubicBezTo>
                  <a:cubicBezTo>
                    <a:pt x="164" y="156"/>
                    <a:pt x="185" y="160"/>
                    <a:pt x="190" y="146"/>
                  </a:cubicBezTo>
                  <a:cubicBezTo>
                    <a:pt x="195" y="132"/>
                    <a:pt x="200" y="117"/>
                    <a:pt x="200" y="117"/>
                  </a:cubicBezTo>
                  <a:cubicBezTo>
                    <a:pt x="216" y="109"/>
                    <a:pt x="216" y="109"/>
                    <a:pt x="216" y="109"/>
                  </a:cubicBezTo>
                  <a:cubicBezTo>
                    <a:pt x="211" y="88"/>
                    <a:pt x="211" y="88"/>
                    <a:pt x="211" y="88"/>
                  </a:cubicBezTo>
                  <a:cubicBezTo>
                    <a:pt x="211" y="88"/>
                    <a:pt x="195" y="77"/>
                    <a:pt x="196" y="60"/>
                  </a:cubicBezTo>
                  <a:cubicBezTo>
                    <a:pt x="197" y="43"/>
                    <a:pt x="220" y="38"/>
                    <a:pt x="220" y="38"/>
                  </a:cubicBezTo>
                  <a:cubicBezTo>
                    <a:pt x="211" y="23"/>
                    <a:pt x="211" y="23"/>
                    <a:pt x="211" y="23"/>
                  </a:cubicBezTo>
                  <a:cubicBezTo>
                    <a:pt x="192" y="17"/>
                    <a:pt x="192" y="17"/>
                    <a:pt x="192" y="17"/>
                  </a:cubicBezTo>
                  <a:lnTo>
                    <a:pt x="182" y="0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24" name="Freeform 40"/>
            <p:cNvSpPr>
              <a:spLocks noEditPoints="1"/>
            </p:cNvSpPr>
            <p:nvPr/>
          </p:nvSpPr>
          <p:spPr bwMode="auto">
            <a:xfrm>
              <a:off x="3912" y="1666"/>
              <a:ext cx="926" cy="714"/>
            </a:xfrm>
            <a:custGeom>
              <a:avLst/>
              <a:gdLst>
                <a:gd name="T0" fmla="*/ 0 w 2441"/>
                <a:gd name="T1" fmla="*/ 0 h 1882"/>
                <a:gd name="T2" fmla="*/ 0 w 2441"/>
                <a:gd name="T3" fmla="*/ 0 h 1882"/>
                <a:gd name="T4" fmla="*/ 0 w 2441"/>
                <a:gd name="T5" fmla="*/ 0 h 1882"/>
                <a:gd name="T6" fmla="*/ 0 w 2441"/>
                <a:gd name="T7" fmla="*/ 0 h 1882"/>
                <a:gd name="T8" fmla="*/ 0 w 2441"/>
                <a:gd name="T9" fmla="*/ 0 h 1882"/>
                <a:gd name="T10" fmla="*/ 0 w 2441"/>
                <a:gd name="T11" fmla="*/ 0 h 1882"/>
                <a:gd name="T12" fmla="*/ 0 w 2441"/>
                <a:gd name="T13" fmla="*/ 0 h 1882"/>
                <a:gd name="T14" fmla="*/ 0 w 2441"/>
                <a:gd name="T15" fmla="*/ 0 h 1882"/>
                <a:gd name="T16" fmla="*/ 0 w 2441"/>
                <a:gd name="T17" fmla="*/ 0 h 1882"/>
                <a:gd name="T18" fmla="*/ 0 w 2441"/>
                <a:gd name="T19" fmla="*/ 0 h 1882"/>
                <a:gd name="T20" fmla="*/ 0 w 2441"/>
                <a:gd name="T21" fmla="*/ 0 h 1882"/>
                <a:gd name="T22" fmla="*/ 0 w 2441"/>
                <a:gd name="T23" fmla="*/ 0 h 1882"/>
                <a:gd name="T24" fmla="*/ 0 w 2441"/>
                <a:gd name="T25" fmla="*/ 0 h 1882"/>
                <a:gd name="T26" fmla="*/ 0 w 2441"/>
                <a:gd name="T27" fmla="*/ 0 h 1882"/>
                <a:gd name="T28" fmla="*/ 0 w 2441"/>
                <a:gd name="T29" fmla="*/ 0 h 1882"/>
                <a:gd name="T30" fmla="*/ 0 w 2441"/>
                <a:gd name="T31" fmla="*/ 0 h 1882"/>
                <a:gd name="T32" fmla="*/ 0 w 2441"/>
                <a:gd name="T33" fmla="*/ 0 h 1882"/>
                <a:gd name="T34" fmla="*/ 0 w 2441"/>
                <a:gd name="T35" fmla="*/ 0 h 1882"/>
                <a:gd name="T36" fmla="*/ 0 w 2441"/>
                <a:gd name="T37" fmla="*/ 0 h 1882"/>
                <a:gd name="T38" fmla="*/ 0 w 2441"/>
                <a:gd name="T39" fmla="*/ 0 h 1882"/>
                <a:gd name="T40" fmla="*/ 0 w 2441"/>
                <a:gd name="T41" fmla="*/ 0 h 1882"/>
                <a:gd name="T42" fmla="*/ 0 w 2441"/>
                <a:gd name="T43" fmla="*/ 0 h 1882"/>
                <a:gd name="T44" fmla="*/ 0 w 2441"/>
                <a:gd name="T45" fmla="*/ 0 h 1882"/>
                <a:gd name="T46" fmla="*/ 0 w 2441"/>
                <a:gd name="T47" fmla="*/ 0 h 1882"/>
                <a:gd name="T48" fmla="*/ 0 w 2441"/>
                <a:gd name="T49" fmla="*/ 0 h 1882"/>
                <a:gd name="T50" fmla="*/ 0 w 2441"/>
                <a:gd name="T51" fmla="*/ 0 h 1882"/>
                <a:gd name="T52" fmla="*/ 0 w 2441"/>
                <a:gd name="T53" fmla="*/ 0 h 1882"/>
                <a:gd name="T54" fmla="*/ 0 w 2441"/>
                <a:gd name="T55" fmla="*/ 0 h 1882"/>
                <a:gd name="T56" fmla="*/ 0 w 2441"/>
                <a:gd name="T57" fmla="*/ 0 h 1882"/>
                <a:gd name="T58" fmla="*/ 0 w 2441"/>
                <a:gd name="T59" fmla="*/ 0 h 1882"/>
                <a:gd name="T60" fmla="*/ 0 w 2441"/>
                <a:gd name="T61" fmla="*/ 0 h 1882"/>
                <a:gd name="T62" fmla="*/ 0 w 2441"/>
                <a:gd name="T63" fmla="*/ 0 h 1882"/>
                <a:gd name="T64" fmla="*/ 0 w 2441"/>
                <a:gd name="T65" fmla="*/ 0 h 1882"/>
                <a:gd name="T66" fmla="*/ 0 w 2441"/>
                <a:gd name="T67" fmla="*/ 0 h 1882"/>
                <a:gd name="T68" fmla="*/ 0 w 2441"/>
                <a:gd name="T69" fmla="*/ 0 h 1882"/>
                <a:gd name="T70" fmla="*/ 0 w 2441"/>
                <a:gd name="T71" fmla="*/ 0 h 1882"/>
                <a:gd name="T72" fmla="*/ 0 w 2441"/>
                <a:gd name="T73" fmla="*/ 0 h 1882"/>
                <a:gd name="T74" fmla="*/ 0 w 2441"/>
                <a:gd name="T75" fmla="*/ 0 h 1882"/>
                <a:gd name="T76" fmla="*/ 0 w 2441"/>
                <a:gd name="T77" fmla="*/ 0 h 1882"/>
                <a:gd name="T78" fmla="*/ 0 w 2441"/>
                <a:gd name="T79" fmla="*/ 0 h 1882"/>
                <a:gd name="T80" fmla="*/ 0 w 2441"/>
                <a:gd name="T81" fmla="*/ 0 h 1882"/>
                <a:gd name="T82" fmla="*/ 0 w 2441"/>
                <a:gd name="T83" fmla="*/ 0 h 1882"/>
                <a:gd name="T84" fmla="*/ 0 w 2441"/>
                <a:gd name="T85" fmla="*/ 0 h 1882"/>
                <a:gd name="T86" fmla="*/ 0 w 2441"/>
                <a:gd name="T87" fmla="*/ 0 h 1882"/>
                <a:gd name="T88" fmla="*/ 0 w 2441"/>
                <a:gd name="T89" fmla="*/ 0 h 1882"/>
                <a:gd name="T90" fmla="*/ 0 w 2441"/>
                <a:gd name="T91" fmla="*/ 0 h 1882"/>
                <a:gd name="T92" fmla="*/ 0 w 2441"/>
                <a:gd name="T93" fmla="*/ 0 h 1882"/>
                <a:gd name="T94" fmla="*/ 0 w 2441"/>
                <a:gd name="T95" fmla="*/ 0 h 1882"/>
                <a:gd name="T96" fmla="*/ 0 w 2441"/>
                <a:gd name="T97" fmla="*/ 0 h 1882"/>
                <a:gd name="T98" fmla="*/ 0 w 2441"/>
                <a:gd name="T99" fmla="*/ 0 h 1882"/>
                <a:gd name="T100" fmla="*/ 0 w 2441"/>
                <a:gd name="T101" fmla="*/ 0 h 1882"/>
                <a:gd name="T102" fmla="*/ 0 w 2441"/>
                <a:gd name="T103" fmla="*/ 0 h 1882"/>
                <a:gd name="T104" fmla="*/ 0 w 2441"/>
                <a:gd name="T105" fmla="*/ 0 h 1882"/>
                <a:gd name="T106" fmla="*/ 0 w 2441"/>
                <a:gd name="T107" fmla="*/ 0 h 1882"/>
                <a:gd name="T108" fmla="*/ 0 w 2441"/>
                <a:gd name="T109" fmla="*/ 0 h 1882"/>
                <a:gd name="T110" fmla="*/ 0 w 2441"/>
                <a:gd name="T111" fmla="*/ 0 h 1882"/>
                <a:gd name="T112" fmla="*/ 0 w 2441"/>
                <a:gd name="T113" fmla="*/ 0 h 1882"/>
                <a:gd name="T114" fmla="*/ 0 w 2441"/>
                <a:gd name="T115" fmla="*/ 0 h 1882"/>
                <a:gd name="T116" fmla="*/ 0 w 2441"/>
                <a:gd name="T117" fmla="*/ 0 h 1882"/>
                <a:gd name="T118" fmla="*/ 0 w 2441"/>
                <a:gd name="T119" fmla="*/ 0 h 188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441"/>
                <a:gd name="T181" fmla="*/ 0 h 1882"/>
                <a:gd name="T182" fmla="*/ 2441 w 2441"/>
                <a:gd name="T183" fmla="*/ 1882 h 188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441" h="1882">
                  <a:moveTo>
                    <a:pt x="1912" y="1793"/>
                  </a:moveTo>
                  <a:cubicBezTo>
                    <a:pt x="1898" y="1783"/>
                    <a:pt x="1850" y="1789"/>
                    <a:pt x="1850" y="1789"/>
                  </a:cubicBezTo>
                  <a:cubicBezTo>
                    <a:pt x="1846" y="1801"/>
                    <a:pt x="1846" y="1801"/>
                    <a:pt x="1846" y="1801"/>
                  </a:cubicBezTo>
                  <a:cubicBezTo>
                    <a:pt x="1835" y="1795"/>
                    <a:pt x="1835" y="1795"/>
                    <a:pt x="1835" y="1795"/>
                  </a:cubicBezTo>
                  <a:cubicBezTo>
                    <a:pt x="1829" y="1812"/>
                    <a:pt x="1829" y="1812"/>
                    <a:pt x="1829" y="1812"/>
                  </a:cubicBezTo>
                  <a:cubicBezTo>
                    <a:pt x="1829" y="1812"/>
                    <a:pt x="1799" y="1835"/>
                    <a:pt x="1818" y="1859"/>
                  </a:cubicBezTo>
                  <a:cubicBezTo>
                    <a:pt x="1838" y="1882"/>
                    <a:pt x="1851" y="1882"/>
                    <a:pt x="1851" y="1882"/>
                  </a:cubicBezTo>
                  <a:cubicBezTo>
                    <a:pt x="1907" y="1881"/>
                    <a:pt x="1903" y="1864"/>
                    <a:pt x="1905" y="1857"/>
                  </a:cubicBezTo>
                  <a:cubicBezTo>
                    <a:pt x="1906" y="1851"/>
                    <a:pt x="1902" y="1836"/>
                    <a:pt x="1902" y="1836"/>
                  </a:cubicBezTo>
                  <a:cubicBezTo>
                    <a:pt x="1902" y="1836"/>
                    <a:pt x="1927" y="1804"/>
                    <a:pt x="1912" y="1793"/>
                  </a:cubicBezTo>
                  <a:close/>
                  <a:moveTo>
                    <a:pt x="2441" y="416"/>
                  </a:moveTo>
                  <a:cubicBezTo>
                    <a:pt x="2438" y="399"/>
                    <a:pt x="2438" y="399"/>
                    <a:pt x="2438" y="399"/>
                  </a:cubicBezTo>
                  <a:cubicBezTo>
                    <a:pt x="2441" y="382"/>
                    <a:pt x="2441" y="382"/>
                    <a:pt x="2441" y="382"/>
                  </a:cubicBezTo>
                  <a:cubicBezTo>
                    <a:pt x="2430" y="375"/>
                    <a:pt x="2430" y="375"/>
                    <a:pt x="2430" y="375"/>
                  </a:cubicBezTo>
                  <a:cubicBezTo>
                    <a:pt x="2430" y="362"/>
                    <a:pt x="2430" y="362"/>
                    <a:pt x="2430" y="362"/>
                  </a:cubicBezTo>
                  <a:cubicBezTo>
                    <a:pt x="2423" y="352"/>
                    <a:pt x="2423" y="352"/>
                    <a:pt x="2423" y="352"/>
                  </a:cubicBezTo>
                  <a:cubicBezTo>
                    <a:pt x="2423" y="340"/>
                    <a:pt x="2423" y="340"/>
                    <a:pt x="2423" y="340"/>
                  </a:cubicBezTo>
                  <a:cubicBezTo>
                    <a:pt x="2415" y="330"/>
                    <a:pt x="2415" y="330"/>
                    <a:pt x="2415" y="330"/>
                  </a:cubicBezTo>
                  <a:cubicBezTo>
                    <a:pt x="2427" y="325"/>
                    <a:pt x="2427" y="325"/>
                    <a:pt x="2427" y="325"/>
                  </a:cubicBezTo>
                  <a:cubicBezTo>
                    <a:pt x="2427" y="305"/>
                    <a:pt x="2427" y="305"/>
                    <a:pt x="2427" y="305"/>
                  </a:cubicBezTo>
                  <a:cubicBezTo>
                    <a:pt x="2409" y="297"/>
                    <a:pt x="2409" y="297"/>
                    <a:pt x="2409" y="297"/>
                  </a:cubicBezTo>
                  <a:cubicBezTo>
                    <a:pt x="2409" y="297"/>
                    <a:pt x="2415" y="284"/>
                    <a:pt x="2405" y="276"/>
                  </a:cubicBezTo>
                  <a:cubicBezTo>
                    <a:pt x="2395" y="268"/>
                    <a:pt x="2370" y="274"/>
                    <a:pt x="2370" y="274"/>
                  </a:cubicBezTo>
                  <a:cubicBezTo>
                    <a:pt x="2365" y="288"/>
                    <a:pt x="2365" y="288"/>
                    <a:pt x="2365" y="288"/>
                  </a:cubicBezTo>
                  <a:cubicBezTo>
                    <a:pt x="2365" y="288"/>
                    <a:pt x="2337" y="287"/>
                    <a:pt x="2334" y="292"/>
                  </a:cubicBezTo>
                  <a:cubicBezTo>
                    <a:pt x="2331" y="297"/>
                    <a:pt x="2330" y="308"/>
                    <a:pt x="2330" y="308"/>
                  </a:cubicBezTo>
                  <a:cubicBezTo>
                    <a:pt x="2311" y="306"/>
                    <a:pt x="2311" y="306"/>
                    <a:pt x="2311" y="306"/>
                  </a:cubicBezTo>
                  <a:cubicBezTo>
                    <a:pt x="2311" y="313"/>
                    <a:pt x="2311" y="313"/>
                    <a:pt x="2311" y="313"/>
                  </a:cubicBezTo>
                  <a:cubicBezTo>
                    <a:pt x="2298" y="314"/>
                    <a:pt x="2298" y="314"/>
                    <a:pt x="2298" y="314"/>
                  </a:cubicBezTo>
                  <a:cubicBezTo>
                    <a:pt x="2290" y="304"/>
                    <a:pt x="2290" y="304"/>
                    <a:pt x="2290" y="304"/>
                  </a:cubicBezTo>
                  <a:cubicBezTo>
                    <a:pt x="2273" y="308"/>
                    <a:pt x="2273" y="308"/>
                    <a:pt x="2273" y="308"/>
                  </a:cubicBezTo>
                  <a:cubicBezTo>
                    <a:pt x="2248" y="288"/>
                    <a:pt x="2248" y="288"/>
                    <a:pt x="2248" y="288"/>
                  </a:cubicBezTo>
                  <a:cubicBezTo>
                    <a:pt x="2248" y="288"/>
                    <a:pt x="2247" y="280"/>
                    <a:pt x="2244" y="273"/>
                  </a:cubicBezTo>
                  <a:cubicBezTo>
                    <a:pt x="2241" y="266"/>
                    <a:pt x="2225" y="265"/>
                    <a:pt x="2225" y="265"/>
                  </a:cubicBezTo>
                  <a:cubicBezTo>
                    <a:pt x="2216" y="246"/>
                    <a:pt x="2216" y="246"/>
                    <a:pt x="2216" y="246"/>
                  </a:cubicBezTo>
                  <a:cubicBezTo>
                    <a:pt x="2192" y="246"/>
                    <a:pt x="2192" y="246"/>
                    <a:pt x="2192" y="246"/>
                  </a:cubicBezTo>
                  <a:cubicBezTo>
                    <a:pt x="2192" y="246"/>
                    <a:pt x="2154" y="218"/>
                    <a:pt x="2150" y="218"/>
                  </a:cubicBezTo>
                  <a:cubicBezTo>
                    <a:pt x="2146" y="218"/>
                    <a:pt x="2138" y="225"/>
                    <a:pt x="2138" y="225"/>
                  </a:cubicBezTo>
                  <a:cubicBezTo>
                    <a:pt x="2138" y="225"/>
                    <a:pt x="2122" y="209"/>
                    <a:pt x="2112" y="211"/>
                  </a:cubicBezTo>
                  <a:cubicBezTo>
                    <a:pt x="2102" y="213"/>
                    <a:pt x="2085" y="214"/>
                    <a:pt x="2077" y="209"/>
                  </a:cubicBezTo>
                  <a:cubicBezTo>
                    <a:pt x="2069" y="204"/>
                    <a:pt x="2050" y="194"/>
                    <a:pt x="2050" y="194"/>
                  </a:cubicBezTo>
                  <a:cubicBezTo>
                    <a:pt x="2046" y="178"/>
                    <a:pt x="2046" y="178"/>
                    <a:pt x="2046" y="178"/>
                  </a:cubicBezTo>
                  <a:cubicBezTo>
                    <a:pt x="2039" y="178"/>
                    <a:pt x="2039" y="178"/>
                    <a:pt x="2039" y="178"/>
                  </a:cubicBezTo>
                  <a:cubicBezTo>
                    <a:pt x="2039" y="178"/>
                    <a:pt x="2021" y="154"/>
                    <a:pt x="2011" y="145"/>
                  </a:cubicBezTo>
                  <a:cubicBezTo>
                    <a:pt x="2001" y="136"/>
                    <a:pt x="1980" y="134"/>
                    <a:pt x="1980" y="134"/>
                  </a:cubicBezTo>
                  <a:cubicBezTo>
                    <a:pt x="1969" y="112"/>
                    <a:pt x="1969" y="112"/>
                    <a:pt x="1969" y="112"/>
                  </a:cubicBezTo>
                  <a:cubicBezTo>
                    <a:pt x="1937" y="95"/>
                    <a:pt x="1937" y="95"/>
                    <a:pt x="1937" y="95"/>
                  </a:cubicBezTo>
                  <a:cubicBezTo>
                    <a:pt x="1934" y="76"/>
                    <a:pt x="1934" y="76"/>
                    <a:pt x="1934" y="76"/>
                  </a:cubicBezTo>
                  <a:cubicBezTo>
                    <a:pt x="1934" y="76"/>
                    <a:pt x="1919" y="71"/>
                    <a:pt x="1914" y="67"/>
                  </a:cubicBezTo>
                  <a:cubicBezTo>
                    <a:pt x="1909" y="63"/>
                    <a:pt x="1891" y="53"/>
                    <a:pt x="1891" y="53"/>
                  </a:cubicBezTo>
                  <a:cubicBezTo>
                    <a:pt x="1889" y="44"/>
                    <a:pt x="1889" y="44"/>
                    <a:pt x="1889" y="44"/>
                  </a:cubicBezTo>
                  <a:cubicBezTo>
                    <a:pt x="1889" y="44"/>
                    <a:pt x="1868" y="30"/>
                    <a:pt x="1861" y="29"/>
                  </a:cubicBezTo>
                  <a:cubicBezTo>
                    <a:pt x="1854" y="28"/>
                    <a:pt x="1835" y="27"/>
                    <a:pt x="1835" y="27"/>
                  </a:cubicBezTo>
                  <a:cubicBezTo>
                    <a:pt x="1820" y="30"/>
                    <a:pt x="1820" y="30"/>
                    <a:pt x="1820" y="30"/>
                  </a:cubicBezTo>
                  <a:cubicBezTo>
                    <a:pt x="1794" y="13"/>
                    <a:pt x="1794" y="13"/>
                    <a:pt x="1794" y="13"/>
                  </a:cubicBezTo>
                  <a:cubicBezTo>
                    <a:pt x="1769" y="0"/>
                    <a:pt x="1769" y="0"/>
                    <a:pt x="1769" y="0"/>
                  </a:cubicBezTo>
                  <a:cubicBezTo>
                    <a:pt x="1734" y="7"/>
                    <a:pt x="1734" y="7"/>
                    <a:pt x="1734" y="7"/>
                  </a:cubicBezTo>
                  <a:cubicBezTo>
                    <a:pt x="1706" y="5"/>
                    <a:pt x="1706" y="5"/>
                    <a:pt x="1706" y="5"/>
                  </a:cubicBezTo>
                  <a:cubicBezTo>
                    <a:pt x="1702" y="13"/>
                    <a:pt x="1702" y="13"/>
                    <a:pt x="1702" y="13"/>
                  </a:cubicBezTo>
                  <a:cubicBezTo>
                    <a:pt x="1678" y="16"/>
                    <a:pt x="1678" y="16"/>
                    <a:pt x="1678" y="16"/>
                  </a:cubicBezTo>
                  <a:cubicBezTo>
                    <a:pt x="1658" y="36"/>
                    <a:pt x="1658" y="36"/>
                    <a:pt x="1658" y="36"/>
                  </a:cubicBezTo>
                  <a:cubicBezTo>
                    <a:pt x="1658" y="36"/>
                    <a:pt x="1636" y="51"/>
                    <a:pt x="1651" y="54"/>
                  </a:cubicBezTo>
                  <a:cubicBezTo>
                    <a:pt x="1666" y="57"/>
                    <a:pt x="1678" y="59"/>
                    <a:pt x="1678" y="59"/>
                  </a:cubicBezTo>
                  <a:cubicBezTo>
                    <a:pt x="1678" y="59"/>
                    <a:pt x="1705" y="74"/>
                    <a:pt x="1704" y="80"/>
                  </a:cubicBezTo>
                  <a:cubicBezTo>
                    <a:pt x="1703" y="86"/>
                    <a:pt x="1691" y="91"/>
                    <a:pt x="1689" y="100"/>
                  </a:cubicBezTo>
                  <a:cubicBezTo>
                    <a:pt x="1687" y="109"/>
                    <a:pt x="1692" y="127"/>
                    <a:pt x="1692" y="127"/>
                  </a:cubicBezTo>
                  <a:cubicBezTo>
                    <a:pt x="1692" y="146"/>
                    <a:pt x="1692" y="146"/>
                    <a:pt x="1692" y="146"/>
                  </a:cubicBezTo>
                  <a:cubicBezTo>
                    <a:pt x="1693" y="171"/>
                    <a:pt x="1693" y="171"/>
                    <a:pt x="1693" y="171"/>
                  </a:cubicBezTo>
                  <a:cubicBezTo>
                    <a:pt x="1693" y="171"/>
                    <a:pt x="1717" y="181"/>
                    <a:pt x="1704" y="189"/>
                  </a:cubicBezTo>
                  <a:cubicBezTo>
                    <a:pt x="1691" y="197"/>
                    <a:pt x="1680" y="192"/>
                    <a:pt x="1680" y="192"/>
                  </a:cubicBezTo>
                  <a:cubicBezTo>
                    <a:pt x="1680" y="192"/>
                    <a:pt x="1676" y="214"/>
                    <a:pt x="1666" y="214"/>
                  </a:cubicBezTo>
                  <a:cubicBezTo>
                    <a:pt x="1656" y="214"/>
                    <a:pt x="1653" y="209"/>
                    <a:pt x="1653" y="209"/>
                  </a:cubicBezTo>
                  <a:cubicBezTo>
                    <a:pt x="1629" y="208"/>
                    <a:pt x="1629" y="208"/>
                    <a:pt x="1629" y="208"/>
                  </a:cubicBezTo>
                  <a:cubicBezTo>
                    <a:pt x="1606" y="194"/>
                    <a:pt x="1606" y="194"/>
                    <a:pt x="1606" y="194"/>
                  </a:cubicBezTo>
                  <a:cubicBezTo>
                    <a:pt x="1607" y="249"/>
                    <a:pt x="1607" y="249"/>
                    <a:pt x="1607" y="249"/>
                  </a:cubicBezTo>
                  <a:cubicBezTo>
                    <a:pt x="1612" y="255"/>
                    <a:pt x="1612" y="255"/>
                    <a:pt x="1612" y="255"/>
                  </a:cubicBezTo>
                  <a:cubicBezTo>
                    <a:pt x="1613" y="273"/>
                    <a:pt x="1613" y="273"/>
                    <a:pt x="1613" y="273"/>
                  </a:cubicBezTo>
                  <a:cubicBezTo>
                    <a:pt x="1617" y="279"/>
                    <a:pt x="1617" y="279"/>
                    <a:pt x="1617" y="279"/>
                  </a:cubicBezTo>
                  <a:cubicBezTo>
                    <a:pt x="1617" y="279"/>
                    <a:pt x="1612" y="282"/>
                    <a:pt x="1615" y="292"/>
                  </a:cubicBezTo>
                  <a:cubicBezTo>
                    <a:pt x="1618" y="302"/>
                    <a:pt x="1630" y="313"/>
                    <a:pt x="1639" y="310"/>
                  </a:cubicBezTo>
                  <a:cubicBezTo>
                    <a:pt x="1648" y="307"/>
                    <a:pt x="1632" y="300"/>
                    <a:pt x="1651" y="299"/>
                  </a:cubicBezTo>
                  <a:cubicBezTo>
                    <a:pt x="1670" y="298"/>
                    <a:pt x="1680" y="302"/>
                    <a:pt x="1680" y="302"/>
                  </a:cubicBezTo>
                  <a:cubicBezTo>
                    <a:pt x="1680" y="302"/>
                    <a:pt x="1691" y="313"/>
                    <a:pt x="1697" y="311"/>
                  </a:cubicBezTo>
                  <a:cubicBezTo>
                    <a:pt x="1703" y="309"/>
                    <a:pt x="1704" y="291"/>
                    <a:pt x="1704" y="291"/>
                  </a:cubicBezTo>
                  <a:cubicBezTo>
                    <a:pt x="1745" y="291"/>
                    <a:pt x="1745" y="291"/>
                    <a:pt x="1745" y="291"/>
                  </a:cubicBezTo>
                  <a:cubicBezTo>
                    <a:pt x="1745" y="291"/>
                    <a:pt x="1748" y="306"/>
                    <a:pt x="1757" y="307"/>
                  </a:cubicBezTo>
                  <a:cubicBezTo>
                    <a:pt x="1766" y="308"/>
                    <a:pt x="1769" y="308"/>
                    <a:pt x="1769" y="308"/>
                  </a:cubicBezTo>
                  <a:cubicBezTo>
                    <a:pt x="1769" y="308"/>
                    <a:pt x="1777" y="315"/>
                    <a:pt x="1786" y="322"/>
                  </a:cubicBezTo>
                  <a:cubicBezTo>
                    <a:pt x="1795" y="329"/>
                    <a:pt x="1813" y="333"/>
                    <a:pt x="1813" y="333"/>
                  </a:cubicBezTo>
                  <a:cubicBezTo>
                    <a:pt x="1813" y="333"/>
                    <a:pt x="1818" y="344"/>
                    <a:pt x="1827" y="350"/>
                  </a:cubicBezTo>
                  <a:cubicBezTo>
                    <a:pt x="1836" y="356"/>
                    <a:pt x="1839" y="362"/>
                    <a:pt x="1831" y="363"/>
                  </a:cubicBezTo>
                  <a:cubicBezTo>
                    <a:pt x="1823" y="364"/>
                    <a:pt x="1805" y="365"/>
                    <a:pt x="1805" y="365"/>
                  </a:cubicBezTo>
                  <a:cubicBezTo>
                    <a:pt x="1805" y="365"/>
                    <a:pt x="1797" y="356"/>
                    <a:pt x="1788" y="356"/>
                  </a:cubicBezTo>
                  <a:cubicBezTo>
                    <a:pt x="1779" y="356"/>
                    <a:pt x="1768" y="359"/>
                    <a:pt x="1768" y="359"/>
                  </a:cubicBezTo>
                  <a:cubicBezTo>
                    <a:pt x="1759" y="368"/>
                    <a:pt x="1759" y="368"/>
                    <a:pt x="1759" y="368"/>
                  </a:cubicBezTo>
                  <a:cubicBezTo>
                    <a:pt x="1753" y="371"/>
                    <a:pt x="1753" y="371"/>
                    <a:pt x="1753" y="371"/>
                  </a:cubicBezTo>
                  <a:cubicBezTo>
                    <a:pt x="1735" y="368"/>
                    <a:pt x="1735" y="368"/>
                    <a:pt x="1735" y="368"/>
                  </a:cubicBezTo>
                  <a:cubicBezTo>
                    <a:pt x="1735" y="379"/>
                    <a:pt x="1735" y="379"/>
                    <a:pt x="1735" y="379"/>
                  </a:cubicBezTo>
                  <a:cubicBezTo>
                    <a:pt x="1735" y="379"/>
                    <a:pt x="1710" y="380"/>
                    <a:pt x="1703" y="391"/>
                  </a:cubicBezTo>
                  <a:cubicBezTo>
                    <a:pt x="1696" y="402"/>
                    <a:pt x="1711" y="413"/>
                    <a:pt x="1711" y="413"/>
                  </a:cubicBezTo>
                  <a:cubicBezTo>
                    <a:pt x="1695" y="427"/>
                    <a:pt x="1695" y="427"/>
                    <a:pt x="1695" y="427"/>
                  </a:cubicBezTo>
                  <a:cubicBezTo>
                    <a:pt x="1695" y="427"/>
                    <a:pt x="1649" y="424"/>
                    <a:pt x="1646" y="427"/>
                  </a:cubicBezTo>
                  <a:cubicBezTo>
                    <a:pt x="1643" y="430"/>
                    <a:pt x="1645" y="446"/>
                    <a:pt x="1645" y="446"/>
                  </a:cubicBezTo>
                  <a:cubicBezTo>
                    <a:pt x="1645" y="446"/>
                    <a:pt x="1634" y="460"/>
                    <a:pt x="1627" y="462"/>
                  </a:cubicBezTo>
                  <a:cubicBezTo>
                    <a:pt x="1620" y="464"/>
                    <a:pt x="1593" y="465"/>
                    <a:pt x="1593" y="465"/>
                  </a:cubicBezTo>
                  <a:cubicBezTo>
                    <a:pt x="1593" y="465"/>
                    <a:pt x="1571" y="448"/>
                    <a:pt x="1567" y="447"/>
                  </a:cubicBezTo>
                  <a:cubicBezTo>
                    <a:pt x="1563" y="446"/>
                    <a:pt x="1545" y="440"/>
                    <a:pt x="1539" y="450"/>
                  </a:cubicBezTo>
                  <a:cubicBezTo>
                    <a:pt x="1533" y="460"/>
                    <a:pt x="1535" y="480"/>
                    <a:pt x="1541" y="484"/>
                  </a:cubicBezTo>
                  <a:cubicBezTo>
                    <a:pt x="1547" y="488"/>
                    <a:pt x="1578" y="511"/>
                    <a:pt x="1577" y="516"/>
                  </a:cubicBezTo>
                  <a:cubicBezTo>
                    <a:pt x="1576" y="521"/>
                    <a:pt x="1566" y="536"/>
                    <a:pt x="1562" y="536"/>
                  </a:cubicBezTo>
                  <a:cubicBezTo>
                    <a:pt x="1558" y="536"/>
                    <a:pt x="1548" y="533"/>
                    <a:pt x="1545" y="540"/>
                  </a:cubicBezTo>
                  <a:cubicBezTo>
                    <a:pt x="1542" y="547"/>
                    <a:pt x="1544" y="562"/>
                    <a:pt x="1536" y="569"/>
                  </a:cubicBezTo>
                  <a:cubicBezTo>
                    <a:pt x="1528" y="576"/>
                    <a:pt x="1511" y="574"/>
                    <a:pt x="1511" y="574"/>
                  </a:cubicBezTo>
                  <a:cubicBezTo>
                    <a:pt x="1499" y="587"/>
                    <a:pt x="1499" y="587"/>
                    <a:pt x="1499" y="587"/>
                  </a:cubicBezTo>
                  <a:cubicBezTo>
                    <a:pt x="1499" y="587"/>
                    <a:pt x="1409" y="584"/>
                    <a:pt x="1395" y="590"/>
                  </a:cubicBezTo>
                  <a:cubicBezTo>
                    <a:pt x="1381" y="596"/>
                    <a:pt x="1338" y="625"/>
                    <a:pt x="1332" y="630"/>
                  </a:cubicBezTo>
                  <a:cubicBezTo>
                    <a:pt x="1326" y="635"/>
                    <a:pt x="1306" y="627"/>
                    <a:pt x="1306" y="627"/>
                  </a:cubicBezTo>
                  <a:cubicBezTo>
                    <a:pt x="1306" y="627"/>
                    <a:pt x="1303" y="615"/>
                    <a:pt x="1297" y="615"/>
                  </a:cubicBezTo>
                  <a:cubicBezTo>
                    <a:pt x="1291" y="615"/>
                    <a:pt x="1270" y="624"/>
                    <a:pt x="1270" y="624"/>
                  </a:cubicBezTo>
                  <a:cubicBezTo>
                    <a:pt x="1270" y="624"/>
                    <a:pt x="1242" y="609"/>
                    <a:pt x="1228" y="608"/>
                  </a:cubicBezTo>
                  <a:cubicBezTo>
                    <a:pt x="1214" y="607"/>
                    <a:pt x="1203" y="609"/>
                    <a:pt x="1188" y="604"/>
                  </a:cubicBezTo>
                  <a:cubicBezTo>
                    <a:pt x="1173" y="599"/>
                    <a:pt x="1171" y="584"/>
                    <a:pt x="1161" y="581"/>
                  </a:cubicBezTo>
                  <a:cubicBezTo>
                    <a:pt x="1151" y="578"/>
                    <a:pt x="1112" y="578"/>
                    <a:pt x="1112" y="578"/>
                  </a:cubicBezTo>
                  <a:cubicBezTo>
                    <a:pt x="1112" y="578"/>
                    <a:pt x="1092" y="570"/>
                    <a:pt x="1087" y="570"/>
                  </a:cubicBezTo>
                  <a:cubicBezTo>
                    <a:pt x="1082" y="570"/>
                    <a:pt x="1068" y="581"/>
                    <a:pt x="1068" y="581"/>
                  </a:cubicBezTo>
                  <a:cubicBezTo>
                    <a:pt x="1043" y="576"/>
                    <a:pt x="1043" y="576"/>
                    <a:pt x="1043" y="576"/>
                  </a:cubicBezTo>
                  <a:cubicBezTo>
                    <a:pt x="1012" y="576"/>
                    <a:pt x="1012" y="576"/>
                    <a:pt x="1012" y="576"/>
                  </a:cubicBezTo>
                  <a:cubicBezTo>
                    <a:pt x="973" y="571"/>
                    <a:pt x="973" y="571"/>
                    <a:pt x="973" y="571"/>
                  </a:cubicBezTo>
                  <a:cubicBezTo>
                    <a:pt x="935" y="575"/>
                    <a:pt x="935" y="575"/>
                    <a:pt x="935" y="575"/>
                  </a:cubicBezTo>
                  <a:cubicBezTo>
                    <a:pt x="935" y="575"/>
                    <a:pt x="902" y="550"/>
                    <a:pt x="898" y="544"/>
                  </a:cubicBezTo>
                  <a:cubicBezTo>
                    <a:pt x="894" y="538"/>
                    <a:pt x="880" y="519"/>
                    <a:pt x="876" y="515"/>
                  </a:cubicBezTo>
                  <a:cubicBezTo>
                    <a:pt x="872" y="511"/>
                    <a:pt x="863" y="506"/>
                    <a:pt x="863" y="506"/>
                  </a:cubicBezTo>
                  <a:cubicBezTo>
                    <a:pt x="856" y="490"/>
                    <a:pt x="856" y="490"/>
                    <a:pt x="856" y="490"/>
                  </a:cubicBezTo>
                  <a:cubicBezTo>
                    <a:pt x="834" y="487"/>
                    <a:pt x="834" y="487"/>
                    <a:pt x="834" y="487"/>
                  </a:cubicBezTo>
                  <a:cubicBezTo>
                    <a:pt x="834" y="487"/>
                    <a:pt x="797" y="475"/>
                    <a:pt x="794" y="474"/>
                  </a:cubicBezTo>
                  <a:cubicBezTo>
                    <a:pt x="791" y="473"/>
                    <a:pt x="784" y="461"/>
                    <a:pt x="775" y="459"/>
                  </a:cubicBezTo>
                  <a:cubicBezTo>
                    <a:pt x="766" y="457"/>
                    <a:pt x="755" y="452"/>
                    <a:pt x="755" y="452"/>
                  </a:cubicBezTo>
                  <a:cubicBezTo>
                    <a:pt x="755" y="452"/>
                    <a:pt x="721" y="450"/>
                    <a:pt x="707" y="451"/>
                  </a:cubicBezTo>
                  <a:cubicBezTo>
                    <a:pt x="693" y="452"/>
                    <a:pt x="679" y="449"/>
                    <a:pt x="668" y="445"/>
                  </a:cubicBezTo>
                  <a:cubicBezTo>
                    <a:pt x="657" y="441"/>
                    <a:pt x="636" y="439"/>
                    <a:pt x="631" y="426"/>
                  </a:cubicBezTo>
                  <a:cubicBezTo>
                    <a:pt x="626" y="413"/>
                    <a:pt x="625" y="403"/>
                    <a:pt x="625" y="403"/>
                  </a:cubicBezTo>
                  <a:cubicBezTo>
                    <a:pt x="625" y="403"/>
                    <a:pt x="635" y="399"/>
                    <a:pt x="633" y="392"/>
                  </a:cubicBezTo>
                  <a:cubicBezTo>
                    <a:pt x="631" y="385"/>
                    <a:pt x="621" y="377"/>
                    <a:pt x="621" y="377"/>
                  </a:cubicBezTo>
                  <a:cubicBezTo>
                    <a:pt x="621" y="377"/>
                    <a:pt x="624" y="361"/>
                    <a:pt x="612" y="353"/>
                  </a:cubicBezTo>
                  <a:cubicBezTo>
                    <a:pt x="600" y="345"/>
                    <a:pt x="591" y="336"/>
                    <a:pt x="586" y="329"/>
                  </a:cubicBezTo>
                  <a:cubicBezTo>
                    <a:pt x="581" y="322"/>
                    <a:pt x="574" y="308"/>
                    <a:pt x="560" y="304"/>
                  </a:cubicBezTo>
                  <a:cubicBezTo>
                    <a:pt x="546" y="300"/>
                    <a:pt x="540" y="298"/>
                    <a:pt x="540" y="298"/>
                  </a:cubicBezTo>
                  <a:cubicBezTo>
                    <a:pt x="525" y="290"/>
                    <a:pt x="525" y="290"/>
                    <a:pt x="525" y="290"/>
                  </a:cubicBezTo>
                  <a:cubicBezTo>
                    <a:pt x="504" y="296"/>
                    <a:pt x="504" y="296"/>
                    <a:pt x="504" y="296"/>
                  </a:cubicBezTo>
                  <a:cubicBezTo>
                    <a:pt x="487" y="280"/>
                    <a:pt x="487" y="280"/>
                    <a:pt x="487" y="280"/>
                  </a:cubicBezTo>
                  <a:cubicBezTo>
                    <a:pt x="481" y="272"/>
                    <a:pt x="481" y="272"/>
                    <a:pt x="481" y="272"/>
                  </a:cubicBezTo>
                  <a:cubicBezTo>
                    <a:pt x="481" y="272"/>
                    <a:pt x="457" y="269"/>
                    <a:pt x="452" y="264"/>
                  </a:cubicBezTo>
                  <a:cubicBezTo>
                    <a:pt x="447" y="259"/>
                    <a:pt x="451" y="251"/>
                    <a:pt x="451" y="251"/>
                  </a:cubicBezTo>
                  <a:cubicBezTo>
                    <a:pt x="433" y="251"/>
                    <a:pt x="433" y="251"/>
                    <a:pt x="433" y="251"/>
                  </a:cubicBezTo>
                  <a:cubicBezTo>
                    <a:pt x="433" y="251"/>
                    <a:pt x="443" y="239"/>
                    <a:pt x="435" y="235"/>
                  </a:cubicBezTo>
                  <a:cubicBezTo>
                    <a:pt x="427" y="231"/>
                    <a:pt x="414" y="238"/>
                    <a:pt x="414" y="238"/>
                  </a:cubicBezTo>
                  <a:cubicBezTo>
                    <a:pt x="414" y="238"/>
                    <a:pt x="388" y="230"/>
                    <a:pt x="387" y="239"/>
                  </a:cubicBezTo>
                  <a:cubicBezTo>
                    <a:pt x="386" y="248"/>
                    <a:pt x="405" y="251"/>
                    <a:pt x="399" y="260"/>
                  </a:cubicBezTo>
                  <a:cubicBezTo>
                    <a:pt x="393" y="269"/>
                    <a:pt x="364" y="259"/>
                    <a:pt x="359" y="273"/>
                  </a:cubicBezTo>
                  <a:cubicBezTo>
                    <a:pt x="354" y="287"/>
                    <a:pt x="364" y="296"/>
                    <a:pt x="373" y="309"/>
                  </a:cubicBezTo>
                  <a:cubicBezTo>
                    <a:pt x="382" y="322"/>
                    <a:pt x="388" y="333"/>
                    <a:pt x="381" y="338"/>
                  </a:cubicBezTo>
                  <a:cubicBezTo>
                    <a:pt x="374" y="343"/>
                    <a:pt x="366" y="342"/>
                    <a:pt x="366" y="342"/>
                  </a:cubicBezTo>
                  <a:cubicBezTo>
                    <a:pt x="355" y="354"/>
                    <a:pt x="355" y="354"/>
                    <a:pt x="355" y="354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346"/>
                    <a:pt x="325" y="348"/>
                    <a:pt x="317" y="346"/>
                  </a:cubicBezTo>
                  <a:cubicBezTo>
                    <a:pt x="309" y="344"/>
                    <a:pt x="284" y="332"/>
                    <a:pt x="278" y="332"/>
                  </a:cubicBezTo>
                  <a:cubicBezTo>
                    <a:pt x="272" y="332"/>
                    <a:pt x="273" y="347"/>
                    <a:pt x="273" y="359"/>
                  </a:cubicBezTo>
                  <a:cubicBezTo>
                    <a:pt x="273" y="371"/>
                    <a:pt x="269" y="423"/>
                    <a:pt x="273" y="425"/>
                  </a:cubicBezTo>
                  <a:cubicBezTo>
                    <a:pt x="277" y="427"/>
                    <a:pt x="300" y="429"/>
                    <a:pt x="291" y="440"/>
                  </a:cubicBezTo>
                  <a:cubicBezTo>
                    <a:pt x="282" y="451"/>
                    <a:pt x="275" y="437"/>
                    <a:pt x="275" y="437"/>
                  </a:cubicBezTo>
                  <a:cubicBezTo>
                    <a:pt x="262" y="444"/>
                    <a:pt x="262" y="444"/>
                    <a:pt x="262" y="444"/>
                  </a:cubicBezTo>
                  <a:cubicBezTo>
                    <a:pt x="262" y="444"/>
                    <a:pt x="253" y="430"/>
                    <a:pt x="248" y="430"/>
                  </a:cubicBezTo>
                  <a:cubicBezTo>
                    <a:pt x="243" y="430"/>
                    <a:pt x="219" y="440"/>
                    <a:pt x="213" y="441"/>
                  </a:cubicBezTo>
                  <a:cubicBezTo>
                    <a:pt x="207" y="442"/>
                    <a:pt x="176" y="449"/>
                    <a:pt x="183" y="458"/>
                  </a:cubicBezTo>
                  <a:cubicBezTo>
                    <a:pt x="190" y="467"/>
                    <a:pt x="208" y="464"/>
                    <a:pt x="208" y="464"/>
                  </a:cubicBezTo>
                  <a:cubicBezTo>
                    <a:pt x="208" y="464"/>
                    <a:pt x="208" y="490"/>
                    <a:pt x="216" y="499"/>
                  </a:cubicBezTo>
                  <a:cubicBezTo>
                    <a:pt x="224" y="508"/>
                    <a:pt x="254" y="539"/>
                    <a:pt x="254" y="546"/>
                  </a:cubicBezTo>
                  <a:cubicBezTo>
                    <a:pt x="254" y="553"/>
                    <a:pt x="238" y="550"/>
                    <a:pt x="238" y="553"/>
                  </a:cubicBezTo>
                  <a:cubicBezTo>
                    <a:pt x="238" y="556"/>
                    <a:pt x="249" y="568"/>
                    <a:pt x="249" y="568"/>
                  </a:cubicBezTo>
                  <a:cubicBezTo>
                    <a:pt x="249" y="568"/>
                    <a:pt x="235" y="566"/>
                    <a:pt x="235" y="571"/>
                  </a:cubicBezTo>
                  <a:cubicBezTo>
                    <a:pt x="235" y="576"/>
                    <a:pt x="239" y="587"/>
                    <a:pt x="244" y="592"/>
                  </a:cubicBezTo>
                  <a:cubicBezTo>
                    <a:pt x="249" y="597"/>
                    <a:pt x="251" y="610"/>
                    <a:pt x="248" y="611"/>
                  </a:cubicBezTo>
                  <a:cubicBezTo>
                    <a:pt x="245" y="612"/>
                    <a:pt x="231" y="612"/>
                    <a:pt x="231" y="612"/>
                  </a:cubicBezTo>
                  <a:cubicBezTo>
                    <a:pt x="199" y="625"/>
                    <a:pt x="199" y="625"/>
                    <a:pt x="199" y="625"/>
                  </a:cubicBezTo>
                  <a:cubicBezTo>
                    <a:pt x="199" y="625"/>
                    <a:pt x="180" y="642"/>
                    <a:pt x="180" y="645"/>
                  </a:cubicBezTo>
                  <a:cubicBezTo>
                    <a:pt x="180" y="648"/>
                    <a:pt x="180" y="666"/>
                    <a:pt x="168" y="666"/>
                  </a:cubicBezTo>
                  <a:cubicBezTo>
                    <a:pt x="156" y="666"/>
                    <a:pt x="137" y="658"/>
                    <a:pt x="129" y="659"/>
                  </a:cubicBezTo>
                  <a:cubicBezTo>
                    <a:pt x="121" y="660"/>
                    <a:pt x="113" y="673"/>
                    <a:pt x="112" y="682"/>
                  </a:cubicBezTo>
                  <a:cubicBezTo>
                    <a:pt x="111" y="691"/>
                    <a:pt x="106" y="700"/>
                    <a:pt x="106" y="700"/>
                  </a:cubicBezTo>
                  <a:cubicBezTo>
                    <a:pt x="87" y="695"/>
                    <a:pt x="87" y="695"/>
                    <a:pt x="87" y="695"/>
                  </a:cubicBezTo>
                  <a:cubicBezTo>
                    <a:pt x="80" y="702"/>
                    <a:pt x="80" y="702"/>
                    <a:pt x="80" y="702"/>
                  </a:cubicBezTo>
                  <a:cubicBezTo>
                    <a:pt x="80" y="702"/>
                    <a:pt x="69" y="683"/>
                    <a:pt x="63" y="683"/>
                  </a:cubicBezTo>
                  <a:cubicBezTo>
                    <a:pt x="57" y="683"/>
                    <a:pt x="52" y="692"/>
                    <a:pt x="52" y="692"/>
                  </a:cubicBezTo>
                  <a:cubicBezTo>
                    <a:pt x="33" y="694"/>
                    <a:pt x="33" y="694"/>
                    <a:pt x="33" y="694"/>
                  </a:cubicBezTo>
                  <a:cubicBezTo>
                    <a:pt x="33" y="704"/>
                    <a:pt x="33" y="704"/>
                    <a:pt x="33" y="704"/>
                  </a:cubicBezTo>
                  <a:cubicBezTo>
                    <a:pt x="33" y="704"/>
                    <a:pt x="0" y="719"/>
                    <a:pt x="1" y="722"/>
                  </a:cubicBezTo>
                  <a:cubicBezTo>
                    <a:pt x="2" y="725"/>
                    <a:pt x="13" y="738"/>
                    <a:pt x="13" y="742"/>
                  </a:cubicBezTo>
                  <a:cubicBezTo>
                    <a:pt x="13" y="746"/>
                    <a:pt x="1" y="744"/>
                    <a:pt x="1" y="744"/>
                  </a:cubicBezTo>
                  <a:cubicBezTo>
                    <a:pt x="1" y="761"/>
                    <a:pt x="1" y="761"/>
                    <a:pt x="1" y="761"/>
                  </a:cubicBezTo>
                  <a:cubicBezTo>
                    <a:pt x="1" y="761"/>
                    <a:pt x="15" y="758"/>
                    <a:pt x="15" y="765"/>
                  </a:cubicBezTo>
                  <a:cubicBezTo>
                    <a:pt x="15" y="772"/>
                    <a:pt x="7" y="790"/>
                    <a:pt x="17" y="794"/>
                  </a:cubicBezTo>
                  <a:cubicBezTo>
                    <a:pt x="27" y="798"/>
                    <a:pt x="31" y="783"/>
                    <a:pt x="45" y="787"/>
                  </a:cubicBezTo>
                  <a:cubicBezTo>
                    <a:pt x="59" y="791"/>
                    <a:pt x="71" y="794"/>
                    <a:pt x="71" y="804"/>
                  </a:cubicBezTo>
                  <a:cubicBezTo>
                    <a:pt x="71" y="814"/>
                    <a:pt x="72" y="836"/>
                    <a:pt x="79" y="843"/>
                  </a:cubicBezTo>
                  <a:cubicBezTo>
                    <a:pt x="86" y="850"/>
                    <a:pt x="98" y="853"/>
                    <a:pt x="90" y="859"/>
                  </a:cubicBezTo>
                  <a:cubicBezTo>
                    <a:pt x="82" y="865"/>
                    <a:pt x="62" y="857"/>
                    <a:pt x="65" y="868"/>
                  </a:cubicBezTo>
                  <a:cubicBezTo>
                    <a:pt x="68" y="879"/>
                    <a:pt x="90" y="880"/>
                    <a:pt x="90" y="880"/>
                  </a:cubicBezTo>
                  <a:cubicBezTo>
                    <a:pt x="111" y="880"/>
                    <a:pt x="111" y="880"/>
                    <a:pt x="111" y="880"/>
                  </a:cubicBezTo>
                  <a:cubicBezTo>
                    <a:pt x="114" y="889"/>
                    <a:pt x="114" y="889"/>
                    <a:pt x="114" y="889"/>
                  </a:cubicBezTo>
                  <a:cubicBezTo>
                    <a:pt x="114" y="889"/>
                    <a:pt x="129" y="890"/>
                    <a:pt x="138" y="900"/>
                  </a:cubicBezTo>
                  <a:cubicBezTo>
                    <a:pt x="147" y="910"/>
                    <a:pt x="148" y="931"/>
                    <a:pt x="148" y="931"/>
                  </a:cubicBezTo>
                  <a:cubicBezTo>
                    <a:pt x="169" y="939"/>
                    <a:pt x="169" y="939"/>
                    <a:pt x="169" y="939"/>
                  </a:cubicBezTo>
                  <a:cubicBezTo>
                    <a:pt x="177" y="935"/>
                    <a:pt x="177" y="935"/>
                    <a:pt x="177" y="935"/>
                  </a:cubicBezTo>
                  <a:cubicBezTo>
                    <a:pt x="177" y="935"/>
                    <a:pt x="182" y="955"/>
                    <a:pt x="201" y="956"/>
                  </a:cubicBezTo>
                  <a:cubicBezTo>
                    <a:pt x="220" y="957"/>
                    <a:pt x="246" y="957"/>
                    <a:pt x="246" y="957"/>
                  </a:cubicBezTo>
                  <a:cubicBezTo>
                    <a:pt x="246" y="957"/>
                    <a:pt x="277" y="928"/>
                    <a:pt x="294" y="934"/>
                  </a:cubicBezTo>
                  <a:cubicBezTo>
                    <a:pt x="311" y="940"/>
                    <a:pt x="313" y="954"/>
                    <a:pt x="324" y="956"/>
                  </a:cubicBezTo>
                  <a:cubicBezTo>
                    <a:pt x="335" y="958"/>
                    <a:pt x="349" y="956"/>
                    <a:pt x="349" y="956"/>
                  </a:cubicBezTo>
                  <a:cubicBezTo>
                    <a:pt x="349" y="956"/>
                    <a:pt x="353" y="992"/>
                    <a:pt x="349" y="997"/>
                  </a:cubicBezTo>
                  <a:cubicBezTo>
                    <a:pt x="345" y="1002"/>
                    <a:pt x="336" y="1002"/>
                    <a:pt x="336" y="1002"/>
                  </a:cubicBezTo>
                  <a:cubicBezTo>
                    <a:pt x="336" y="1002"/>
                    <a:pt x="342" y="1026"/>
                    <a:pt x="333" y="1031"/>
                  </a:cubicBezTo>
                  <a:cubicBezTo>
                    <a:pt x="324" y="1036"/>
                    <a:pt x="305" y="1035"/>
                    <a:pt x="305" y="1035"/>
                  </a:cubicBezTo>
                  <a:cubicBezTo>
                    <a:pt x="317" y="1051"/>
                    <a:pt x="317" y="1051"/>
                    <a:pt x="317" y="1051"/>
                  </a:cubicBezTo>
                  <a:cubicBezTo>
                    <a:pt x="306" y="1057"/>
                    <a:pt x="306" y="1057"/>
                    <a:pt x="306" y="1057"/>
                  </a:cubicBezTo>
                  <a:cubicBezTo>
                    <a:pt x="306" y="1057"/>
                    <a:pt x="300" y="1068"/>
                    <a:pt x="315" y="1075"/>
                  </a:cubicBezTo>
                  <a:cubicBezTo>
                    <a:pt x="330" y="1082"/>
                    <a:pt x="335" y="1085"/>
                    <a:pt x="335" y="1085"/>
                  </a:cubicBezTo>
                  <a:cubicBezTo>
                    <a:pt x="340" y="1094"/>
                    <a:pt x="340" y="1094"/>
                    <a:pt x="340" y="1094"/>
                  </a:cubicBezTo>
                  <a:cubicBezTo>
                    <a:pt x="340" y="1094"/>
                    <a:pt x="359" y="1109"/>
                    <a:pt x="351" y="1114"/>
                  </a:cubicBezTo>
                  <a:cubicBezTo>
                    <a:pt x="343" y="1119"/>
                    <a:pt x="334" y="1122"/>
                    <a:pt x="334" y="1122"/>
                  </a:cubicBezTo>
                  <a:cubicBezTo>
                    <a:pt x="328" y="1131"/>
                    <a:pt x="328" y="1131"/>
                    <a:pt x="328" y="1131"/>
                  </a:cubicBezTo>
                  <a:cubicBezTo>
                    <a:pt x="318" y="1123"/>
                    <a:pt x="318" y="1123"/>
                    <a:pt x="318" y="1123"/>
                  </a:cubicBezTo>
                  <a:cubicBezTo>
                    <a:pt x="318" y="1123"/>
                    <a:pt x="320" y="1113"/>
                    <a:pt x="316" y="1113"/>
                  </a:cubicBezTo>
                  <a:cubicBezTo>
                    <a:pt x="312" y="1113"/>
                    <a:pt x="299" y="1118"/>
                    <a:pt x="301" y="1128"/>
                  </a:cubicBezTo>
                  <a:cubicBezTo>
                    <a:pt x="303" y="1138"/>
                    <a:pt x="323" y="1149"/>
                    <a:pt x="323" y="1149"/>
                  </a:cubicBezTo>
                  <a:cubicBezTo>
                    <a:pt x="323" y="1149"/>
                    <a:pt x="316" y="1174"/>
                    <a:pt x="323" y="1177"/>
                  </a:cubicBezTo>
                  <a:cubicBezTo>
                    <a:pt x="330" y="1180"/>
                    <a:pt x="341" y="1175"/>
                    <a:pt x="341" y="1175"/>
                  </a:cubicBezTo>
                  <a:cubicBezTo>
                    <a:pt x="341" y="1175"/>
                    <a:pt x="345" y="1190"/>
                    <a:pt x="356" y="1194"/>
                  </a:cubicBezTo>
                  <a:cubicBezTo>
                    <a:pt x="367" y="1198"/>
                    <a:pt x="377" y="1200"/>
                    <a:pt x="377" y="1200"/>
                  </a:cubicBezTo>
                  <a:cubicBezTo>
                    <a:pt x="392" y="1211"/>
                    <a:pt x="392" y="1211"/>
                    <a:pt x="392" y="1211"/>
                  </a:cubicBezTo>
                  <a:cubicBezTo>
                    <a:pt x="403" y="1210"/>
                    <a:pt x="403" y="1210"/>
                    <a:pt x="403" y="1210"/>
                  </a:cubicBezTo>
                  <a:cubicBezTo>
                    <a:pt x="403" y="1210"/>
                    <a:pt x="397" y="1218"/>
                    <a:pt x="403" y="1221"/>
                  </a:cubicBezTo>
                  <a:cubicBezTo>
                    <a:pt x="409" y="1224"/>
                    <a:pt x="420" y="1224"/>
                    <a:pt x="420" y="1224"/>
                  </a:cubicBezTo>
                  <a:cubicBezTo>
                    <a:pt x="447" y="1249"/>
                    <a:pt x="447" y="1249"/>
                    <a:pt x="447" y="1249"/>
                  </a:cubicBezTo>
                  <a:cubicBezTo>
                    <a:pt x="462" y="1236"/>
                    <a:pt x="462" y="1236"/>
                    <a:pt x="462" y="1236"/>
                  </a:cubicBezTo>
                  <a:cubicBezTo>
                    <a:pt x="462" y="1236"/>
                    <a:pt x="475" y="1219"/>
                    <a:pt x="489" y="1234"/>
                  </a:cubicBezTo>
                  <a:cubicBezTo>
                    <a:pt x="503" y="1249"/>
                    <a:pt x="521" y="1263"/>
                    <a:pt x="521" y="1263"/>
                  </a:cubicBezTo>
                  <a:cubicBezTo>
                    <a:pt x="552" y="1269"/>
                    <a:pt x="552" y="1269"/>
                    <a:pt x="552" y="1269"/>
                  </a:cubicBezTo>
                  <a:cubicBezTo>
                    <a:pt x="552" y="1269"/>
                    <a:pt x="567" y="1301"/>
                    <a:pt x="571" y="1302"/>
                  </a:cubicBezTo>
                  <a:cubicBezTo>
                    <a:pt x="575" y="1303"/>
                    <a:pt x="579" y="1278"/>
                    <a:pt x="590" y="1285"/>
                  </a:cubicBezTo>
                  <a:cubicBezTo>
                    <a:pt x="601" y="1292"/>
                    <a:pt x="596" y="1308"/>
                    <a:pt x="604" y="1314"/>
                  </a:cubicBezTo>
                  <a:cubicBezTo>
                    <a:pt x="612" y="1320"/>
                    <a:pt x="626" y="1332"/>
                    <a:pt x="626" y="1332"/>
                  </a:cubicBezTo>
                  <a:cubicBezTo>
                    <a:pt x="626" y="1332"/>
                    <a:pt x="641" y="1321"/>
                    <a:pt x="646" y="1328"/>
                  </a:cubicBezTo>
                  <a:cubicBezTo>
                    <a:pt x="651" y="1335"/>
                    <a:pt x="634" y="1338"/>
                    <a:pt x="650" y="1345"/>
                  </a:cubicBezTo>
                  <a:cubicBezTo>
                    <a:pt x="666" y="1352"/>
                    <a:pt x="678" y="1343"/>
                    <a:pt x="678" y="1343"/>
                  </a:cubicBezTo>
                  <a:cubicBezTo>
                    <a:pt x="678" y="1343"/>
                    <a:pt x="678" y="1361"/>
                    <a:pt x="687" y="1362"/>
                  </a:cubicBezTo>
                  <a:cubicBezTo>
                    <a:pt x="696" y="1363"/>
                    <a:pt x="698" y="1349"/>
                    <a:pt x="698" y="1349"/>
                  </a:cubicBezTo>
                  <a:cubicBezTo>
                    <a:pt x="698" y="1349"/>
                    <a:pt x="697" y="1363"/>
                    <a:pt x="707" y="1362"/>
                  </a:cubicBezTo>
                  <a:cubicBezTo>
                    <a:pt x="717" y="1361"/>
                    <a:pt x="719" y="1353"/>
                    <a:pt x="719" y="1353"/>
                  </a:cubicBezTo>
                  <a:cubicBezTo>
                    <a:pt x="719" y="1353"/>
                    <a:pt x="752" y="1373"/>
                    <a:pt x="766" y="1372"/>
                  </a:cubicBezTo>
                  <a:cubicBezTo>
                    <a:pt x="780" y="1371"/>
                    <a:pt x="806" y="1346"/>
                    <a:pt x="817" y="1355"/>
                  </a:cubicBezTo>
                  <a:cubicBezTo>
                    <a:pt x="828" y="1364"/>
                    <a:pt x="817" y="1392"/>
                    <a:pt x="822" y="1394"/>
                  </a:cubicBezTo>
                  <a:cubicBezTo>
                    <a:pt x="827" y="1396"/>
                    <a:pt x="832" y="1395"/>
                    <a:pt x="832" y="1395"/>
                  </a:cubicBezTo>
                  <a:cubicBezTo>
                    <a:pt x="832" y="1395"/>
                    <a:pt x="856" y="1339"/>
                    <a:pt x="870" y="1344"/>
                  </a:cubicBezTo>
                  <a:cubicBezTo>
                    <a:pt x="884" y="1349"/>
                    <a:pt x="894" y="1350"/>
                    <a:pt x="894" y="1350"/>
                  </a:cubicBezTo>
                  <a:cubicBezTo>
                    <a:pt x="894" y="1364"/>
                    <a:pt x="894" y="1364"/>
                    <a:pt x="894" y="1364"/>
                  </a:cubicBezTo>
                  <a:cubicBezTo>
                    <a:pt x="894" y="1364"/>
                    <a:pt x="930" y="1346"/>
                    <a:pt x="943" y="1357"/>
                  </a:cubicBezTo>
                  <a:cubicBezTo>
                    <a:pt x="956" y="1368"/>
                    <a:pt x="956" y="1378"/>
                    <a:pt x="956" y="1378"/>
                  </a:cubicBezTo>
                  <a:cubicBezTo>
                    <a:pt x="956" y="1378"/>
                    <a:pt x="987" y="1380"/>
                    <a:pt x="995" y="1373"/>
                  </a:cubicBezTo>
                  <a:cubicBezTo>
                    <a:pt x="1003" y="1366"/>
                    <a:pt x="995" y="1350"/>
                    <a:pt x="995" y="1350"/>
                  </a:cubicBezTo>
                  <a:cubicBezTo>
                    <a:pt x="995" y="1350"/>
                    <a:pt x="1016" y="1348"/>
                    <a:pt x="1018" y="1343"/>
                  </a:cubicBezTo>
                  <a:cubicBezTo>
                    <a:pt x="1020" y="1338"/>
                    <a:pt x="1013" y="1322"/>
                    <a:pt x="1013" y="1322"/>
                  </a:cubicBezTo>
                  <a:cubicBezTo>
                    <a:pt x="1013" y="1322"/>
                    <a:pt x="1037" y="1326"/>
                    <a:pt x="1044" y="1318"/>
                  </a:cubicBezTo>
                  <a:cubicBezTo>
                    <a:pt x="1051" y="1310"/>
                    <a:pt x="1068" y="1291"/>
                    <a:pt x="1076" y="1291"/>
                  </a:cubicBezTo>
                  <a:cubicBezTo>
                    <a:pt x="1084" y="1291"/>
                    <a:pt x="1098" y="1305"/>
                    <a:pt x="1109" y="1305"/>
                  </a:cubicBezTo>
                  <a:cubicBezTo>
                    <a:pt x="1120" y="1305"/>
                    <a:pt x="1112" y="1274"/>
                    <a:pt x="1130" y="1283"/>
                  </a:cubicBezTo>
                  <a:cubicBezTo>
                    <a:pt x="1148" y="1292"/>
                    <a:pt x="1149" y="1297"/>
                    <a:pt x="1149" y="1297"/>
                  </a:cubicBezTo>
                  <a:cubicBezTo>
                    <a:pt x="1149" y="1297"/>
                    <a:pt x="1133" y="1305"/>
                    <a:pt x="1142" y="1307"/>
                  </a:cubicBezTo>
                  <a:cubicBezTo>
                    <a:pt x="1151" y="1309"/>
                    <a:pt x="1162" y="1308"/>
                    <a:pt x="1162" y="1308"/>
                  </a:cubicBezTo>
                  <a:cubicBezTo>
                    <a:pt x="1173" y="1328"/>
                    <a:pt x="1173" y="1328"/>
                    <a:pt x="1173" y="1328"/>
                  </a:cubicBezTo>
                  <a:cubicBezTo>
                    <a:pt x="1173" y="1328"/>
                    <a:pt x="1153" y="1337"/>
                    <a:pt x="1161" y="1339"/>
                  </a:cubicBezTo>
                  <a:cubicBezTo>
                    <a:pt x="1169" y="1341"/>
                    <a:pt x="1184" y="1341"/>
                    <a:pt x="1191" y="1341"/>
                  </a:cubicBezTo>
                  <a:cubicBezTo>
                    <a:pt x="1198" y="1341"/>
                    <a:pt x="1213" y="1345"/>
                    <a:pt x="1213" y="1345"/>
                  </a:cubicBezTo>
                  <a:cubicBezTo>
                    <a:pt x="1217" y="1332"/>
                    <a:pt x="1217" y="1332"/>
                    <a:pt x="1217" y="1332"/>
                  </a:cubicBezTo>
                  <a:cubicBezTo>
                    <a:pt x="1217" y="1332"/>
                    <a:pt x="1231" y="1339"/>
                    <a:pt x="1239" y="1347"/>
                  </a:cubicBezTo>
                  <a:cubicBezTo>
                    <a:pt x="1247" y="1355"/>
                    <a:pt x="1256" y="1382"/>
                    <a:pt x="1256" y="1382"/>
                  </a:cubicBezTo>
                  <a:cubicBezTo>
                    <a:pt x="1256" y="1382"/>
                    <a:pt x="1271" y="1380"/>
                    <a:pt x="1278" y="1382"/>
                  </a:cubicBezTo>
                  <a:cubicBezTo>
                    <a:pt x="1285" y="1384"/>
                    <a:pt x="1283" y="1406"/>
                    <a:pt x="1283" y="1406"/>
                  </a:cubicBezTo>
                  <a:cubicBezTo>
                    <a:pt x="1291" y="1422"/>
                    <a:pt x="1291" y="1422"/>
                    <a:pt x="1291" y="1422"/>
                  </a:cubicBezTo>
                  <a:cubicBezTo>
                    <a:pt x="1298" y="1459"/>
                    <a:pt x="1298" y="1459"/>
                    <a:pt x="1298" y="1459"/>
                  </a:cubicBezTo>
                  <a:cubicBezTo>
                    <a:pt x="1298" y="1459"/>
                    <a:pt x="1288" y="1465"/>
                    <a:pt x="1281" y="1465"/>
                  </a:cubicBezTo>
                  <a:cubicBezTo>
                    <a:pt x="1274" y="1465"/>
                    <a:pt x="1290" y="1476"/>
                    <a:pt x="1290" y="1476"/>
                  </a:cubicBezTo>
                  <a:cubicBezTo>
                    <a:pt x="1290" y="1476"/>
                    <a:pt x="1289" y="1482"/>
                    <a:pt x="1286" y="1489"/>
                  </a:cubicBezTo>
                  <a:cubicBezTo>
                    <a:pt x="1283" y="1496"/>
                    <a:pt x="1271" y="1488"/>
                    <a:pt x="1271" y="1488"/>
                  </a:cubicBezTo>
                  <a:cubicBezTo>
                    <a:pt x="1271" y="1488"/>
                    <a:pt x="1272" y="1497"/>
                    <a:pt x="1271" y="1508"/>
                  </a:cubicBezTo>
                  <a:cubicBezTo>
                    <a:pt x="1270" y="1519"/>
                    <a:pt x="1259" y="1515"/>
                    <a:pt x="1259" y="1515"/>
                  </a:cubicBezTo>
                  <a:cubicBezTo>
                    <a:pt x="1261" y="1535"/>
                    <a:pt x="1261" y="1535"/>
                    <a:pt x="1261" y="1535"/>
                  </a:cubicBezTo>
                  <a:cubicBezTo>
                    <a:pt x="1254" y="1538"/>
                    <a:pt x="1254" y="1538"/>
                    <a:pt x="1254" y="1538"/>
                  </a:cubicBezTo>
                  <a:cubicBezTo>
                    <a:pt x="1254" y="1538"/>
                    <a:pt x="1255" y="1547"/>
                    <a:pt x="1260" y="1552"/>
                  </a:cubicBezTo>
                  <a:cubicBezTo>
                    <a:pt x="1265" y="1557"/>
                    <a:pt x="1270" y="1567"/>
                    <a:pt x="1270" y="1567"/>
                  </a:cubicBezTo>
                  <a:cubicBezTo>
                    <a:pt x="1264" y="1581"/>
                    <a:pt x="1264" y="1581"/>
                    <a:pt x="1264" y="1581"/>
                  </a:cubicBezTo>
                  <a:cubicBezTo>
                    <a:pt x="1264" y="1581"/>
                    <a:pt x="1280" y="1571"/>
                    <a:pt x="1288" y="1570"/>
                  </a:cubicBezTo>
                  <a:cubicBezTo>
                    <a:pt x="1296" y="1569"/>
                    <a:pt x="1325" y="1569"/>
                    <a:pt x="1325" y="1569"/>
                  </a:cubicBezTo>
                  <a:cubicBezTo>
                    <a:pt x="1308" y="1584"/>
                    <a:pt x="1308" y="1584"/>
                    <a:pt x="1308" y="1584"/>
                  </a:cubicBezTo>
                  <a:cubicBezTo>
                    <a:pt x="1324" y="1597"/>
                    <a:pt x="1324" y="1597"/>
                    <a:pt x="1324" y="1597"/>
                  </a:cubicBezTo>
                  <a:cubicBezTo>
                    <a:pt x="1329" y="1624"/>
                    <a:pt x="1329" y="1624"/>
                    <a:pt x="1329" y="1624"/>
                  </a:cubicBezTo>
                  <a:cubicBezTo>
                    <a:pt x="1329" y="1624"/>
                    <a:pt x="1357" y="1625"/>
                    <a:pt x="1364" y="1631"/>
                  </a:cubicBezTo>
                  <a:cubicBezTo>
                    <a:pt x="1371" y="1637"/>
                    <a:pt x="1348" y="1646"/>
                    <a:pt x="1348" y="1646"/>
                  </a:cubicBezTo>
                  <a:cubicBezTo>
                    <a:pt x="1348" y="1646"/>
                    <a:pt x="1357" y="1658"/>
                    <a:pt x="1354" y="1661"/>
                  </a:cubicBezTo>
                  <a:cubicBezTo>
                    <a:pt x="1351" y="1664"/>
                    <a:pt x="1345" y="1678"/>
                    <a:pt x="1345" y="1678"/>
                  </a:cubicBezTo>
                  <a:cubicBezTo>
                    <a:pt x="1384" y="1682"/>
                    <a:pt x="1384" y="1682"/>
                    <a:pt x="1384" y="1682"/>
                  </a:cubicBezTo>
                  <a:cubicBezTo>
                    <a:pt x="1389" y="1702"/>
                    <a:pt x="1389" y="1702"/>
                    <a:pt x="1389" y="1702"/>
                  </a:cubicBezTo>
                  <a:cubicBezTo>
                    <a:pt x="1400" y="1701"/>
                    <a:pt x="1400" y="1701"/>
                    <a:pt x="1400" y="1701"/>
                  </a:cubicBezTo>
                  <a:cubicBezTo>
                    <a:pt x="1400" y="1701"/>
                    <a:pt x="1400" y="1713"/>
                    <a:pt x="1403" y="1713"/>
                  </a:cubicBezTo>
                  <a:cubicBezTo>
                    <a:pt x="1406" y="1713"/>
                    <a:pt x="1425" y="1712"/>
                    <a:pt x="1425" y="1712"/>
                  </a:cubicBezTo>
                  <a:cubicBezTo>
                    <a:pt x="1425" y="1712"/>
                    <a:pt x="1434" y="1694"/>
                    <a:pt x="1444" y="1695"/>
                  </a:cubicBezTo>
                  <a:cubicBezTo>
                    <a:pt x="1454" y="1696"/>
                    <a:pt x="1449" y="1714"/>
                    <a:pt x="1449" y="1714"/>
                  </a:cubicBezTo>
                  <a:cubicBezTo>
                    <a:pt x="1451" y="1727"/>
                    <a:pt x="1451" y="1727"/>
                    <a:pt x="1451" y="1727"/>
                  </a:cubicBezTo>
                  <a:cubicBezTo>
                    <a:pt x="1480" y="1729"/>
                    <a:pt x="1480" y="1729"/>
                    <a:pt x="1480" y="1729"/>
                  </a:cubicBezTo>
                  <a:cubicBezTo>
                    <a:pt x="1480" y="1704"/>
                    <a:pt x="1480" y="1704"/>
                    <a:pt x="1480" y="1704"/>
                  </a:cubicBezTo>
                  <a:cubicBezTo>
                    <a:pt x="1480" y="1704"/>
                    <a:pt x="1462" y="1692"/>
                    <a:pt x="1461" y="1679"/>
                  </a:cubicBezTo>
                  <a:cubicBezTo>
                    <a:pt x="1460" y="1666"/>
                    <a:pt x="1468" y="1657"/>
                    <a:pt x="1468" y="1657"/>
                  </a:cubicBezTo>
                  <a:cubicBezTo>
                    <a:pt x="1492" y="1659"/>
                    <a:pt x="1492" y="1659"/>
                    <a:pt x="1492" y="1659"/>
                  </a:cubicBezTo>
                  <a:cubicBezTo>
                    <a:pt x="1492" y="1653"/>
                    <a:pt x="1493" y="1646"/>
                    <a:pt x="1495" y="1642"/>
                  </a:cubicBezTo>
                  <a:cubicBezTo>
                    <a:pt x="1499" y="1634"/>
                    <a:pt x="1518" y="1657"/>
                    <a:pt x="1524" y="1657"/>
                  </a:cubicBezTo>
                  <a:cubicBezTo>
                    <a:pt x="1530" y="1657"/>
                    <a:pt x="1539" y="1641"/>
                    <a:pt x="1539" y="1641"/>
                  </a:cubicBezTo>
                  <a:cubicBezTo>
                    <a:pt x="1550" y="1653"/>
                    <a:pt x="1550" y="1653"/>
                    <a:pt x="1550" y="1653"/>
                  </a:cubicBezTo>
                  <a:cubicBezTo>
                    <a:pt x="1549" y="1640"/>
                    <a:pt x="1549" y="1640"/>
                    <a:pt x="1549" y="1640"/>
                  </a:cubicBezTo>
                  <a:cubicBezTo>
                    <a:pt x="1554" y="1639"/>
                    <a:pt x="1554" y="1639"/>
                    <a:pt x="1554" y="1639"/>
                  </a:cubicBezTo>
                  <a:cubicBezTo>
                    <a:pt x="1563" y="1652"/>
                    <a:pt x="1563" y="1652"/>
                    <a:pt x="1563" y="1652"/>
                  </a:cubicBezTo>
                  <a:cubicBezTo>
                    <a:pt x="1563" y="1652"/>
                    <a:pt x="1562" y="1657"/>
                    <a:pt x="1575" y="1656"/>
                  </a:cubicBezTo>
                  <a:cubicBezTo>
                    <a:pt x="1588" y="1655"/>
                    <a:pt x="1571" y="1639"/>
                    <a:pt x="1571" y="1639"/>
                  </a:cubicBezTo>
                  <a:cubicBezTo>
                    <a:pt x="1582" y="1639"/>
                    <a:pt x="1582" y="1639"/>
                    <a:pt x="1582" y="1639"/>
                  </a:cubicBezTo>
                  <a:cubicBezTo>
                    <a:pt x="1586" y="1646"/>
                    <a:pt x="1586" y="1646"/>
                    <a:pt x="1586" y="1646"/>
                  </a:cubicBezTo>
                  <a:cubicBezTo>
                    <a:pt x="1586" y="1646"/>
                    <a:pt x="1594" y="1642"/>
                    <a:pt x="1601" y="1640"/>
                  </a:cubicBezTo>
                  <a:cubicBezTo>
                    <a:pt x="1608" y="1638"/>
                    <a:pt x="1602" y="1624"/>
                    <a:pt x="1606" y="1619"/>
                  </a:cubicBezTo>
                  <a:cubicBezTo>
                    <a:pt x="1610" y="1614"/>
                    <a:pt x="1625" y="1610"/>
                    <a:pt x="1625" y="1610"/>
                  </a:cubicBezTo>
                  <a:cubicBezTo>
                    <a:pt x="1647" y="1632"/>
                    <a:pt x="1647" y="1632"/>
                    <a:pt x="1647" y="1632"/>
                  </a:cubicBezTo>
                  <a:cubicBezTo>
                    <a:pt x="1668" y="1627"/>
                    <a:pt x="1668" y="1627"/>
                    <a:pt x="1668" y="1627"/>
                  </a:cubicBezTo>
                  <a:cubicBezTo>
                    <a:pt x="1673" y="1635"/>
                    <a:pt x="1673" y="1635"/>
                    <a:pt x="1673" y="1635"/>
                  </a:cubicBezTo>
                  <a:cubicBezTo>
                    <a:pt x="1673" y="1635"/>
                    <a:pt x="1693" y="1634"/>
                    <a:pt x="1698" y="1642"/>
                  </a:cubicBezTo>
                  <a:cubicBezTo>
                    <a:pt x="1703" y="1650"/>
                    <a:pt x="1687" y="1657"/>
                    <a:pt x="1687" y="1657"/>
                  </a:cubicBezTo>
                  <a:cubicBezTo>
                    <a:pt x="1691" y="1667"/>
                    <a:pt x="1691" y="1667"/>
                    <a:pt x="1691" y="1667"/>
                  </a:cubicBezTo>
                  <a:cubicBezTo>
                    <a:pt x="1698" y="1671"/>
                    <a:pt x="1698" y="1671"/>
                    <a:pt x="1698" y="1671"/>
                  </a:cubicBezTo>
                  <a:cubicBezTo>
                    <a:pt x="1698" y="1684"/>
                    <a:pt x="1698" y="1684"/>
                    <a:pt x="1698" y="1684"/>
                  </a:cubicBezTo>
                  <a:cubicBezTo>
                    <a:pt x="1709" y="1685"/>
                    <a:pt x="1709" y="1685"/>
                    <a:pt x="1709" y="1685"/>
                  </a:cubicBezTo>
                  <a:cubicBezTo>
                    <a:pt x="1709" y="1685"/>
                    <a:pt x="1713" y="1690"/>
                    <a:pt x="1720" y="1697"/>
                  </a:cubicBezTo>
                  <a:cubicBezTo>
                    <a:pt x="1727" y="1704"/>
                    <a:pt x="1740" y="1701"/>
                    <a:pt x="1748" y="1702"/>
                  </a:cubicBezTo>
                  <a:cubicBezTo>
                    <a:pt x="1752" y="1702"/>
                    <a:pt x="1755" y="1704"/>
                    <a:pt x="1757" y="1705"/>
                  </a:cubicBezTo>
                  <a:cubicBezTo>
                    <a:pt x="1786" y="1686"/>
                    <a:pt x="1786" y="1686"/>
                    <a:pt x="1786" y="1686"/>
                  </a:cubicBezTo>
                  <a:cubicBezTo>
                    <a:pt x="1798" y="1694"/>
                    <a:pt x="1798" y="1694"/>
                    <a:pt x="1798" y="1694"/>
                  </a:cubicBezTo>
                  <a:cubicBezTo>
                    <a:pt x="1798" y="1694"/>
                    <a:pt x="1843" y="1694"/>
                    <a:pt x="1849" y="1705"/>
                  </a:cubicBezTo>
                  <a:cubicBezTo>
                    <a:pt x="1854" y="1717"/>
                    <a:pt x="1839" y="1739"/>
                    <a:pt x="1846" y="1750"/>
                  </a:cubicBezTo>
                  <a:cubicBezTo>
                    <a:pt x="1854" y="1761"/>
                    <a:pt x="1875" y="1776"/>
                    <a:pt x="1875" y="1776"/>
                  </a:cubicBezTo>
                  <a:cubicBezTo>
                    <a:pt x="1889" y="1774"/>
                    <a:pt x="1889" y="1774"/>
                    <a:pt x="1889" y="1774"/>
                  </a:cubicBezTo>
                  <a:cubicBezTo>
                    <a:pt x="1889" y="1762"/>
                    <a:pt x="1889" y="1762"/>
                    <a:pt x="1889" y="1762"/>
                  </a:cubicBezTo>
                  <a:cubicBezTo>
                    <a:pt x="1889" y="1762"/>
                    <a:pt x="1880" y="1730"/>
                    <a:pt x="1892" y="1713"/>
                  </a:cubicBezTo>
                  <a:cubicBezTo>
                    <a:pt x="1904" y="1697"/>
                    <a:pt x="1931" y="1699"/>
                    <a:pt x="1945" y="1696"/>
                  </a:cubicBezTo>
                  <a:cubicBezTo>
                    <a:pt x="1958" y="1693"/>
                    <a:pt x="2001" y="1684"/>
                    <a:pt x="2001" y="1674"/>
                  </a:cubicBezTo>
                  <a:cubicBezTo>
                    <a:pt x="2002" y="1664"/>
                    <a:pt x="2002" y="1634"/>
                    <a:pt x="2011" y="1632"/>
                  </a:cubicBezTo>
                  <a:cubicBezTo>
                    <a:pt x="2020" y="1630"/>
                    <a:pt x="2027" y="1664"/>
                    <a:pt x="2036" y="1660"/>
                  </a:cubicBezTo>
                  <a:cubicBezTo>
                    <a:pt x="2046" y="1657"/>
                    <a:pt x="2066" y="1626"/>
                    <a:pt x="2066" y="1626"/>
                  </a:cubicBezTo>
                  <a:cubicBezTo>
                    <a:pt x="2077" y="1636"/>
                    <a:pt x="2077" y="1636"/>
                    <a:pt x="2077" y="1636"/>
                  </a:cubicBezTo>
                  <a:cubicBezTo>
                    <a:pt x="2099" y="1629"/>
                    <a:pt x="2099" y="1629"/>
                    <a:pt x="2099" y="1629"/>
                  </a:cubicBezTo>
                  <a:cubicBezTo>
                    <a:pt x="2099" y="1629"/>
                    <a:pt x="2124" y="1636"/>
                    <a:pt x="2136" y="1629"/>
                  </a:cubicBezTo>
                  <a:cubicBezTo>
                    <a:pt x="2149" y="1622"/>
                    <a:pt x="2154" y="1619"/>
                    <a:pt x="2161" y="1614"/>
                  </a:cubicBezTo>
                  <a:cubicBezTo>
                    <a:pt x="2167" y="1609"/>
                    <a:pt x="2196" y="1584"/>
                    <a:pt x="2201" y="1574"/>
                  </a:cubicBezTo>
                  <a:cubicBezTo>
                    <a:pt x="2205" y="1564"/>
                    <a:pt x="2192" y="1544"/>
                    <a:pt x="2192" y="1544"/>
                  </a:cubicBezTo>
                  <a:cubicBezTo>
                    <a:pt x="2205" y="1544"/>
                    <a:pt x="2205" y="1544"/>
                    <a:pt x="2205" y="1544"/>
                  </a:cubicBezTo>
                  <a:cubicBezTo>
                    <a:pt x="2211" y="1524"/>
                    <a:pt x="2211" y="1524"/>
                    <a:pt x="2211" y="1524"/>
                  </a:cubicBezTo>
                  <a:cubicBezTo>
                    <a:pt x="2226" y="1525"/>
                    <a:pt x="2226" y="1525"/>
                    <a:pt x="2226" y="1525"/>
                  </a:cubicBezTo>
                  <a:cubicBezTo>
                    <a:pt x="2233" y="1500"/>
                    <a:pt x="2233" y="1500"/>
                    <a:pt x="2233" y="1500"/>
                  </a:cubicBezTo>
                  <a:cubicBezTo>
                    <a:pt x="2241" y="1500"/>
                    <a:pt x="2241" y="1500"/>
                    <a:pt x="2241" y="1500"/>
                  </a:cubicBezTo>
                  <a:cubicBezTo>
                    <a:pt x="2245" y="1473"/>
                    <a:pt x="2245" y="1473"/>
                    <a:pt x="2245" y="1473"/>
                  </a:cubicBezTo>
                  <a:cubicBezTo>
                    <a:pt x="2245" y="1473"/>
                    <a:pt x="2259" y="1478"/>
                    <a:pt x="2259" y="1456"/>
                  </a:cubicBezTo>
                  <a:cubicBezTo>
                    <a:pt x="2259" y="1434"/>
                    <a:pt x="2246" y="1437"/>
                    <a:pt x="2251" y="1429"/>
                  </a:cubicBezTo>
                  <a:cubicBezTo>
                    <a:pt x="2255" y="1420"/>
                    <a:pt x="2274" y="1423"/>
                    <a:pt x="2274" y="1405"/>
                  </a:cubicBezTo>
                  <a:cubicBezTo>
                    <a:pt x="2275" y="1388"/>
                    <a:pt x="2263" y="1388"/>
                    <a:pt x="2264" y="1381"/>
                  </a:cubicBezTo>
                  <a:cubicBezTo>
                    <a:pt x="2264" y="1373"/>
                    <a:pt x="2275" y="1370"/>
                    <a:pt x="2275" y="1370"/>
                  </a:cubicBezTo>
                  <a:cubicBezTo>
                    <a:pt x="2276" y="1344"/>
                    <a:pt x="2276" y="1344"/>
                    <a:pt x="2276" y="1344"/>
                  </a:cubicBezTo>
                  <a:cubicBezTo>
                    <a:pt x="2276" y="1344"/>
                    <a:pt x="2303" y="1336"/>
                    <a:pt x="2310" y="1320"/>
                  </a:cubicBezTo>
                  <a:cubicBezTo>
                    <a:pt x="2317" y="1304"/>
                    <a:pt x="2300" y="1303"/>
                    <a:pt x="2300" y="1303"/>
                  </a:cubicBezTo>
                  <a:cubicBezTo>
                    <a:pt x="2300" y="1303"/>
                    <a:pt x="2332" y="1298"/>
                    <a:pt x="2332" y="1289"/>
                  </a:cubicBezTo>
                  <a:cubicBezTo>
                    <a:pt x="2333" y="1280"/>
                    <a:pt x="2314" y="1275"/>
                    <a:pt x="2314" y="1275"/>
                  </a:cubicBezTo>
                  <a:cubicBezTo>
                    <a:pt x="2314" y="1275"/>
                    <a:pt x="2352" y="1241"/>
                    <a:pt x="2335" y="1231"/>
                  </a:cubicBezTo>
                  <a:cubicBezTo>
                    <a:pt x="2318" y="1222"/>
                    <a:pt x="2238" y="1244"/>
                    <a:pt x="2238" y="1244"/>
                  </a:cubicBezTo>
                  <a:cubicBezTo>
                    <a:pt x="2228" y="1233"/>
                    <a:pt x="2228" y="1233"/>
                    <a:pt x="2228" y="1233"/>
                  </a:cubicBezTo>
                  <a:cubicBezTo>
                    <a:pt x="2253" y="1232"/>
                    <a:pt x="2253" y="1232"/>
                    <a:pt x="2253" y="1232"/>
                  </a:cubicBezTo>
                  <a:cubicBezTo>
                    <a:pt x="2253" y="1232"/>
                    <a:pt x="2253" y="1217"/>
                    <a:pt x="2263" y="1213"/>
                  </a:cubicBezTo>
                  <a:cubicBezTo>
                    <a:pt x="2273" y="1209"/>
                    <a:pt x="2292" y="1207"/>
                    <a:pt x="2292" y="1207"/>
                  </a:cubicBezTo>
                  <a:cubicBezTo>
                    <a:pt x="2292" y="1207"/>
                    <a:pt x="2279" y="1183"/>
                    <a:pt x="2275" y="1182"/>
                  </a:cubicBezTo>
                  <a:cubicBezTo>
                    <a:pt x="2271" y="1181"/>
                    <a:pt x="2248" y="1175"/>
                    <a:pt x="2248" y="1175"/>
                  </a:cubicBezTo>
                  <a:cubicBezTo>
                    <a:pt x="2240" y="1164"/>
                    <a:pt x="2240" y="1164"/>
                    <a:pt x="2240" y="1164"/>
                  </a:cubicBezTo>
                  <a:cubicBezTo>
                    <a:pt x="2231" y="1165"/>
                    <a:pt x="2231" y="1165"/>
                    <a:pt x="2231" y="1165"/>
                  </a:cubicBezTo>
                  <a:cubicBezTo>
                    <a:pt x="2231" y="1165"/>
                    <a:pt x="2222" y="1153"/>
                    <a:pt x="2215" y="1152"/>
                  </a:cubicBezTo>
                  <a:cubicBezTo>
                    <a:pt x="2208" y="1151"/>
                    <a:pt x="2190" y="1157"/>
                    <a:pt x="2190" y="1157"/>
                  </a:cubicBezTo>
                  <a:cubicBezTo>
                    <a:pt x="2167" y="1126"/>
                    <a:pt x="2167" y="1126"/>
                    <a:pt x="2167" y="1126"/>
                  </a:cubicBezTo>
                  <a:cubicBezTo>
                    <a:pt x="2167" y="1126"/>
                    <a:pt x="2188" y="1147"/>
                    <a:pt x="2194" y="1145"/>
                  </a:cubicBezTo>
                  <a:cubicBezTo>
                    <a:pt x="2200" y="1143"/>
                    <a:pt x="2207" y="1139"/>
                    <a:pt x="2207" y="1139"/>
                  </a:cubicBezTo>
                  <a:cubicBezTo>
                    <a:pt x="2226" y="1144"/>
                    <a:pt x="2226" y="1144"/>
                    <a:pt x="2226" y="1144"/>
                  </a:cubicBezTo>
                  <a:cubicBezTo>
                    <a:pt x="2236" y="1155"/>
                    <a:pt x="2236" y="1155"/>
                    <a:pt x="2236" y="1155"/>
                  </a:cubicBezTo>
                  <a:cubicBezTo>
                    <a:pt x="2245" y="1151"/>
                    <a:pt x="2245" y="1151"/>
                    <a:pt x="2245" y="1151"/>
                  </a:cubicBezTo>
                  <a:cubicBezTo>
                    <a:pt x="2276" y="1161"/>
                    <a:pt x="2276" y="1161"/>
                    <a:pt x="2276" y="1161"/>
                  </a:cubicBezTo>
                  <a:cubicBezTo>
                    <a:pt x="2263" y="1144"/>
                    <a:pt x="2263" y="1144"/>
                    <a:pt x="2263" y="1144"/>
                  </a:cubicBezTo>
                  <a:cubicBezTo>
                    <a:pt x="2252" y="1142"/>
                    <a:pt x="2252" y="1142"/>
                    <a:pt x="2252" y="1142"/>
                  </a:cubicBezTo>
                  <a:cubicBezTo>
                    <a:pt x="2252" y="1142"/>
                    <a:pt x="2251" y="1120"/>
                    <a:pt x="2243" y="1119"/>
                  </a:cubicBezTo>
                  <a:cubicBezTo>
                    <a:pt x="2235" y="1118"/>
                    <a:pt x="2223" y="1115"/>
                    <a:pt x="2218" y="1111"/>
                  </a:cubicBezTo>
                  <a:cubicBezTo>
                    <a:pt x="2213" y="1107"/>
                    <a:pt x="2211" y="1088"/>
                    <a:pt x="2211" y="1088"/>
                  </a:cubicBezTo>
                  <a:cubicBezTo>
                    <a:pt x="2157" y="1022"/>
                    <a:pt x="2157" y="1022"/>
                    <a:pt x="2157" y="1022"/>
                  </a:cubicBezTo>
                  <a:cubicBezTo>
                    <a:pt x="2135" y="1016"/>
                    <a:pt x="2135" y="1016"/>
                    <a:pt x="2135" y="1016"/>
                  </a:cubicBezTo>
                  <a:cubicBezTo>
                    <a:pt x="2112" y="998"/>
                    <a:pt x="2112" y="998"/>
                    <a:pt x="2112" y="998"/>
                  </a:cubicBezTo>
                  <a:cubicBezTo>
                    <a:pt x="2097" y="1000"/>
                    <a:pt x="2097" y="1000"/>
                    <a:pt x="2097" y="1000"/>
                  </a:cubicBezTo>
                  <a:cubicBezTo>
                    <a:pt x="2097" y="1000"/>
                    <a:pt x="2084" y="975"/>
                    <a:pt x="2090" y="971"/>
                  </a:cubicBezTo>
                  <a:cubicBezTo>
                    <a:pt x="2096" y="967"/>
                    <a:pt x="2114" y="955"/>
                    <a:pt x="2114" y="946"/>
                  </a:cubicBezTo>
                  <a:cubicBezTo>
                    <a:pt x="2114" y="937"/>
                    <a:pt x="2107" y="919"/>
                    <a:pt x="2107" y="919"/>
                  </a:cubicBezTo>
                  <a:cubicBezTo>
                    <a:pt x="2107" y="919"/>
                    <a:pt x="2124" y="936"/>
                    <a:pt x="2132" y="930"/>
                  </a:cubicBezTo>
                  <a:cubicBezTo>
                    <a:pt x="2140" y="924"/>
                    <a:pt x="2131" y="897"/>
                    <a:pt x="2131" y="897"/>
                  </a:cubicBezTo>
                  <a:cubicBezTo>
                    <a:pt x="2146" y="898"/>
                    <a:pt x="2146" y="898"/>
                    <a:pt x="2146" y="898"/>
                  </a:cubicBezTo>
                  <a:cubicBezTo>
                    <a:pt x="2171" y="879"/>
                    <a:pt x="2171" y="879"/>
                    <a:pt x="2171" y="879"/>
                  </a:cubicBezTo>
                  <a:cubicBezTo>
                    <a:pt x="2171" y="879"/>
                    <a:pt x="2191" y="885"/>
                    <a:pt x="2196" y="884"/>
                  </a:cubicBezTo>
                  <a:cubicBezTo>
                    <a:pt x="2201" y="883"/>
                    <a:pt x="2192" y="869"/>
                    <a:pt x="2192" y="869"/>
                  </a:cubicBezTo>
                  <a:cubicBezTo>
                    <a:pt x="2196" y="853"/>
                    <a:pt x="2196" y="853"/>
                    <a:pt x="2196" y="853"/>
                  </a:cubicBezTo>
                  <a:cubicBezTo>
                    <a:pt x="2174" y="853"/>
                    <a:pt x="2174" y="853"/>
                    <a:pt x="2174" y="853"/>
                  </a:cubicBezTo>
                  <a:cubicBezTo>
                    <a:pt x="2166" y="846"/>
                    <a:pt x="2166" y="846"/>
                    <a:pt x="2166" y="846"/>
                  </a:cubicBezTo>
                  <a:cubicBezTo>
                    <a:pt x="2161" y="854"/>
                    <a:pt x="2161" y="854"/>
                    <a:pt x="2161" y="854"/>
                  </a:cubicBezTo>
                  <a:cubicBezTo>
                    <a:pt x="2140" y="851"/>
                    <a:pt x="2140" y="851"/>
                    <a:pt x="2140" y="851"/>
                  </a:cubicBezTo>
                  <a:cubicBezTo>
                    <a:pt x="2140" y="851"/>
                    <a:pt x="2124" y="833"/>
                    <a:pt x="2111" y="833"/>
                  </a:cubicBezTo>
                  <a:cubicBezTo>
                    <a:pt x="2098" y="833"/>
                    <a:pt x="2080" y="856"/>
                    <a:pt x="2079" y="861"/>
                  </a:cubicBezTo>
                  <a:cubicBezTo>
                    <a:pt x="2078" y="866"/>
                    <a:pt x="2074" y="875"/>
                    <a:pt x="2064" y="873"/>
                  </a:cubicBezTo>
                  <a:cubicBezTo>
                    <a:pt x="2054" y="871"/>
                    <a:pt x="2032" y="865"/>
                    <a:pt x="2030" y="851"/>
                  </a:cubicBezTo>
                  <a:cubicBezTo>
                    <a:pt x="2028" y="837"/>
                    <a:pt x="2020" y="820"/>
                    <a:pt x="2014" y="816"/>
                  </a:cubicBezTo>
                  <a:cubicBezTo>
                    <a:pt x="2008" y="812"/>
                    <a:pt x="2004" y="819"/>
                    <a:pt x="2004" y="819"/>
                  </a:cubicBezTo>
                  <a:cubicBezTo>
                    <a:pt x="2004" y="828"/>
                    <a:pt x="2004" y="828"/>
                    <a:pt x="2004" y="828"/>
                  </a:cubicBezTo>
                  <a:cubicBezTo>
                    <a:pt x="1996" y="816"/>
                    <a:pt x="1996" y="816"/>
                    <a:pt x="1996" y="816"/>
                  </a:cubicBezTo>
                  <a:cubicBezTo>
                    <a:pt x="1996" y="816"/>
                    <a:pt x="1968" y="819"/>
                    <a:pt x="1959" y="810"/>
                  </a:cubicBezTo>
                  <a:cubicBezTo>
                    <a:pt x="1950" y="801"/>
                    <a:pt x="1939" y="782"/>
                    <a:pt x="1942" y="776"/>
                  </a:cubicBezTo>
                  <a:cubicBezTo>
                    <a:pt x="1945" y="770"/>
                    <a:pt x="1944" y="760"/>
                    <a:pt x="1944" y="760"/>
                  </a:cubicBezTo>
                  <a:cubicBezTo>
                    <a:pt x="1955" y="759"/>
                    <a:pt x="1955" y="759"/>
                    <a:pt x="1955" y="759"/>
                  </a:cubicBezTo>
                  <a:cubicBezTo>
                    <a:pt x="1955" y="759"/>
                    <a:pt x="1961" y="768"/>
                    <a:pt x="1965" y="767"/>
                  </a:cubicBezTo>
                  <a:cubicBezTo>
                    <a:pt x="1969" y="766"/>
                    <a:pt x="1975" y="758"/>
                    <a:pt x="1975" y="758"/>
                  </a:cubicBezTo>
                  <a:cubicBezTo>
                    <a:pt x="1975" y="758"/>
                    <a:pt x="1988" y="766"/>
                    <a:pt x="1997" y="758"/>
                  </a:cubicBezTo>
                  <a:cubicBezTo>
                    <a:pt x="2006" y="750"/>
                    <a:pt x="1998" y="742"/>
                    <a:pt x="1998" y="742"/>
                  </a:cubicBezTo>
                  <a:cubicBezTo>
                    <a:pt x="1998" y="742"/>
                    <a:pt x="1997" y="718"/>
                    <a:pt x="2003" y="714"/>
                  </a:cubicBezTo>
                  <a:cubicBezTo>
                    <a:pt x="2009" y="710"/>
                    <a:pt x="2028" y="718"/>
                    <a:pt x="2032" y="707"/>
                  </a:cubicBezTo>
                  <a:cubicBezTo>
                    <a:pt x="2036" y="696"/>
                    <a:pt x="2037" y="683"/>
                    <a:pt x="2037" y="683"/>
                  </a:cubicBezTo>
                  <a:cubicBezTo>
                    <a:pt x="2049" y="676"/>
                    <a:pt x="2049" y="676"/>
                    <a:pt x="2049" y="676"/>
                  </a:cubicBezTo>
                  <a:cubicBezTo>
                    <a:pt x="2043" y="668"/>
                    <a:pt x="2043" y="668"/>
                    <a:pt x="2043" y="668"/>
                  </a:cubicBezTo>
                  <a:cubicBezTo>
                    <a:pt x="2068" y="675"/>
                    <a:pt x="2068" y="675"/>
                    <a:pt x="2068" y="675"/>
                  </a:cubicBezTo>
                  <a:cubicBezTo>
                    <a:pt x="2079" y="665"/>
                    <a:pt x="2079" y="665"/>
                    <a:pt x="2079" y="665"/>
                  </a:cubicBezTo>
                  <a:cubicBezTo>
                    <a:pt x="2079" y="665"/>
                    <a:pt x="2110" y="688"/>
                    <a:pt x="2108" y="702"/>
                  </a:cubicBezTo>
                  <a:cubicBezTo>
                    <a:pt x="2106" y="716"/>
                    <a:pt x="2088" y="719"/>
                    <a:pt x="2087" y="728"/>
                  </a:cubicBezTo>
                  <a:cubicBezTo>
                    <a:pt x="2086" y="737"/>
                    <a:pt x="2091" y="752"/>
                    <a:pt x="2098" y="752"/>
                  </a:cubicBezTo>
                  <a:cubicBezTo>
                    <a:pt x="2105" y="752"/>
                    <a:pt x="2114" y="749"/>
                    <a:pt x="2114" y="749"/>
                  </a:cubicBezTo>
                  <a:cubicBezTo>
                    <a:pt x="2109" y="767"/>
                    <a:pt x="2109" y="767"/>
                    <a:pt x="2109" y="767"/>
                  </a:cubicBezTo>
                  <a:cubicBezTo>
                    <a:pt x="2109" y="767"/>
                    <a:pt x="2090" y="784"/>
                    <a:pt x="2099" y="786"/>
                  </a:cubicBezTo>
                  <a:cubicBezTo>
                    <a:pt x="2108" y="788"/>
                    <a:pt x="2122" y="774"/>
                    <a:pt x="2122" y="774"/>
                  </a:cubicBezTo>
                  <a:cubicBezTo>
                    <a:pt x="2122" y="774"/>
                    <a:pt x="2126" y="775"/>
                    <a:pt x="2131" y="770"/>
                  </a:cubicBezTo>
                  <a:cubicBezTo>
                    <a:pt x="2136" y="765"/>
                    <a:pt x="2135" y="750"/>
                    <a:pt x="2135" y="750"/>
                  </a:cubicBezTo>
                  <a:cubicBezTo>
                    <a:pt x="2135" y="750"/>
                    <a:pt x="2176" y="729"/>
                    <a:pt x="2180" y="726"/>
                  </a:cubicBezTo>
                  <a:cubicBezTo>
                    <a:pt x="2184" y="723"/>
                    <a:pt x="2205" y="725"/>
                    <a:pt x="2205" y="725"/>
                  </a:cubicBezTo>
                  <a:cubicBezTo>
                    <a:pt x="2212" y="714"/>
                    <a:pt x="2212" y="714"/>
                    <a:pt x="2212" y="714"/>
                  </a:cubicBezTo>
                  <a:cubicBezTo>
                    <a:pt x="2210" y="712"/>
                    <a:pt x="2208" y="706"/>
                    <a:pt x="2218" y="698"/>
                  </a:cubicBezTo>
                  <a:cubicBezTo>
                    <a:pt x="2230" y="688"/>
                    <a:pt x="2237" y="687"/>
                    <a:pt x="2252" y="675"/>
                  </a:cubicBezTo>
                  <a:cubicBezTo>
                    <a:pt x="2267" y="663"/>
                    <a:pt x="2262" y="625"/>
                    <a:pt x="2266" y="623"/>
                  </a:cubicBezTo>
                  <a:cubicBezTo>
                    <a:pt x="2270" y="621"/>
                    <a:pt x="2285" y="632"/>
                    <a:pt x="2292" y="637"/>
                  </a:cubicBezTo>
                  <a:cubicBezTo>
                    <a:pt x="2299" y="642"/>
                    <a:pt x="2339" y="641"/>
                    <a:pt x="2339" y="641"/>
                  </a:cubicBezTo>
                  <a:cubicBezTo>
                    <a:pt x="2340" y="631"/>
                    <a:pt x="2340" y="631"/>
                    <a:pt x="2340" y="631"/>
                  </a:cubicBezTo>
                  <a:cubicBezTo>
                    <a:pt x="2340" y="631"/>
                    <a:pt x="2312" y="618"/>
                    <a:pt x="2318" y="610"/>
                  </a:cubicBezTo>
                  <a:cubicBezTo>
                    <a:pt x="2324" y="602"/>
                    <a:pt x="2348" y="618"/>
                    <a:pt x="2358" y="609"/>
                  </a:cubicBezTo>
                  <a:cubicBezTo>
                    <a:pt x="2368" y="600"/>
                    <a:pt x="2358" y="588"/>
                    <a:pt x="2358" y="588"/>
                  </a:cubicBezTo>
                  <a:cubicBezTo>
                    <a:pt x="2358" y="588"/>
                    <a:pt x="2374" y="592"/>
                    <a:pt x="2376" y="587"/>
                  </a:cubicBezTo>
                  <a:cubicBezTo>
                    <a:pt x="2378" y="582"/>
                    <a:pt x="2365" y="560"/>
                    <a:pt x="2365" y="560"/>
                  </a:cubicBezTo>
                  <a:cubicBezTo>
                    <a:pt x="2387" y="560"/>
                    <a:pt x="2387" y="560"/>
                    <a:pt x="2387" y="560"/>
                  </a:cubicBezTo>
                  <a:cubicBezTo>
                    <a:pt x="2397" y="577"/>
                    <a:pt x="2397" y="577"/>
                    <a:pt x="2397" y="577"/>
                  </a:cubicBezTo>
                  <a:cubicBezTo>
                    <a:pt x="2404" y="559"/>
                    <a:pt x="2404" y="559"/>
                    <a:pt x="2404" y="559"/>
                  </a:cubicBezTo>
                  <a:cubicBezTo>
                    <a:pt x="2421" y="563"/>
                    <a:pt x="2421" y="563"/>
                    <a:pt x="2421" y="563"/>
                  </a:cubicBezTo>
                  <a:cubicBezTo>
                    <a:pt x="2420" y="540"/>
                    <a:pt x="2420" y="540"/>
                    <a:pt x="2420" y="540"/>
                  </a:cubicBezTo>
                  <a:cubicBezTo>
                    <a:pt x="2420" y="540"/>
                    <a:pt x="2409" y="529"/>
                    <a:pt x="2407" y="523"/>
                  </a:cubicBezTo>
                  <a:cubicBezTo>
                    <a:pt x="2405" y="517"/>
                    <a:pt x="2401" y="498"/>
                    <a:pt x="2387" y="485"/>
                  </a:cubicBezTo>
                  <a:cubicBezTo>
                    <a:pt x="2373" y="472"/>
                    <a:pt x="2358" y="471"/>
                    <a:pt x="2361" y="461"/>
                  </a:cubicBezTo>
                  <a:cubicBezTo>
                    <a:pt x="2364" y="451"/>
                    <a:pt x="2377" y="460"/>
                    <a:pt x="2379" y="455"/>
                  </a:cubicBezTo>
                  <a:cubicBezTo>
                    <a:pt x="2381" y="450"/>
                    <a:pt x="2369" y="444"/>
                    <a:pt x="2380" y="439"/>
                  </a:cubicBezTo>
                  <a:cubicBezTo>
                    <a:pt x="2391" y="434"/>
                    <a:pt x="2427" y="457"/>
                    <a:pt x="2434" y="451"/>
                  </a:cubicBezTo>
                  <a:cubicBezTo>
                    <a:pt x="2441" y="445"/>
                    <a:pt x="2439" y="444"/>
                    <a:pt x="2434" y="432"/>
                  </a:cubicBezTo>
                  <a:cubicBezTo>
                    <a:pt x="2429" y="420"/>
                    <a:pt x="2441" y="416"/>
                    <a:pt x="2441" y="416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25" name="Freeform 41"/>
            <p:cNvSpPr>
              <a:spLocks/>
            </p:cNvSpPr>
            <p:nvPr/>
          </p:nvSpPr>
          <p:spPr bwMode="auto">
            <a:xfrm>
              <a:off x="2920" y="2011"/>
              <a:ext cx="12" cy="13"/>
            </a:xfrm>
            <a:custGeom>
              <a:avLst/>
              <a:gdLst>
                <a:gd name="T0" fmla="*/ 0 w 34"/>
                <a:gd name="T1" fmla="*/ 0 h 33"/>
                <a:gd name="T2" fmla="*/ 0 w 34"/>
                <a:gd name="T3" fmla="*/ 0 h 33"/>
                <a:gd name="T4" fmla="*/ 0 w 34"/>
                <a:gd name="T5" fmla="*/ 0 h 33"/>
                <a:gd name="T6" fmla="*/ 0 60000 65536"/>
                <a:gd name="T7" fmla="*/ 0 60000 65536"/>
                <a:gd name="T8" fmla="*/ 0 60000 65536"/>
                <a:gd name="T9" fmla="*/ 0 w 34"/>
                <a:gd name="T10" fmla="*/ 0 h 33"/>
                <a:gd name="T11" fmla="*/ 34 w 34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4" h="33">
                  <a:moveTo>
                    <a:pt x="23" y="33"/>
                  </a:moveTo>
                  <a:cubicBezTo>
                    <a:pt x="34" y="20"/>
                    <a:pt x="16" y="0"/>
                    <a:pt x="8" y="14"/>
                  </a:cubicBezTo>
                  <a:cubicBezTo>
                    <a:pt x="0" y="28"/>
                    <a:pt x="23" y="33"/>
                    <a:pt x="23" y="33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26" name="Freeform 42"/>
            <p:cNvSpPr>
              <a:spLocks/>
            </p:cNvSpPr>
            <p:nvPr/>
          </p:nvSpPr>
          <p:spPr bwMode="auto">
            <a:xfrm>
              <a:off x="3229" y="2027"/>
              <a:ext cx="37" cy="23"/>
            </a:xfrm>
            <a:custGeom>
              <a:avLst/>
              <a:gdLst>
                <a:gd name="T0" fmla="*/ 0 w 98"/>
                <a:gd name="T1" fmla="*/ 0 h 60"/>
                <a:gd name="T2" fmla="*/ 0 w 98"/>
                <a:gd name="T3" fmla="*/ 0 h 60"/>
                <a:gd name="T4" fmla="*/ 0 w 98"/>
                <a:gd name="T5" fmla="*/ 0 h 60"/>
                <a:gd name="T6" fmla="*/ 0 w 98"/>
                <a:gd name="T7" fmla="*/ 0 h 60"/>
                <a:gd name="T8" fmla="*/ 0 w 98"/>
                <a:gd name="T9" fmla="*/ 0 h 60"/>
                <a:gd name="T10" fmla="*/ 0 w 98"/>
                <a:gd name="T11" fmla="*/ 0 h 60"/>
                <a:gd name="T12" fmla="*/ 0 w 98"/>
                <a:gd name="T13" fmla="*/ 0 h 60"/>
                <a:gd name="T14" fmla="*/ 0 w 98"/>
                <a:gd name="T15" fmla="*/ 0 h 60"/>
                <a:gd name="T16" fmla="*/ 0 w 98"/>
                <a:gd name="T17" fmla="*/ 0 h 60"/>
                <a:gd name="T18" fmla="*/ 0 w 98"/>
                <a:gd name="T19" fmla="*/ 0 h 6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8"/>
                <a:gd name="T31" fmla="*/ 0 h 60"/>
                <a:gd name="T32" fmla="*/ 98 w 98"/>
                <a:gd name="T33" fmla="*/ 60 h 6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8" h="60">
                  <a:moveTo>
                    <a:pt x="1" y="31"/>
                  </a:moveTo>
                  <a:cubicBezTo>
                    <a:pt x="2" y="45"/>
                    <a:pt x="29" y="60"/>
                    <a:pt x="36" y="57"/>
                  </a:cubicBezTo>
                  <a:cubicBezTo>
                    <a:pt x="43" y="54"/>
                    <a:pt x="61" y="38"/>
                    <a:pt x="61" y="38"/>
                  </a:cubicBezTo>
                  <a:cubicBezTo>
                    <a:pt x="61" y="38"/>
                    <a:pt x="77" y="45"/>
                    <a:pt x="80" y="39"/>
                  </a:cubicBezTo>
                  <a:cubicBezTo>
                    <a:pt x="84" y="33"/>
                    <a:pt x="77" y="24"/>
                    <a:pt x="77" y="24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1" y="17"/>
                    <a:pt x="47" y="13"/>
                    <a:pt x="38" y="15"/>
                  </a:cubicBezTo>
                  <a:cubicBezTo>
                    <a:pt x="29" y="17"/>
                    <a:pt x="32" y="26"/>
                    <a:pt x="32" y="26"/>
                  </a:cubicBezTo>
                  <a:cubicBezTo>
                    <a:pt x="32" y="26"/>
                    <a:pt x="0" y="20"/>
                    <a:pt x="1" y="3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27" name="Freeform 43"/>
            <p:cNvSpPr>
              <a:spLocks/>
            </p:cNvSpPr>
            <p:nvPr/>
          </p:nvSpPr>
          <p:spPr bwMode="auto">
            <a:xfrm>
              <a:off x="2385" y="1426"/>
              <a:ext cx="150" cy="58"/>
            </a:xfrm>
            <a:custGeom>
              <a:avLst/>
              <a:gdLst>
                <a:gd name="T0" fmla="*/ 0 w 396"/>
                <a:gd name="T1" fmla="*/ 0 h 152"/>
                <a:gd name="T2" fmla="*/ 0 w 396"/>
                <a:gd name="T3" fmla="*/ 0 h 152"/>
                <a:gd name="T4" fmla="*/ 0 w 396"/>
                <a:gd name="T5" fmla="*/ 0 h 152"/>
                <a:gd name="T6" fmla="*/ 0 w 396"/>
                <a:gd name="T7" fmla="*/ 0 h 152"/>
                <a:gd name="T8" fmla="*/ 0 w 396"/>
                <a:gd name="T9" fmla="*/ 0 h 152"/>
                <a:gd name="T10" fmla="*/ 0 w 396"/>
                <a:gd name="T11" fmla="*/ 0 h 152"/>
                <a:gd name="T12" fmla="*/ 0 w 396"/>
                <a:gd name="T13" fmla="*/ 0 h 152"/>
                <a:gd name="T14" fmla="*/ 0 w 396"/>
                <a:gd name="T15" fmla="*/ 0 h 152"/>
                <a:gd name="T16" fmla="*/ 0 w 396"/>
                <a:gd name="T17" fmla="*/ 0 h 152"/>
                <a:gd name="T18" fmla="*/ 0 w 396"/>
                <a:gd name="T19" fmla="*/ 0 h 152"/>
                <a:gd name="T20" fmla="*/ 0 w 396"/>
                <a:gd name="T21" fmla="*/ 0 h 152"/>
                <a:gd name="T22" fmla="*/ 0 w 396"/>
                <a:gd name="T23" fmla="*/ 0 h 152"/>
                <a:gd name="T24" fmla="*/ 0 w 396"/>
                <a:gd name="T25" fmla="*/ 0 h 152"/>
                <a:gd name="T26" fmla="*/ 0 w 396"/>
                <a:gd name="T27" fmla="*/ 0 h 152"/>
                <a:gd name="T28" fmla="*/ 0 w 396"/>
                <a:gd name="T29" fmla="*/ 0 h 152"/>
                <a:gd name="T30" fmla="*/ 0 w 396"/>
                <a:gd name="T31" fmla="*/ 0 h 152"/>
                <a:gd name="T32" fmla="*/ 0 w 396"/>
                <a:gd name="T33" fmla="*/ 0 h 152"/>
                <a:gd name="T34" fmla="*/ 0 w 396"/>
                <a:gd name="T35" fmla="*/ 0 h 152"/>
                <a:gd name="T36" fmla="*/ 0 w 396"/>
                <a:gd name="T37" fmla="*/ 0 h 152"/>
                <a:gd name="T38" fmla="*/ 0 w 396"/>
                <a:gd name="T39" fmla="*/ 0 h 152"/>
                <a:gd name="T40" fmla="*/ 0 w 396"/>
                <a:gd name="T41" fmla="*/ 0 h 152"/>
                <a:gd name="T42" fmla="*/ 0 w 396"/>
                <a:gd name="T43" fmla="*/ 0 h 152"/>
                <a:gd name="T44" fmla="*/ 0 w 396"/>
                <a:gd name="T45" fmla="*/ 0 h 152"/>
                <a:gd name="T46" fmla="*/ 0 w 396"/>
                <a:gd name="T47" fmla="*/ 0 h 152"/>
                <a:gd name="T48" fmla="*/ 0 w 396"/>
                <a:gd name="T49" fmla="*/ 0 h 152"/>
                <a:gd name="T50" fmla="*/ 0 w 396"/>
                <a:gd name="T51" fmla="*/ 0 h 152"/>
                <a:gd name="T52" fmla="*/ 0 w 396"/>
                <a:gd name="T53" fmla="*/ 0 h 152"/>
                <a:gd name="T54" fmla="*/ 0 w 396"/>
                <a:gd name="T55" fmla="*/ 0 h 152"/>
                <a:gd name="T56" fmla="*/ 0 w 396"/>
                <a:gd name="T57" fmla="*/ 0 h 152"/>
                <a:gd name="T58" fmla="*/ 0 w 396"/>
                <a:gd name="T59" fmla="*/ 0 h 152"/>
                <a:gd name="T60" fmla="*/ 0 w 396"/>
                <a:gd name="T61" fmla="*/ 0 h 152"/>
                <a:gd name="T62" fmla="*/ 0 w 396"/>
                <a:gd name="T63" fmla="*/ 0 h 152"/>
                <a:gd name="T64" fmla="*/ 0 w 396"/>
                <a:gd name="T65" fmla="*/ 0 h 15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96"/>
                <a:gd name="T100" fmla="*/ 0 h 152"/>
                <a:gd name="T101" fmla="*/ 396 w 396"/>
                <a:gd name="T102" fmla="*/ 152 h 15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96" h="152">
                  <a:moveTo>
                    <a:pt x="172" y="150"/>
                  </a:moveTo>
                  <a:cubicBezTo>
                    <a:pt x="200" y="143"/>
                    <a:pt x="200" y="149"/>
                    <a:pt x="207" y="144"/>
                  </a:cubicBezTo>
                  <a:cubicBezTo>
                    <a:pt x="214" y="139"/>
                    <a:pt x="211" y="131"/>
                    <a:pt x="211" y="131"/>
                  </a:cubicBezTo>
                  <a:cubicBezTo>
                    <a:pt x="211" y="131"/>
                    <a:pt x="230" y="139"/>
                    <a:pt x="238" y="136"/>
                  </a:cubicBezTo>
                  <a:cubicBezTo>
                    <a:pt x="246" y="133"/>
                    <a:pt x="246" y="126"/>
                    <a:pt x="246" y="126"/>
                  </a:cubicBezTo>
                  <a:cubicBezTo>
                    <a:pt x="246" y="126"/>
                    <a:pt x="257" y="130"/>
                    <a:pt x="262" y="130"/>
                  </a:cubicBezTo>
                  <a:cubicBezTo>
                    <a:pt x="267" y="130"/>
                    <a:pt x="305" y="107"/>
                    <a:pt x="313" y="106"/>
                  </a:cubicBezTo>
                  <a:cubicBezTo>
                    <a:pt x="321" y="105"/>
                    <a:pt x="332" y="112"/>
                    <a:pt x="339" y="105"/>
                  </a:cubicBezTo>
                  <a:cubicBezTo>
                    <a:pt x="346" y="98"/>
                    <a:pt x="347" y="87"/>
                    <a:pt x="347" y="87"/>
                  </a:cubicBezTo>
                  <a:cubicBezTo>
                    <a:pt x="347" y="87"/>
                    <a:pt x="354" y="87"/>
                    <a:pt x="363" y="83"/>
                  </a:cubicBezTo>
                  <a:cubicBezTo>
                    <a:pt x="372" y="79"/>
                    <a:pt x="383" y="69"/>
                    <a:pt x="383" y="69"/>
                  </a:cubicBezTo>
                  <a:cubicBezTo>
                    <a:pt x="373" y="68"/>
                    <a:pt x="373" y="68"/>
                    <a:pt x="373" y="68"/>
                  </a:cubicBezTo>
                  <a:cubicBezTo>
                    <a:pt x="373" y="68"/>
                    <a:pt x="396" y="57"/>
                    <a:pt x="382" y="50"/>
                  </a:cubicBezTo>
                  <a:cubicBezTo>
                    <a:pt x="368" y="43"/>
                    <a:pt x="356" y="50"/>
                    <a:pt x="356" y="50"/>
                  </a:cubicBezTo>
                  <a:cubicBezTo>
                    <a:pt x="359" y="40"/>
                    <a:pt x="359" y="40"/>
                    <a:pt x="359" y="40"/>
                  </a:cubicBezTo>
                  <a:cubicBezTo>
                    <a:pt x="341" y="41"/>
                    <a:pt x="341" y="41"/>
                    <a:pt x="341" y="41"/>
                  </a:cubicBezTo>
                  <a:cubicBezTo>
                    <a:pt x="351" y="26"/>
                    <a:pt x="351" y="26"/>
                    <a:pt x="351" y="26"/>
                  </a:cubicBezTo>
                  <a:cubicBezTo>
                    <a:pt x="342" y="24"/>
                    <a:pt x="342" y="24"/>
                    <a:pt x="342" y="24"/>
                  </a:cubicBezTo>
                  <a:cubicBezTo>
                    <a:pt x="346" y="12"/>
                    <a:pt x="346" y="12"/>
                    <a:pt x="346" y="12"/>
                  </a:cubicBezTo>
                  <a:cubicBezTo>
                    <a:pt x="325" y="17"/>
                    <a:pt x="325" y="17"/>
                    <a:pt x="325" y="17"/>
                  </a:cubicBezTo>
                  <a:cubicBezTo>
                    <a:pt x="325" y="17"/>
                    <a:pt x="304" y="0"/>
                    <a:pt x="297" y="0"/>
                  </a:cubicBezTo>
                  <a:cubicBezTo>
                    <a:pt x="290" y="0"/>
                    <a:pt x="294" y="16"/>
                    <a:pt x="294" y="16"/>
                  </a:cubicBezTo>
                  <a:cubicBezTo>
                    <a:pt x="280" y="22"/>
                    <a:pt x="280" y="22"/>
                    <a:pt x="280" y="22"/>
                  </a:cubicBezTo>
                  <a:cubicBezTo>
                    <a:pt x="280" y="22"/>
                    <a:pt x="268" y="19"/>
                    <a:pt x="262" y="19"/>
                  </a:cubicBezTo>
                  <a:cubicBezTo>
                    <a:pt x="256" y="19"/>
                    <a:pt x="249" y="29"/>
                    <a:pt x="249" y="29"/>
                  </a:cubicBezTo>
                  <a:cubicBezTo>
                    <a:pt x="249" y="29"/>
                    <a:pt x="233" y="17"/>
                    <a:pt x="227" y="19"/>
                  </a:cubicBezTo>
                  <a:cubicBezTo>
                    <a:pt x="221" y="21"/>
                    <a:pt x="226" y="41"/>
                    <a:pt x="226" y="41"/>
                  </a:cubicBezTo>
                  <a:cubicBezTo>
                    <a:pt x="226" y="41"/>
                    <a:pt x="208" y="16"/>
                    <a:pt x="201" y="16"/>
                  </a:cubicBezTo>
                  <a:cubicBezTo>
                    <a:pt x="194" y="16"/>
                    <a:pt x="198" y="23"/>
                    <a:pt x="198" y="23"/>
                  </a:cubicBezTo>
                  <a:cubicBezTo>
                    <a:pt x="198" y="23"/>
                    <a:pt x="183" y="23"/>
                    <a:pt x="182" y="26"/>
                  </a:cubicBezTo>
                  <a:cubicBezTo>
                    <a:pt x="181" y="29"/>
                    <a:pt x="181" y="38"/>
                    <a:pt x="181" y="38"/>
                  </a:cubicBezTo>
                  <a:cubicBezTo>
                    <a:pt x="171" y="39"/>
                    <a:pt x="171" y="39"/>
                    <a:pt x="171" y="39"/>
                  </a:cubicBezTo>
                  <a:cubicBezTo>
                    <a:pt x="171" y="39"/>
                    <a:pt x="155" y="18"/>
                    <a:pt x="150" y="22"/>
                  </a:cubicBezTo>
                  <a:cubicBezTo>
                    <a:pt x="145" y="26"/>
                    <a:pt x="150" y="49"/>
                    <a:pt x="145" y="50"/>
                  </a:cubicBezTo>
                  <a:cubicBezTo>
                    <a:pt x="140" y="51"/>
                    <a:pt x="133" y="42"/>
                    <a:pt x="129" y="42"/>
                  </a:cubicBezTo>
                  <a:cubicBezTo>
                    <a:pt x="125" y="42"/>
                    <a:pt x="112" y="63"/>
                    <a:pt x="112" y="63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18" y="35"/>
                    <a:pt x="112" y="26"/>
                  </a:cubicBezTo>
                  <a:cubicBezTo>
                    <a:pt x="106" y="17"/>
                    <a:pt x="73" y="3"/>
                    <a:pt x="68" y="7"/>
                  </a:cubicBezTo>
                  <a:cubicBezTo>
                    <a:pt x="63" y="11"/>
                    <a:pt x="69" y="26"/>
                    <a:pt x="69" y="26"/>
                  </a:cubicBezTo>
                  <a:cubicBezTo>
                    <a:pt x="69" y="26"/>
                    <a:pt x="49" y="19"/>
                    <a:pt x="43" y="19"/>
                  </a:cubicBezTo>
                  <a:cubicBezTo>
                    <a:pt x="37" y="19"/>
                    <a:pt x="25" y="31"/>
                    <a:pt x="25" y="31"/>
                  </a:cubicBezTo>
                  <a:cubicBezTo>
                    <a:pt x="35" y="37"/>
                    <a:pt x="35" y="37"/>
                    <a:pt x="35" y="37"/>
                  </a:cubicBezTo>
                  <a:cubicBezTo>
                    <a:pt x="35" y="37"/>
                    <a:pt x="23" y="35"/>
                    <a:pt x="17" y="41"/>
                  </a:cubicBezTo>
                  <a:cubicBezTo>
                    <a:pt x="11" y="47"/>
                    <a:pt x="4" y="47"/>
                    <a:pt x="4" y="47"/>
                  </a:cubicBezTo>
                  <a:cubicBezTo>
                    <a:pt x="4" y="47"/>
                    <a:pt x="12" y="54"/>
                    <a:pt x="20" y="54"/>
                  </a:cubicBezTo>
                  <a:cubicBezTo>
                    <a:pt x="28" y="54"/>
                    <a:pt x="55" y="43"/>
                    <a:pt x="55" y="43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84" y="64"/>
                    <a:pt x="84" y="68"/>
                  </a:cubicBezTo>
                  <a:cubicBezTo>
                    <a:pt x="84" y="72"/>
                    <a:pt x="39" y="72"/>
                    <a:pt x="35" y="73"/>
                  </a:cubicBezTo>
                  <a:cubicBezTo>
                    <a:pt x="31" y="74"/>
                    <a:pt x="0" y="72"/>
                    <a:pt x="6" y="79"/>
                  </a:cubicBezTo>
                  <a:cubicBezTo>
                    <a:pt x="12" y="86"/>
                    <a:pt x="25" y="81"/>
                    <a:pt x="38" y="82"/>
                  </a:cubicBezTo>
                  <a:cubicBezTo>
                    <a:pt x="51" y="83"/>
                    <a:pt x="65" y="95"/>
                    <a:pt x="65" y="95"/>
                  </a:cubicBezTo>
                  <a:cubicBezTo>
                    <a:pt x="88" y="91"/>
                    <a:pt x="88" y="91"/>
                    <a:pt x="88" y="91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5" y="105"/>
                    <a:pt x="82" y="114"/>
                    <a:pt x="75" y="118"/>
                  </a:cubicBezTo>
                  <a:cubicBezTo>
                    <a:pt x="68" y="122"/>
                    <a:pt x="35" y="116"/>
                    <a:pt x="41" y="125"/>
                  </a:cubicBezTo>
                  <a:cubicBezTo>
                    <a:pt x="47" y="134"/>
                    <a:pt x="75" y="130"/>
                    <a:pt x="82" y="130"/>
                  </a:cubicBezTo>
                  <a:cubicBezTo>
                    <a:pt x="89" y="130"/>
                    <a:pt x="98" y="123"/>
                    <a:pt x="98" y="123"/>
                  </a:cubicBezTo>
                  <a:cubicBezTo>
                    <a:pt x="116" y="134"/>
                    <a:pt x="116" y="134"/>
                    <a:pt x="116" y="134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4" y="127"/>
                    <a:pt x="121" y="133"/>
                    <a:pt x="131" y="138"/>
                  </a:cubicBezTo>
                  <a:cubicBezTo>
                    <a:pt x="141" y="143"/>
                    <a:pt x="164" y="152"/>
                    <a:pt x="172" y="150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28" name="Freeform 44"/>
            <p:cNvSpPr>
              <a:spLocks/>
            </p:cNvSpPr>
            <p:nvPr/>
          </p:nvSpPr>
          <p:spPr bwMode="auto">
            <a:xfrm>
              <a:off x="3583" y="2212"/>
              <a:ext cx="85" cy="81"/>
            </a:xfrm>
            <a:custGeom>
              <a:avLst/>
              <a:gdLst>
                <a:gd name="T0" fmla="*/ 0 w 224"/>
                <a:gd name="T1" fmla="*/ 0 h 215"/>
                <a:gd name="T2" fmla="*/ 0 w 224"/>
                <a:gd name="T3" fmla="*/ 0 h 215"/>
                <a:gd name="T4" fmla="*/ 0 w 224"/>
                <a:gd name="T5" fmla="*/ 0 h 215"/>
                <a:gd name="T6" fmla="*/ 0 w 224"/>
                <a:gd name="T7" fmla="*/ 0 h 215"/>
                <a:gd name="T8" fmla="*/ 0 w 224"/>
                <a:gd name="T9" fmla="*/ 0 h 215"/>
                <a:gd name="T10" fmla="*/ 0 w 224"/>
                <a:gd name="T11" fmla="*/ 0 h 215"/>
                <a:gd name="T12" fmla="*/ 0 w 224"/>
                <a:gd name="T13" fmla="*/ 0 h 215"/>
                <a:gd name="T14" fmla="*/ 0 w 224"/>
                <a:gd name="T15" fmla="*/ 0 h 215"/>
                <a:gd name="T16" fmla="*/ 0 w 224"/>
                <a:gd name="T17" fmla="*/ 0 h 215"/>
                <a:gd name="T18" fmla="*/ 0 w 224"/>
                <a:gd name="T19" fmla="*/ 0 h 215"/>
                <a:gd name="T20" fmla="*/ 0 w 224"/>
                <a:gd name="T21" fmla="*/ 0 h 215"/>
                <a:gd name="T22" fmla="*/ 0 w 224"/>
                <a:gd name="T23" fmla="*/ 0 h 215"/>
                <a:gd name="T24" fmla="*/ 0 w 224"/>
                <a:gd name="T25" fmla="*/ 0 h 215"/>
                <a:gd name="T26" fmla="*/ 0 w 224"/>
                <a:gd name="T27" fmla="*/ 0 h 215"/>
                <a:gd name="T28" fmla="*/ 0 w 224"/>
                <a:gd name="T29" fmla="*/ 0 h 215"/>
                <a:gd name="T30" fmla="*/ 0 w 224"/>
                <a:gd name="T31" fmla="*/ 0 h 215"/>
                <a:gd name="T32" fmla="*/ 0 w 224"/>
                <a:gd name="T33" fmla="*/ 0 h 215"/>
                <a:gd name="T34" fmla="*/ 0 w 224"/>
                <a:gd name="T35" fmla="*/ 0 h 215"/>
                <a:gd name="T36" fmla="*/ 0 w 224"/>
                <a:gd name="T37" fmla="*/ 0 h 215"/>
                <a:gd name="T38" fmla="*/ 0 w 224"/>
                <a:gd name="T39" fmla="*/ 0 h 215"/>
                <a:gd name="T40" fmla="*/ 0 w 224"/>
                <a:gd name="T41" fmla="*/ 0 h 21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24"/>
                <a:gd name="T64" fmla="*/ 0 h 215"/>
                <a:gd name="T65" fmla="*/ 224 w 224"/>
                <a:gd name="T66" fmla="*/ 215 h 21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24" h="215">
                  <a:moveTo>
                    <a:pt x="198" y="84"/>
                  </a:moveTo>
                  <a:cubicBezTo>
                    <a:pt x="202" y="84"/>
                    <a:pt x="208" y="97"/>
                    <a:pt x="208" y="97"/>
                  </a:cubicBezTo>
                  <a:cubicBezTo>
                    <a:pt x="224" y="91"/>
                    <a:pt x="224" y="91"/>
                    <a:pt x="224" y="91"/>
                  </a:cubicBezTo>
                  <a:cubicBezTo>
                    <a:pt x="219" y="78"/>
                    <a:pt x="212" y="63"/>
                    <a:pt x="214" y="51"/>
                  </a:cubicBezTo>
                  <a:cubicBezTo>
                    <a:pt x="217" y="34"/>
                    <a:pt x="222" y="6"/>
                    <a:pt x="215" y="3"/>
                  </a:cubicBezTo>
                  <a:cubicBezTo>
                    <a:pt x="207" y="0"/>
                    <a:pt x="186" y="51"/>
                    <a:pt x="186" y="51"/>
                  </a:cubicBezTo>
                  <a:cubicBezTo>
                    <a:pt x="186" y="51"/>
                    <a:pt x="172" y="53"/>
                    <a:pt x="166" y="61"/>
                  </a:cubicBezTo>
                  <a:cubicBezTo>
                    <a:pt x="161" y="70"/>
                    <a:pt x="131" y="102"/>
                    <a:pt x="131" y="102"/>
                  </a:cubicBezTo>
                  <a:cubicBezTo>
                    <a:pt x="131" y="102"/>
                    <a:pt x="131" y="130"/>
                    <a:pt x="122" y="131"/>
                  </a:cubicBezTo>
                  <a:cubicBezTo>
                    <a:pt x="113" y="132"/>
                    <a:pt x="69" y="127"/>
                    <a:pt x="62" y="127"/>
                  </a:cubicBezTo>
                  <a:cubicBezTo>
                    <a:pt x="56" y="127"/>
                    <a:pt x="25" y="144"/>
                    <a:pt x="16" y="140"/>
                  </a:cubicBezTo>
                  <a:cubicBezTo>
                    <a:pt x="11" y="138"/>
                    <a:pt x="5" y="132"/>
                    <a:pt x="1" y="127"/>
                  </a:cubicBezTo>
                  <a:cubicBezTo>
                    <a:pt x="0" y="132"/>
                    <a:pt x="0" y="140"/>
                    <a:pt x="5" y="145"/>
                  </a:cubicBezTo>
                  <a:cubicBezTo>
                    <a:pt x="12" y="152"/>
                    <a:pt x="49" y="200"/>
                    <a:pt x="52" y="200"/>
                  </a:cubicBezTo>
                  <a:cubicBezTo>
                    <a:pt x="54" y="200"/>
                    <a:pt x="143" y="211"/>
                    <a:pt x="177" y="215"/>
                  </a:cubicBezTo>
                  <a:cubicBezTo>
                    <a:pt x="173" y="207"/>
                    <a:pt x="168" y="196"/>
                    <a:pt x="168" y="192"/>
                  </a:cubicBezTo>
                  <a:cubicBezTo>
                    <a:pt x="168" y="186"/>
                    <a:pt x="181" y="163"/>
                    <a:pt x="181" y="163"/>
                  </a:cubicBezTo>
                  <a:cubicBezTo>
                    <a:pt x="181" y="163"/>
                    <a:pt x="187" y="143"/>
                    <a:pt x="189" y="136"/>
                  </a:cubicBezTo>
                  <a:cubicBezTo>
                    <a:pt x="191" y="129"/>
                    <a:pt x="197" y="137"/>
                    <a:pt x="201" y="135"/>
                  </a:cubicBezTo>
                  <a:cubicBezTo>
                    <a:pt x="205" y="133"/>
                    <a:pt x="195" y="122"/>
                    <a:pt x="191" y="118"/>
                  </a:cubicBezTo>
                  <a:cubicBezTo>
                    <a:pt x="187" y="114"/>
                    <a:pt x="194" y="84"/>
                    <a:pt x="198" y="84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29" name="Freeform 45"/>
            <p:cNvSpPr>
              <a:spLocks/>
            </p:cNvSpPr>
            <p:nvPr/>
          </p:nvSpPr>
          <p:spPr bwMode="auto">
            <a:xfrm>
              <a:off x="3598" y="2243"/>
              <a:ext cx="138" cy="169"/>
            </a:xfrm>
            <a:custGeom>
              <a:avLst/>
              <a:gdLst>
                <a:gd name="T0" fmla="*/ 0 w 364"/>
                <a:gd name="T1" fmla="*/ 0 h 445"/>
                <a:gd name="T2" fmla="*/ 0 w 364"/>
                <a:gd name="T3" fmla="*/ 0 h 445"/>
                <a:gd name="T4" fmla="*/ 0 w 364"/>
                <a:gd name="T5" fmla="*/ 0 h 445"/>
                <a:gd name="T6" fmla="*/ 0 w 364"/>
                <a:gd name="T7" fmla="*/ 0 h 445"/>
                <a:gd name="T8" fmla="*/ 0 w 364"/>
                <a:gd name="T9" fmla="*/ 0 h 445"/>
                <a:gd name="T10" fmla="*/ 0 w 364"/>
                <a:gd name="T11" fmla="*/ 0 h 445"/>
                <a:gd name="T12" fmla="*/ 0 w 364"/>
                <a:gd name="T13" fmla="*/ 0 h 445"/>
                <a:gd name="T14" fmla="*/ 0 w 364"/>
                <a:gd name="T15" fmla="*/ 0 h 445"/>
                <a:gd name="T16" fmla="*/ 0 w 364"/>
                <a:gd name="T17" fmla="*/ 0 h 445"/>
                <a:gd name="T18" fmla="*/ 0 w 364"/>
                <a:gd name="T19" fmla="*/ 0 h 445"/>
                <a:gd name="T20" fmla="*/ 0 w 364"/>
                <a:gd name="T21" fmla="*/ 0 h 445"/>
                <a:gd name="T22" fmla="*/ 0 w 364"/>
                <a:gd name="T23" fmla="*/ 0 h 445"/>
                <a:gd name="T24" fmla="*/ 0 w 364"/>
                <a:gd name="T25" fmla="*/ 0 h 445"/>
                <a:gd name="T26" fmla="*/ 0 w 364"/>
                <a:gd name="T27" fmla="*/ 0 h 445"/>
                <a:gd name="T28" fmla="*/ 0 w 364"/>
                <a:gd name="T29" fmla="*/ 0 h 445"/>
                <a:gd name="T30" fmla="*/ 0 w 364"/>
                <a:gd name="T31" fmla="*/ 0 h 445"/>
                <a:gd name="T32" fmla="*/ 0 w 364"/>
                <a:gd name="T33" fmla="*/ 0 h 445"/>
                <a:gd name="T34" fmla="*/ 0 w 364"/>
                <a:gd name="T35" fmla="*/ 0 h 445"/>
                <a:gd name="T36" fmla="*/ 0 w 364"/>
                <a:gd name="T37" fmla="*/ 0 h 445"/>
                <a:gd name="T38" fmla="*/ 0 w 364"/>
                <a:gd name="T39" fmla="*/ 0 h 445"/>
                <a:gd name="T40" fmla="*/ 0 w 364"/>
                <a:gd name="T41" fmla="*/ 0 h 445"/>
                <a:gd name="T42" fmla="*/ 0 w 364"/>
                <a:gd name="T43" fmla="*/ 0 h 445"/>
                <a:gd name="T44" fmla="*/ 0 w 364"/>
                <a:gd name="T45" fmla="*/ 0 h 445"/>
                <a:gd name="T46" fmla="*/ 0 w 364"/>
                <a:gd name="T47" fmla="*/ 0 h 445"/>
                <a:gd name="T48" fmla="*/ 0 w 364"/>
                <a:gd name="T49" fmla="*/ 0 h 445"/>
                <a:gd name="T50" fmla="*/ 0 w 364"/>
                <a:gd name="T51" fmla="*/ 0 h 445"/>
                <a:gd name="T52" fmla="*/ 0 w 364"/>
                <a:gd name="T53" fmla="*/ 0 h 445"/>
                <a:gd name="T54" fmla="*/ 0 w 364"/>
                <a:gd name="T55" fmla="*/ 0 h 44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364"/>
                <a:gd name="T85" fmla="*/ 0 h 445"/>
                <a:gd name="T86" fmla="*/ 364 w 364"/>
                <a:gd name="T87" fmla="*/ 445 h 445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364" h="445">
                  <a:moveTo>
                    <a:pt x="169" y="375"/>
                  </a:moveTo>
                  <a:cubicBezTo>
                    <a:pt x="169" y="375"/>
                    <a:pt x="211" y="369"/>
                    <a:pt x="220" y="358"/>
                  </a:cubicBezTo>
                  <a:cubicBezTo>
                    <a:pt x="228" y="348"/>
                    <a:pt x="228" y="330"/>
                    <a:pt x="228" y="330"/>
                  </a:cubicBezTo>
                  <a:cubicBezTo>
                    <a:pt x="228" y="330"/>
                    <a:pt x="260" y="319"/>
                    <a:pt x="269" y="304"/>
                  </a:cubicBezTo>
                  <a:cubicBezTo>
                    <a:pt x="279" y="288"/>
                    <a:pt x="274" y="250"/>
                    <a:pt x="283" y="249"/>
                  </a:cubicBezTo>
                  <a:cubicBezTo>
                    <a:pt x="292" y="248"/>
                    <a:pt x="302" y="260"/>
                    <a:pt x="312" y="249"/>
                  </a:cubicBezTo>
                  <a:cubicBezTo>
                    <a:pt x="323" y="238"/>
                    <a:pt x="318" y="218"/>
                    <a:pt x="318" y="218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5" y="184"/>
                    <a:pt x="364" y="144"/>
                    <a:pt x="359" y="134"/>
                  </a:cubicBezTo>
                  <a:cubicBezTo>
                    <a:pt x="355" y="124"/>
                    <a:pt x="339" y="127"/>
                    <a:pt x="339" y="127"/>
                  </a:cubicBezTo>
                  <a:cubicBezTo>
                    <a:pt x="339" y="127"/>
                    <a:pt x="317" y="87"/>
                    <a:pt x="302" y="74"/>
                  </a:cubicBezTo>
                  <a:cubicBezTo>
                    <a:pt x="287" y="61"/>
                    <a:pt x="237" y="52"/>
                    <a:pt x="237" y="52"/>
                  </a:cubicBezTo>
                  <a:cubicBezTo>
                    <a:pt x="237" y="52"/>
                    <a:pt x="194" y="38"/>
                    <a:pt x="191" y="23"/>
                  </a:cubicBezTo>
                  <a:cubicBezTo>
                    <a:pt x="190" y="18"/>
                    <a:pt x="187" y="13"/>
                    <a:pt x="184" y="7"/>
                  </a:cubicBezTo>
                  <a:cubicBezTo>
                    <a:pt x="168" y="13"/>
                    <a:pt x="168" y="13"/>
                    <a:pt x="168" y="13"/>
                  </a:cubicBezTo>
                  <a:cubicBezTo>
                    <a:pt x="168" y="13"/>
                    <a:pt x="162" y="0"/>
                    <a:pt x="158" y="0"/>
                  </a:cubicBezTo>
                  <a:cubicBezTo>
                    <a:pt x="154" y="0"/>
                    <a:pt x="147" y="30"/>
                    <a:pt x="151" y="34"/>
                  </a:cubicBezTo>
                  <a:cubicBezTo>
                    <a:pt x="155" y="38"/>
                    <a:pt x="165" y="49"/>
                    <a:pt x="161" y="51"/>
                  </a:cubicBezTo>
                  <a:cubicBezTo>
                    <a:pt x="157" y="53"/>
                    <a:pt x="151" y="45"/>
                    <a:pt x="149" y="52"/>
                  </a:cubicBezTo>
                  <a:cubicBezTo>
                    <a:pt x="147" y="59"/>
                    <a:pt x="141" y="79"/>
                    <a:pt x="141" y="79"/>
                  </a:cubicBezTo>
                  <a:cubicBezTo>
                    <a:pt x="141" y="79"/>
                    <a:pt x="128" y="102"/>
                    <a:pt x="128" y="108"/>
                  </a:cubicBezTo>
                  <a:cubicBezTo>
                    <a:pt x="128" y="114"/>
                    <a:pt x="141" y="138"/>
                    <a:pt x="141" y="142"/>
                  </a:cubicBezTo>
                  <a:cubicBezTo>
                    <a:pt x="141" y="146"/>
                    <a:pt x="159" y="161"/>
                    <a:pt x="159" y="161"/>
                  </a:cubicBezTo>
                  <a:cubicBezTo>
                    <a:pt x="133" y="276"/>
                    <a:pt x="133" y="276"/>
                    <a:pt x="133" y="276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54" y="445"/>
                    <a:pt x="54" y="445"/>
                    <a:pt x="54" y="445"/>
                  </a:cubicBezTo>
                  <a:cubicBezTo>
                    <a:pt x="81" y="434"/>
                    <a:pt x="159" y="415"/>
                    <a:pt x="162" y="410"/>
                  </a:cubicBezTo>
                  <a:cubicBezTo>
                    <a:pt x="167" y="404"/>
                    <a:pt x="169" y="375"/>
                    <a:pt x="169" y="375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30" name="Freeform 46"/>
            <p:cNvSpPr>
              <a:spLocks/>
            </p:cNvSpPr>
            <p:nvPr/>
          </p:nvSpPr>
          <p:spPr bwMode="auto">
            <a:xfrm>
              <a:off x="3569" y="2218"/>
              <a:ext cx="19" cy="37"/>
            </a:xfrm>
            <a:custGeom>
              <a:avLst/>
              <a:gdLst>
                <a:gd name="T0" fmla="*/ 0 w 49"/>
                <a:gd name="T1" fmla="*/ 0 h 98"/>
                <a:gd name="T2" fmla="*/ 0 w 49"/>
                <a:gd name="T3" fmla="*/ 0 h 98"/>
                <a:gd name="T4" fmla="*/ 0 w 49"/>
                <a:gd name="T5" fmla="*/ 0 h 98"/>
                <a:gd name="T6" fmla="*/ 0 w 49"/>
                <a:gd name="T7" fmla="*/ 0 h 98"/>
                <a:gd name="T8" fmla="*/ 0 w 49"/>
                <a:gd name="T9" fmla="*/ 0 h 98"/>
                <a:gd name="T10" fmla="*/ 0 w 49"/>
                <a:gd name="T11" fmla="*/ 0 h 98"/>
                <a:gd name="T12" fmla="*/ 0 w 49"/>
                <a:gd name="T13" fmla="*/ 0 h 98"/>
                <a:gd name="T14" fmla="*/ 0 w 49"/>
                <a:gd name="T15" fmla="*/ 0 h 98"/>
                <a:gd name="T16" fmla="*/ 0 w 49"/>
                <a:gd name="T17" fmla="*/ 0 h 98"/>
                <a:gd name="T18" fmla="*/ 0 w 49"/>
                <a:gd name="T19" fmla="*/ 0 h 98"/>
                <a:gd name="T20" fmla="*/ 0 w 49"/>
                <a:gd name="T21" fmla="*/ 0 h 9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9"/>
                <a:gd name="T34" fmla="*/ 0 h 98"/>
                <a:gd name="T35" fmla="*/ 49 w 49"/>
                <a:gd name="T36" fmla="*/ 98 h 9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9" h="98">
                  <a:moveTo>
                    <a:pt x="16" y="90"/>
                  </a:moveTo>
                  <a:cubicBezTo>
                    <a:pt x="24" y="98"/>
                    <a:pt x="24" y="98"/>
                    <a:pt x="24" y="98"/>
                  </a:cubicBezTo>
                  <a:cubicBezTo>
                    <a:pt x="30" y="96"/>
                    <a:pt x="30" y="96"/>
                    <a:pt x="30" y="96"/>
                  </a:cubicBezTo>
                  <a:cubicBezTo>
                    <a:pt x="30" y="96"/>
                    <a:pt x="30" y="95"/>
                    <a:pt x="30" y="95"/>
                  </a:cubicBezTo>
                  <a:cubicBezTo>
                    <a:pt x="35" y="86"/>
                    <a:pt x="49" y="56"/>
                    <a:pt x="47" y="35"/>
                  </a:cubicBezTo>
                  <a:cubicBezTo>
                    <a:pt x="45" y="14"/>
                    <a:pt x="31" y="0"/>
                    <a:pt x="22" y="3"/>
                  </a:cubicBezTo>
                  <a:cubicBezTo>
                    <a:pt x="12" y="6"/>
                    <a:pt x="10" y="32"/>
                    <a:pt x="9" y="47"/>
                  </a:cubicBezTo>
                  <a:cubicBezTo>
                    <a:pt x="9" y="62"/>
                    <a:pt x="9" y="83"/>
                    <a:pt x="1" y="84"/>
                  </a:cubicBezTo>
                  <a:cubicBezTo>
                    <a:pt x="1" y="84"/>
                    <a:pt x="1" y="84"/>
                    <a:pt x="0" y="83"/>
                  </a:cubicBezTo>
                  <a:cubicBezTo>
                    <a:pt x="6" y="93"/>
                    <a:pt x="6" y="93"/>
                    <a:pt x="6" y="93"/>
                  </a:cubicBezTo>
                  <a:lnTo>
                    <a:pt x="16" y="90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31" name="Freeform 47"/>
            <p:cNvSpPr>
              <a:spLocks/>
            </p:cNvSpPr>
            <p:nvPr/>
          </p:nvSpPr>
          <p:spPr bwMode="auto">
            <a:xfrm>
              <a:off x="3734" y="1998"/>
              <a:ext cx="266" cy="268"/>
            </a:xfrm>
            <a:custGeom>
              <a:avLst/>
              <a:gdLst>
                <a:gd name="T0" fmla="*/ 0 w 701"/>
                <a:gd name="T1" fmla="*/ 0 h 705"/>
                <a:gd name="T2" fmla="*/ 0 w 701"/>
                <a:gd name="T3" fmla="*/ 0 h 705"/>
                <a:gd name="T4" fmla="*/ 0 w 701"/>
                <a:gd name="T5" fmla="*/ 0 h 705"/>
                <a:gd name="T6" fmla="*/ 0 w 701"/>
                <a:gd name="T7" fmla="*/ 0 h 705"/>
                <a:gd name="T8" fmla="*/ 0 w 701"/>
                <a:gd name="T9" fmla="*/ 0 h 705"/>
                <a:gd name="T10" fmla="*/ 0 w 701"/>
                <a:gd name="T11" fmla="*/ 0 h 705"/>
                <a:gd name="T12" fmla="*/ 0 w 701"/>
                <a:gd name="T13" fmla="*/ 0 h 705"/>
                <a:gd name="T14" fmla="*/ 0 w 701"/>
                <a:gd name="T15" fmla="*/ 0 h 705"/>
                <a:gd name="T16" fmla="*/ 0 w 701"/>
                <a:gd name="T17" fmla="*/ 0 h 705"/>
                <a:gd name="T18" fmla="*/ 0 w 701"/>
                <a:gd name="T19" fmla="*/ 0 h 705"/>
                <a:gd name="T20" fmla="*/ 0 w 701"/>
                <a:gd name="T21" fmla="*/ 0 h 705"/>
                <a:gd name="T22" fmla="*/ 0 w 701"/>
                <a:gd name="T23" fmla="*/ 0 h 705"/>
                <a:gd name="T24" fmla="*/ 0 w 701"/>
                <a:gd name="T25" fmla="*/ 0 h 705"/>
                <a:gd name="T26" fmla="*/ 0 w 701"/>
                <a:gd name="T27" fmla="*/ 0 h 705"/>
                <a:gd name="T28" fmla="*/ 0 w 701"/>
                <a:gd name="T29" fmla="*/ 0 h 705"/>
                <a:gd name="T30" fmla="*/ 0 w 701"/>
                <a:gd name="T31" fmla="*/ 0 h 705"/>
                <a:gd name="T32" fmla="*/ 0 w 701"/>
                <a:gd name="T33" fmla="*/ 0 h 705"/>
                <a:gd name="T34" fmla="*/ 0 w 701"/>
                <a:gd name="T35" fmla="*/ 0 h 705"/>
                <a:gd name="T36" fmla="*/ 0 w 701"/>
                <a:gd name="T37" fmla="*/ 0 h 705"/>
                <a:gd name="T38" fmla="*/ 0 w 701"/>
                <a:gd name="T39" fmla="*/ 0 h 705"/>
                <a:gd name="T40" fmla="*/ 0 w 701"/>
                <a:gd name="T41" fmla="*/ 0 h 705"/>
                <a:gd name="T42" fmla="*/ 0 w 701"/>
                <a:gd name="T43" fmla="*/ 0 h 705"/>
                <a:gd name="T44" fmla="*/ 0 w 701"/>
                <a:gd name="T45" fmla="*/ 0 h 705"/>
                <a:gd name="T46" fmla="*/ 0 w 701"/>
                <a:gd name="T47" fmla="*/ 0 h 705"/>
                <a:gd name="T48" fmla="*/ 0 w 701"/>
                <a:gd name="T49" fmla="*/ 0 h 705"/>
                <a:gd name="T50" fmla="*/ 0 w 701"/>
                <a:gd name="T51" fmla="*/ 0 h 705"/>
                <a:gd name="T52" fmla="*/ 0 w 701"/>
                <a:gd name="T53" fmla="*/ 0 h 705"/>
                <a:gd name="T54" fmla="*/ 0 w 701"/>
                <a:gd name="T55" fmla="*/ 0 h 705"/>
                <a:gd name="T56" fmla="*/ 0 w 701"/>
                <a:gd name="T57" fmla="*/ 0 h 705"/>
                <a:gd name="T58" fmla="*/ 0 w 701"/>
                <a:gd name="T59" fmla="*/ 0 h 705"/>
                <a:gd name="T60" fmla="*/ 0 w 701"/>
                <a:gd name="T61" fmla="*/ 0 h 705"/>
                <a:gd name="T62" fmla="*/ 0 w 701"/>
                <a:gd name="T63" fmla="*/ 0 h 705"/>
                <a:gd name="T64" fmla="*/ 0 w 701"/>
                <a:gd name="T65" fmla="*/ 0 h 705"/>
                <a:gd name="T66" fmla="*/ 0 w 701"/>
                <a:gd name="T67" fmla="*/ 0 h 705"/>
                <a:gd name="T68" fmla="*/ 0 w 701"/>
                <a:gd name="T69" fmla="*/ 0 h 705"/>
                <a:gd name="T70" fmla="*/ 0 w 701"/>
                <a:gd name="T71" fmla="*/ 0 h 705"/>
                <a:gd name="T72" fmla="*/ 0 w 701"/>
                <a:gd name="T73" fmla="*/ 0 h 705"/>
                <a:gd name="T74" fmla="*/ 0 w 701"/>
                <a:gd name="T75" fmla="*/ 0 h 705"/>
                <a:gd name="T76" fmla="*/ 0 w 701"/>
                <a:gd name="T77" fmla="*/ 0 h 705"/>
                <a:gd name="T78" fmla="*/ 0 w 701"/>
                <a:gd name="T79" fmla="*/ 0 h 705"/>
                <a:gd name="T80" fmla="*/ 0 w 701"/>
                <a:gd name="T81" fmla="*/ 0 h 705"/>
                <a:gd name="T82" fmla="*/ 0 w 701"/>
                <a:gd name="T83" fmla="*/ 0 h 705"/>
                <a:gd name="T84" fmla="*/ 0 w 701"/>
                <a:gd name="T85" fmla="*/ 0 h 705"/>
                <a:gd name="T86" fmla="*/ 0 w 701"/>
                <a:gd name="T87" fmla="*/ 0 h 705"/>
                <a:gd name="T88" fmla="*/ 0 w 701"/>
                <a:gd name="T89" fmla="*/ 0 h 705"/>
                <a:gd name="T90" fmla="*/ 0 w 701"/>
                <a:gd name="T91" fmla="*/ 0 h 7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01"/>
                <a:gd name="T139" fmla="*/ 0 h 705"/>
                <a:gd name="T140" fmla="*/ 701 w 701"/>
                <a:gd name="T141" fmla="*/ 705 h 7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01" h="705">
                  <a:moveTo>
                    <a:pt x="671" y="81"/>
                  </a:moveTo>
                  <a:cubicBezTo>
                    <a:pt x="652" y="80"/>
                    <a:pt x="647" y="60"/>
                    <a:pt x="647" y="60"/>
                  </a:cubicBezTo>
                  <a:cubicBezTo>
                    <a:pt x="639" y="64"/>
                    <a:pt x="639" y="64"/>
                    <a:pt x="639" y="64"/>
                  </a:cubicBezTo>
                  <a:cubicBezTo>
                    <a:pt x="618" y="56"/>
                    <a:pt x="618" y="56"/>
                    <a:pt x="618" y="56"/>
                  </a:cubicBezTo>
                  <a:cubicBezTo>
                    <a:pt x="618" y="56"/>
                    <a:pt x="617" y="35"/>
                    <a:pt x="608" y="25"/>
                  </a:cubicBezTo>
                  <a:cubicBezTo>
                    <a:pt x="599" y="15"/>
                    <a:pt x="584" y="14"/>
                    <a:pt x="584" y="14"/>
                  </a:cubicBezTo>
                  <a:cubicBezTo>
                    <a:pt x="581" y="5"/>
                    <a:pt x="581" y="5"/>
                    <a:pt x="581" y="5"/>
                  </a:cubicBezTo>
                  <a:cubicBezTo>
                    <a:pt x="560" y="5"/>
                    <a:pt x="560" y="5"/>
                    <a:pt x="560" y="5"/>
                  </a:cubicBezTo>
                  <a:cubicBezTo>
                    <a:pt x="560" y="5"/>
                    <a:pt x="549" y="4"/>
                    <a:pt x="541" y="0"/>
                  </a:cubicBezTo>
                  <a:cubicBezTo>
                    <a:pt x="535" y="4"/>
                    <a:pt x="526" y="9"/>
                    <a:pt x="523" y="10"/>
                  </a:cubicBezTo>
                  <a:cubicBezTo>
                    <a:pt x="518" y="11"/>
                    <a:pt x="508" y="5"/>
                    <a:pt x="505" y="5"/>
                  </a:cubicBezTo>
                  <a:cubicBezTo>
                    <a:pt x="502" y="5"/>
                    <a:pt x="479" y="10"/>
                    <a:pt x="479" y="10"/>
                  </a:cubicBezTo>
                  <a:cubicBezTo>
                    <a:pt x="479" y="10"/>
                    <a:pt x="462" y="9"/>
                    <a:pt x="455" y="12"/>
                  </a:cubicBezTo>
                  <a:cubicBezTo>
                    <a:pt x="448" y="15"/>
                    <a:pt x="425" y="31"/>
                    <a:pt x="425" y="31"/>
                  </a:cubicBezTo>
                  <a:cubicBezTo>
                    <a:pt x="425" y="31"/>
                    <a:pt x="414" y="34"/>
                    <a:pt x="408" y="46"/>
                  </a:cubicBezTo>
                  <a:cubicBezTo>
                    <a:pt x="402" y="58"/>
                    <a:pt x="407" y="54"/>
                    <a:pt x="418" y="66"/>
                  </a:cubicBezTo>
                  <a:cubicBezTo>
                    <a:pt x="429" y="78"/>
                    <a:pt x="426" y="95"/>
                    <a:pt x="426" y="95"/>
                  </a:cubicBezTo>
                  <a:cubicBezTo>
                    <a:pt x="426" y="95"/>
                    <a:pt x="436" y="103"/>
                    <a:pt x="433" y="110"/>
                  </a:cubicBezTo>
                  <a:cubicBezTo>
                    <a:pt x="430" y="117"/>
                    <a:pt x="413" y="125"/>
                    <a:pt x="412" y="134"/>
                  </a:cubicBezTo>
                  <a:cubicBezTo>
                    <a:pt x="411" y="143"/>
                    <a:pt x="418" y="144"/>
                    <a:pt x="418" y="144"/>
                  </a:cubicBezTo>
                  <a:cubicBezTo>
                    <a:pt x="418" y="144"/>
                    <a:pt x="419" y="153"/>
                    <a:pt x="418" y="160"/>
                  </a:cubicBezTo>
                  <a:cubicBezTo>
                    <a:pt x="417" y="167"/>
                    <a:pt x="406" y="164"/>
                    <a:pt x="406" y="164"/>
                  </a:cubicBezTo>
                  <a:cubicBezTo>
                    <a:pt x="402" y="171"/>
                    <a:pt x="402" y="171"/>
                    <a:pt x="402" y="171"/>
                  </a:cubicBezTo>
                  <a:cubicBezTo>
                    <a:pt x="395" y="168"/>
                    <a:pt x="395" y="168"/>
                    <a:pt x="395" y="168"/>
                  </a:cubicBezTo>
                  <a:cubicBezTo>
                    <a:pt x="384" y="167"/>
                    <a:pt x="384" y="167"/>
                    <a:pt x="384" y="167"/>
                  </a:cubicBezTo>
                  <a:cubicBezTo>
                    <a:pt x="384" y="167"/>
                    <a:pt x="377" y="159"/>
                    <a:pt x="373" y="160"/>
                  </a:cubicBezTo>
                  <a:cubicBezTo>
                    <a:pt x="369" y="161"/>
                    <a:pt x="369" y="166"/>
                    <a:pt x="370" y="171"/>
                  </a:cubicBezTo>
                  <a:cubicBezTo>
                    <a:pt x="371" y="176"/>
                    <a:pt x="386" y="180"/>
                    <a:pt x="386" y="180"/>
                  </a:cubicBezTo>
                  <a:cubicBezTo>
                    <a:pt x="386" y="180"/>
                    <a:pt x="386" y="184"/>
                    <a:pt x="388" y="191"/>
                  </a:cubicBezTo>
                  <a:cubicBezTo>
                    <a:pt x="390" y="198"/>
                    <a:pt x="401" y="197"/>
                    <a:pt x="401" y="197"/>
                  </a:cubicBezTo>
                  <a:cubicBezTo>
                    <a:pt x="381" y="211"/>
                    <a:pt x="381" y="211"/>
                    <a:pt x="381" y="211"/>
                  </a:cubicBezTo>
                  <a:cubicBezTo>
                    <a:pt x="381" y="211"/>
                    <a:pt x="368" y="210"/>
                    <a:pt x="364" y="213"/>
                  </a:cubicBezTo>
                  <a:cubicBezTo>
                    <a:pt x="360" y="216"/>
                    <a:pt x="363" y="238"/>
                    <a:pt x="363" y="238"/>
                  </a:cubicBezTo>
                  <a:cubicBezTo>
                    <a:pt x="363" y="238"/>
                    <a:pt x="357" y="235"/>
                    <a:pt x="356" y="247"/>
                  </a:cubicBezTo>
                  <a:cubicBezTo>
                    <a:pt x="355" y="259"/>
                    <a:pt x="364" y="277"/>
                    <a:pt x="364" y="277"/>
                  </a:cubicBezTo>
                  <a:cubicBezTo>
                    <a:pt x="364" y="277"/>
                    <a:pt x="361" y="286"/>
                    <a:pt x="348" y="293"/>
                  </a:cubicBezTo>
                  <a:cubicBezTo>
                    <a:pt x="335" y="300"/>
                    <a:pt x="338" y="281"/>
                    <a:pt x="338" y="281"/>
                  </a:cubicBezTo>
                  <a:cubicBezTo>
                    <a:pt x="338" y="281"/>
                    <a:pt x="328" y="283"/>
                    <a:pt x="320" y="283"/>
                  </a:cubicBezTo>
                  <a:cubicBezTo>
                    <a:pt x="312" y="283"/>
                    <a:pt x="305" y="289"/>
                    <a:pt x="305" y="289"/>
                  </a:cubicBezTo>
                  <a:cubicBezTo>
                    <a:pt x="305" y="289"/>
                    <a:pt x="291" y="293"/>
                    <a:pt x="287" y="298"/>
                  </a:cubicBezTo>
                  <a:cubicBezTo>
                    <a:pt x="283" y="303"/>
                    <a:pt x="300" y="305"/>
                    <a:pt x="298" y="311"/>
                  </a:cubicBezTo>
                  <a:cubicBezTo>
                    <a:pt x="296" y="317"/>
                    <a:pt x="266" y="312"/>
                    <a:pt x="266" y="312"/>
                  </a:cubicBezTo>
                  <a:cubicBezTo>
                    <a:pt x="266" y="312"/>
                    <a:pt x="270" y="306"/>
                    <a:pt x="262" y="306"/>
                  </a:cubicBezTo>
                  <a:cubicBezTo>
                    <a:pt x="254" y="306"/>
                    <a:pt x="239" y="319"/>
                    <a:pt x="237" y="325"/>
                  </a:cubicBezTo>
                  <a:cubicBezTo>
                    <a:pt x="235" y="331"/>
                    <a:pt x="242" y="355"/>
                    <a:pt x="242" y="355"/>
                  </a:cubicBezTo>
                  <a:cubicBezTo>
                    <a:pt x="242" y="355"/>
                    <a:pt x="248" y="375"/>
                    <a:pt x="246" y="381"/>
                  </a:cubicBezTo>
                  <a:cubicBezTo>
                    <a:pt x="244" y="387"/>
                    <a:pt x="205" y="400"/>
                    <a:pt x="202" y="401"/>
                  </a:cubicBezTo>
                  <a:cubicBezTo>
                    <a:pt x="199" y="402"/>
                    <a:pt x="157" y="404"/>
                    <a:pt x="157" y="404"/>
                  </a:cubicBezTo>
                  <a:cubicBezTo>
                    <a:pt x="157" y="404"/>
                    <a:pt x="156" y="410"/>
                    <a:pt x="144" y="410"/>
                  </a:cubicBezTo>
                  <a:cubicBezTo>
                    <a:pt x="132" y="410"/>
                    <a:pt x="135" y="406"/>
                    <a:pt x="135" y="406"/>
                  </a:cubicBezTo>
                  <a:cubicBezTo>
                    <a:pt x="100" y="405"/>
                    <a:pt x="100" y="405"/>
                    <a:pt x="100" y="405"/>
                  </a:cubicBezTo>
                  <a:cubicBezTo>
                    <a:pt x="100" y="405"/>
                    <a:pt x="102" y="410"/>
                    <a:pt x="81" y="412"/>
                  </a:cubicBezTo>
                  <a:cubicBezTo>
                    <a:pt x="60" y="414"/>
                    <a:pt x="30" y="396"/>
                    <a:pt x="21" y="391"/>
                  </a:cubicBezTo>
                  <a:cubicBezTo>
                    <a:pt x="12" y="386"/>
                    <a:pt x="0" y="389"/>
                    <a:pt x="0" y="389"/>
                  </a:cubicBezTo>
                  <a:cubicBezTo>
                    <a:pt x="0" y="389"/>
                    <a:pt x="20" y="408"/>
                    <a:pt x="26" y="419"/>
                  </a:cubicBezTo>
                  <a:cubicBezTo>
                    <a:pt x="32" y="430"/>
                    <a:pt x="46" y="450"/>
                    <a:pt x="54" y="460"/>
                  </a:cubicBezTo>
                  <a:cubicBezTo>
                    <a:pt x="62" y="470"/>
                    <a:pt x="77" y="462"/>
                    <a:pt x="77" y="462"/>
                  </a:cubicBezTo>
                  <a:cubicBezTo>
                    <a:pt x="86" y="473"/>
                    <a:pt x="86" y="473"/>
                    <a:pt x="86" y="473"/>
                  </a:cubicBezTo>
                  <a:cubicBezTo>
                    <a:pt x="99" y="472"/>
                    <a:pt x="99" y="472"/>
                    <a:pt x="99" y="472"/>
                  </a:cubicBezTo>
                  <a:cubicBezTo>
                    <a:pt x="98" y="492"/>
                    <a:pt x="98" y="492"/>
                    <a:pt x="98" y="492"/>
                  </a:cubicBezTo>
                  <a:cubicBezTo>
                    <a:pt x="101" y="494"/>
                    <a:pt x="101" y="494"/>
                    <a:pt x="101" y="494"/>
                  </a:cubicBezTo>
                  <a:cubicBezTo>
                    <a:pt x="101" y="494"/>
                    <a:pt x="100" y="517"/>
                    <a:pt x="103" y="524"/>
                  </a:cubicBezTo>
                  <a:cubicBezTo>
                    <a:pt x="106" y="531"/>
                    <a:pt x="112" y="518"/>
                    <a:pt x="120" y="529"/>
                  </a:cubicBezTo>
                  <a:cubicBezTo>
                    <a:pt x="128" y="540"/>
                    <a:pt x="129" y="556"/>
                    <a:pt x="125" y="561"/>
                  </a:cubicBezTo>
                  <a:cubicBezTo>
                    <a:pt x="121" y="566"/>
                    <a:pt x="119" y="553"/>
                    <a:pt x="101" y="559"/>
                  </a:cubicBezTo>
                  <a:cubicBezTo>
                    <a:pt x="83" y="565"/>
                    <a:pt x="89" y="569"/>
                    <a:pt x="85" y="575"/>
                  </a:cubicBezTo>
                  <a:cubicBezTo>
                    <a:pt x="81" y="581"/>
                    <a:pt x="72" y="579"/>
                    <a:pt x="72" y="579"/>
                  </a:cubicBezTo>
                  <a:cubicBezTo>
                    <a:pt x="70" y="590"/>
                    <a:pt x="70" y="590"/>
                    <a:pt x="70" y="590"/>
                  </a:cubicBezTo>
                  <a:cubicBezTo>
                    <a:pt x="70" y="590"/>
                    <a:pt x="66" y="597"/>
                    <a:pt x="60" y="600"/>
                  </a:cubicBezTo>
                  <a:cubicBezTo>
                    <a:pt x="55" y="602"/>
                    <a:pt x="59" y="630"/>
                    <a:pt x="60" y="637"/>
                  </a:cubicBezTo>
                  <a:cubicBezTo>
                    <a:pt x="70" y="633"/>
                    <a:pt x="78" y="628"/>
                    <a:pt x="78" y="628"/>
                  </a:cubicBezTo>
                  <a:cubicBezTo>
                    <a:pt x="78" y="628"/>
                    <a:pt x="100" y="635"/>
                    <a:pt x="110" y="635"/>
                  </a:cubicBezTo>
                  <a:cubicBezTo>
                    <a:pt x="120" y="636"/>
                    <a:pt x="149" y="620"/>
                    <a:pt x="149" y="620"/>
                  </a:cubicBezTo>
                  <a:cubicBezTo>
                    <a:pt x="149" y="620"/>
                    <a:pt x="165" y="628"/>
                    <a:pt x="175" y="626"/>
                  </a:cubicBezTo>
                  <a:cubicBezTo>
                    <a:pt x="186" y="624"/>
                    <a:pt x="208" y="615"/>
                    <a:pt x="208" y="615"/>
                  </a:cubicBezTo>
                  <a:cubicBezTo>
                    <a:pt x="234" y="622"/>
                    <a:pt x="234" y="622"/>
                    <a:pt x="234" y="622"/>
                  </a:cubicBezTo>
                  <a:cubicBezTo>
                    <a:pt x="234" y="622"/>
                    <a:pt x="249" y="601"/>
                    <a:pt x="267" y="613"/>
                  </a:cubicBezTo>
                  <a:cubicBezTo>
                    <a:pt x="284" y="624"/>
                    <a:pt x="285" y="659"/>
                    <a:pt x="299" y="662"/>
                  </a:cubicBezTo>
                  <a:cubicBezTo>
                    <a:pt x="313" y="665"/>
                    <a:pt x="339" y="665"/>
                    <a:pt x="348" y="674"/>
                  </a:cubicBezTo>
                  <a:cubicBezTo>
                    <a:pt x="358" y="683"/>
                    <a:pt x="359" y="704"/>
                    <a:pt x="370" y="705"/>
                  </a:cubicBezTo>
                  <a:cubicBezTo>
                    <a:pt x="373" y="705"/>
                    <a:pt x="377" y="705"/>
                    <a:pt x="381" y="705"/>
                  </a:cubicBezTo>
                  <a:cubicBezTo>
                    <a:pt x="394" y="700"/>
                    <a:pt x="394" y="700"/>
                    <a:pt x="394" y="700"/>
                  </a:cubicBezTo>
                  <a:cubicBezTo>
                    <a:pt x="394" y="700"/>
                    <a:pt x="385" y="684"/>
                    <a:pt x="396" y="683"/>
                  </a:cubicBezTo>
                  <a:cubicBezTo>
                    <a:pt x="407" y="682"/>
                    <a:pt x="416" y="689"/>
                    <a:pt x="416" y="689"/>
                  </a:cubicBezTo>
                  <a:cubicBezTo>
                    <a:pt x="433" y="683"/>
                    <a:pt x="433" y="683"/>
                    <a:pt x="433" y="683"/>
                  </a:cubicBezTo>
                  <a:cubicBezTo>
                    <a:pt x="433" y="683"/>
                    <a:pt x="430" y="691"/>
                    <a:pt x="444" y="691"/>
                  </a:cubicBezTo>
                  <a:cubicBezTo>
                    <a:pt x="458" y="691"/>
                    <a:pt x="456" y="681"/>
                    <a:pt x="467" y="679"/>
                  </a:cubicBezTo>
                  <a:cubicBezTo>
                    <a:pt x="478" y="677"/>
                    <a:pt x="468" y="688"/>
                    <a:pt x="479" y="688"/>
                  </a:cubicBezTo>
                  <a:cubicBezTo>
                    <a:pt x="490" y="688"/>
                    <a:pt x="499" y="687"/>
                    <a:pt x="501" y="678"/>
                  </a:cubicBezTo>
                  <a:cubicBezTo>
                    <a:pt x="503" y="669"/>
                    <a:pt x="492" y="654"/>
                    <a:pt x="492" y="654"/>
                  </a:cubicBezTo>
                  <a:cubicBezTo>
                    <a:pt x="478" y="626"/>
                    <a:pt x="478" y="626"/>
                    <a:pt x="478" y="626"/>
                  </a:cubicBezTo>
                  <a:cubicBezTo>
                    <a:pt x="478" y="611"/>
                    <a:pt x="478" y="611"/>
                    <a:pt x="478" y="611"/>
                  </a:cubicBezTo>
                  <a:cubicBezTo>
                    <a:pt x="478" y="611"/>
                    <a:pt x="462" y="611"/>
                    <a:pt x="455" y="604"/>
                  </a:cubicBezTo>
                  <a:cubicBezTo>
                    <a:pt x="448" y="597"/>
                    <a:pt x="446" y="589"/>
                    <a:pt x="446" y="589"/>
                  </a:cubicBezTo>
                  <a:cubicBezTo>
                    <a:pt x="448" y="569"/>
                    <a:pt x="448" y="569"/>
                    <a:pt x="448" y="569"/>
                  </a:cubicBezTo>
                  <a:cubicBezTo>
                    <a:pt x="447" y="559"/>
                    <a:pt x="447" y="559"/>
                    <a:pt x="447" y="559"/>
                  </a:cubicBezTo>
                  <a:cubicBezTo>
                    <a:pt x="429" y="561"/>
                    <a:pt x="429" y="561"/>
                    <a:pt x="429" y="561"/>
                  </a:cubicBezTo>
                  <a:cubicBezTo>
                    <a:pt x="429" y="561"/>
                    <a:pt x="414" y="563"/>
                    <a:pt x="414" y="546"/>
                  </a:cubicBezTo>
                  <a:cubicBezTo>
                    <a:pt x="414" y="529"/>
                    <a:pt x="415" y="529"/>
                    <a:pt x="423" y="522"/>
                  </a:cubicBezTo>
                  <a:cubicBezTo>
                    <a:pt x="431" y="515"/>
                    <a:pt x="438" y="503"/>
                    <a:pt x="438" y="503"/>
                  </a:cubicBezTo>
                  <a:cubicBezTo>
                    <a:pt x="438" y="503"/>
                    <a:pt x="437" y="489"/>
                    <a:pt x="451" y="487"/>
                  </a:cubicBezTo>
                  <a:cubicBezTo>
                    <a:pt x="465" y="485"/>
                    <a:pt x="457" y="502"/>
                    <a:pt x="470" y="500"/>
                  </a:cubicBezTo>
                  <a:cubicBezTo>
                    <a:pt x="483" y="498"/>
                    <a:pt x="488" y="490"/>
                    <a:pt x="488" y="490"/>
                  </a:cubicBezTo>
                  <a:cubicBezTo>
                    <a:pt x="488" y="490"/>
                    <a:pt x="503" y="498"/>
                    <a:pt x="510" y="490"/>
                  </a:cubicBezTo>
                  <a:cubicBezTo>
                    <a:pt x="517" y="482"/>
                    <a:pt x="518" y="472"/>
                    <a:pt x="518" y="472"/>
                  </a:cubicBezTo>
                  <a:cubicBezTo>
                    <a:pt x="527" y="467"/>
                    <a:pt x="527" y="467"/>
                    <a:pt x="527" y="467"/>
                  </a:cubicBezTo>
                  <a:cubicBezTo>
                    <a:pt x="527" y="467"/>
                    <a:pt x="528" y="447"/>
                    <a:pt x="532" y="444"/>
                  </a:cubicBezTo>
                  <a:cubicBezTo>
                    <a:pt x="536" y="441"/>
                    <a:pt x="552" y="438"/>
                    <a:pt x="560" y="425"/>
                  </a:cubicBezTo>
                  <a:cubicBezTo>
                    <a:pt x="568" y="412"/>
                    <a:pt x="565" y="394"/>
                    <a:pt x="569" y="385"/>
                  </a:cubicBezTo>
                  <a:cubicBezTo>
                    <a:pt x="573" y="376"/>
                    <a:pt x="592" y="375"/>
                    <a:pt x="592" y="375"/>
                  </a:cubicBezTo>
                  <a:cubicBezTo>
                    <a:pt x="581" y="358"/>
                    <a:pt x="581" y="358"/>
                    <a:pt x="581" y="358"/>
                  </a:cubicBezTo>
                  <a:cubicBezTo>
                    <a:pt x="598" y="334"/>
                    <a:pt x="598" y="334"/>
                    <a:pt x="598" y="334"/>
                  </a:cubicBezTo>
                  <a:cubicBezTo>
                    <a:pt x="616" y="321"/>
                    <a:pt x="616" y="321"/>
                    <a:pt x="616" y="321"/>
                  </a:cubicBezTo>
                  <a:cubicBezTo>
                    <a:pt x="616" y="321"/>
                    <a:pt x="604" y="301"/>
                    <a:pt x="604" y="297"/>
                  </a:cubicBezTo>
                  <a:cubicBezTo>
                    <a:pt x="604" y="293"/>
                    <a:pt x="601" y="279"/>
                    <a:pt x="605" y="277"/>
                  </a:cubicBezTo>
                  <a:cubicBezTo>
                    <a:pt x="609" y="275"/>
                    <a:pt x="638" y="271"/>
                    <a:pt x="637" y="262"/>
                  </a:cubicBezTo>
                  <a:cubicBezTo>
                    <a:pt x="636" y="253"/>
                    <a:pt x="624" y="248"/>
                    <a:pt x="624" y="248"/>
                  </a:cubicBezTo>
                  <a:cubicBezTo>
                    <a:pt x="600" y="249"/>
                    <a:pt x="600" y="249"/>
                    <a:pt x="600" y="249"/>
                  </a:cubicBezTo>
                  <a:cubicBezTo>
                    <a:pt x="597" y="226"/>
                    <a:pt x="597" y="226"/>
                    <a:pt x="597" y="226"/>
                  </a:cubicBezTo>
                  <a:cubicBezTo>
                    <a:pt x="583" y="225"/>
                    <a:pt x="583" y="225"/>
                    <a:pt x="583" y="225"/>
                  </a:cubicBezTo>
                  <a:cubicBezTo>
                    <a:pt x="575" y="215"/>
                    <a:pt x="575" y="215"/>
                    <a:pt x="575" y="215"/>
                  </a:cubicBezTo>
                  <a:cubicBezTo>
                    <a:pt x="575" y="215"/>
                    <a:pt x="564" y="218"/>
                    <a:pt x="565" y="210"/>
                  </a:cubicBezTo>
                  <a:cubicBezTo>
                    <a:pt x="566" y="202"/>
                    <a:pt x="567" y="194"/>
                    <a:pt x="567" y="194"/>
                  </a:cubicBezTo>
                  <a:cubicBezTo>
                    <a:pt x="567" y="194"/>
                    <a:pt x="553" y="193"/>
                    <a:pt x="556" y="183"/>
                  </a:cubicBezTo>
                  <a:cubicBezTo>
                    <a:pt x="559" y="173"/>
                    <a:pt x="568" y="165"/>
                    <a:pt x="568" y="165"/>
                  </a:cubicBezTo>
                  <a:cubicBezTo>
                    <a:pt x="548" y="161"/>
                    <a:pt x="548" y="161"/>
                    <a:pt x="548" y="161"/>
                  </a:cubicBezTo>
                  <a:cubicBezTo>
                    <a:pt x="552" y="152"/>
                    <a:pt x="552" y="152"/>
                    <a:pt x="552" y="152"/>
                  </a:cubicBezTo>
                  <a:cubicBezTo>
                    <a:pt x="537" y="142"/>
                    <a:pt x="537" y="142"/>
                    <a:pt x="537" y="142"/>
                  </a:cubicBezTo>
                  <a:cubicBezTo>
                    <a:pt x="537" y="142"/>
                    <a:pt x="535" y="126"/>
                    <a:pt x="557" y="123"/>
                  </a:cubicBezTo>
                  <a:cubicBezTo>
                    <a:pt x="579" y="120"/>
                    <a:pt x="608" y="126"/>
                    <a:pt x="608" y="126"/>
                  </a:cubicBezTo>
                  <a:cubicBezTo>
                    <a:pt x="608" y="126"/>
                    <a:pt x="611" y="138"/>
                    <a:pt x="618" y="137"/>
                  </a:cubicBezTo>
                  <a:cubicBezTo>
                    <a:pt x="625" y="136"/>
                    <a:pt x="643" y="123"/>
                    <a:pt x="643" y="123"/>
                  </a:cubicBezTo>
                  <a:cubicBezTo>
                    <a:pt x="647" y="127"/>
                    <a:pt x="647" y="127"/>
                    <a:pt x="647" y="127"/>
                  </a:cubicBezTo>
                  <a:cubicBezTo>
                    <a:pt x="653" y="122"/>
                    <a:pt x="653" y="122"/>
                    <a:pt x="653" y="122"/>
                  </a:cubicBezTo>
                  <a:cubicBezTo>
                    <a:pt x="653" y="122"/>
                    <a:pt x="664" y="123"/>
                    <a:pt x="667" y="122"/>
                  </a:cubicBezTo>
                  <a:cubicBezTo>
                    <a:pt x="670" y="121"/>
                    <a:pt x="670" y="110"/>
                    <a:pt x="670" y="110"/>
                  </a:cubicBezTo>
                  <a:cubicBezTo>
                    <a:pt x="685" y="104"/>
                    <a:pt x="685" y="104"/>
                    <a:pt x="685" y="104"/>
                  </a:cubicBezTo>
                  <a:cubicBezTo>
                    <a:pt x="700" y="82"/>
                    <a:pt x="700" y="82"/>
                    <a:pt x="700" y="82"/>
                  </a:cubicBezTo>
                  <a:cubicBezTo>
                    <a:pt x="701" y="82"/>
                    <a:pt x="701" y="82"/>
                    <a:pt x="701" y="82"/>
                  </a:cubicBezTo>
                  <a:cubicBezTo>
                    <a:pt x="692" y="82"/>
                    <a:pt x="680" y="81"/>
                    <a:pt x="671" y="8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32" name="Freeform 48"/>
            <p:cNvSpPr>
              <a:spLocks/>
            </p:cNvSpPr>
            <p:nvPr/>
          </p:nvSpPr>
          <p:spPr bwMode="auto">
            <a:xfrm>
              <a:off x="3345" y="1992"/>
              <a:ext cx="172" cy="168"/>
            </a:xfrm>
            <a:custGeom>
              <a:avLst/>
              <a:gdLst>
                <a:gd name="T0" fmla="*/ 0 w 454"/>
                <a:gd name="T1" fmla="*/ 0 h 442"/>
                <a:gd name="T2" fmla="*/ 0 w 454"/>
                <a:gd name="T3" fmla="*/ 0 h 442"/>
                <a:gd name="T4" fmla="*/ 0 w 454"/>
                <a:gd name="T5" fmla="*/ 0 h 442"/>
                <a:gd name="T6" fmla="*/ 0 w 454"/>
                <a:gd name="T7" fmla="*/ 0 h 442"/>
                <a:gd name="T8" fmla="*/ 0 w 454"/>
                <a:gd name="T9" fmla="*/ 0 h 442"/>
                <a:gd name="T10" fmla="*/ 0 w 454"/>
                <a:gd name="T11" fmla="*/ 0 h 442"/>
                <a:gd name="T12" fmla="*/ 0 w 454"/>
                <a:gd name="T13" fmla="*/ 0 h 442"/>
                <a:gd name="T14" fmla="*/ 0 w 454"/>
                <a:gd name="T15" fmla="*/ 0 h 442"/>
                <a:gd name="T16" fmla="*/ 0 w 454"/>
                <a:gd name="T17" fmla="*/ 0 h 442"/>
                <a:gd name="T18" fmla="*/ 0 w 454"/>
                <a:gd name="T19" fmla="*/ 0 h 442"/>
                <a:gd name="T20" fmla="*/ 0 w 454"/>
                <a:gd name="T21" fmla="*/ 0 h 442"/>
                <a:gd name="T22" fmla="*/ 0 w 454"/>
                <a:gd name="T23" fmla="*/ 0 h 442"/>
                <a:gd name="T24" fmla="*/ 0 w 454"/>
                <a:gd name="T25" fmla="*/ 0 h 442"/>
                <a:gd name="T26" fmla="*/ 0 w 454"/>
                <a:gd name="T27" fmla="*/ 0 h 442"/>
                <a:gd name="T28" fmla="*/ 0 w 454"/>
                <a:gd name="T29" fmla="*/ 0 h 442"/>
                <a:gd name="T30" fmla="*/ 0 w 454"/>
                <a:gd name="T31" fmla="*/ 0 h 442"/>
                <a:gd name="T32" fmla="*/ 0 w 454"/>
                <a:gd name="T33" fmla="*/ 0 h 442"/>
                <a:gd name="T34" fmla="*/ 0 w 454"/>
                <a:gd name="T35" fmla="*/ 0 h 442"/>
                <a:gd name="T36" fmla="*/ 0 w 454"/>
                <a:gd name="T37" fmla="*/ 0 h 442"/>
                <a:gd name="T38" fmla="*/ 0 w 454"/>
                <a:gd name="T39" fmla="*/ 0 h 442"/>
                <a:gd name="T40" fmla="*/ 0 w 454"/>
                <a:gd name="T41" fmla="*/ 0 h 442"/>
                <a:gd name="T42" fmla="*/ 0 w 454"/>
                <a:gd name="T43" fmla="*/ 0 h 442"/>
                <a:gd name="T44" fmla="*/ 0 w 454"/>
                <a:gd name="T45" fmla="*/ 0 h 442"/>
                <a:gd name="T46" fmla="*/ 0 w 454"/>
                <a:gd name="T47" fmla="*/ 0 h 442"/>
                <a:gd name="T48" fmla="*/ 0 w 454"/>
                <a:gd name="T49" fmla="*/ 0 h 442"/>
                <a:gd name="T50" fmla="*/ 0 w 454"/>
                <a:gd name="T51" fmla="*/ 0 h 442"/>
                <a:gd name="T52" fmla="*/ 0 w 454"/>
                <a:gd name="T53" fmla="*/ 0 h 442"/>
                <a:gd name="T54" fmla="*/ 0 w 454"/>
                <a:gd name="T55" fmla="*/ 0 h 442"/>
                <a:gd name="T56" fmla="*/ 0 w 454"/>
                <a:gd name="T57" fmla="*/ 0 h 442"/>
                <a:gd name="T58" fmla="*/ 0 w 454"/>
                <a:gd name="T59" fmla="*/ 0 h 442"/>
                <a:gd name="T60" fmla="*/ 0 w 454"/>
                <a:gd name="T61" fmla="*/ 0 h 442"/>
                <a:gd name="T62" fmla="*/ 0 w 454"/>
                <a:gd name="T63" fmla="*/ 0 h 442"/>
                <a:gd name="T64" fmla="*/ 0 w 454"/>
                <a:gd name="T65" fmla="*/ 0 h 442"/>
                <a:gd name="T66" fmla="*/ 0 w 454"/>
                <a:gd name="T67" fmla="*/ 0 h 442"/>
                <a:gd name="T68" fmla="*/ 0 w 454"/>
                <a:gd name="T69" fmla="*/ 0 h 442"/>
                <a:gd name="T70" fmla="*/ 0 w 454"/>
                <a:gd name="T71" fmla="*/ 0 h 442"/>
                <a:gd name="T72" fmla="*/ 0 w 454"/>
                <a:gd name="T73" fmla="*/ 0 h 442"/>
                <a:gd name="T74" fmla="*/ 0 w 454"/>
                <a:gd name="T75" fmla="*/ 0 h 442"/>
                <a:gd name="T76" fmla="*/ 0 w 454"/>
                <a:gd name="T77" fmla="*/ 0 h 442"/>
                <a:gd name="T78" fmla="*/ 0 w 454"/>
                <a:gd name="T79" fmla="*/ 0 h 442"/>
                <a:gd name="T80" fmla="*/ 0 w 454"/>
                <a:gd name="T81" fmla="*/ 0 h 442"/>
                <a:gd name="T82" fmla="*/ 0 w 454"/>
                <a:gd name="T83" fmla="*/ 0 h 442"/>
                <a:gd name="T84" fmla="*/ 0 w 454"/>
                <a:gd name="T85" fmla="*/ 0 h 442"/>
                <a:gd name="T86" fmla="*/ 0 w 454"/>
                <a:gd name="T87" fmla="*/ 0 h 442"/>
                <a:gd name="T88" fmla="*/ 0 w 454"/>
                <a:gd name="T89" fmla="*/ 0 h 442"/>
                <a:gd name="T90" fmla="*/ 0 w 454"/>
                <a:gd name="T91" fmla="*/ 0 h 442"/>
                <a:gd name="T92" fmla="*/ 0 w 454"/>
                <a:gd name="T93" fmla="*/ 0 h 442"/>
                <a:gd name="T94" fmla="*/ 0 w 454"/>
                <a:gd name="T95" fmla="*/ 0 h 442"/>
                <a:gd name="T96" fmla="*/ 0 w 454"/>
                <a:gd name="T97" fmla="*/ 0 h 442"/>
                <a:gd name="T98" fmla="*/ 0 w 454"/>
                <a:gd name="T99" fmla="*/ 0 h 442"/>
                <a:gd name="T100" fmla="*/ 0 w 454"/>
                <a:gd name="T101" fmla="*/ 0 h 442"/>
                <a:gd name="T102" fmla="*/ 0 w 454"/>
                <a:gd name="T103" fmla="*/ 0 h 442"/>
                <a:gd name="T104" fmla="*/ 0 w 454"/>
                <a:gd name="T105" fmla="*/ 0 h 442"/>
                <a:gd name="T106" fmla="*/ 0 w 454"/>
                <a:gd name="T107" fmla="*/ 0 h 442"/>
                <a:gd name="T108" fmla="*/ 0 w 454"/>
                <a:gd name="T109" fmla="*/ 0 h 442"/>
                <a:gd name="T110" fmla="*/ 0 w 454"/>
                <a:gd name="T111" fmla="*/ 0 h 442"/>
                <a:gd name="T112" fmla="*/ 0 w 454"/>
                <a:gd name="T113" fmla="*/ 0 h 442"/>
                <a:gd name="T114" fmla="*/ 0 w 454"/>
                <a:gd name="T115" fmla="*/ 0 h 442"/>
                <a:gd name="T116" fmla="*/ 0 w 454"/>
                <a:gd name="T117" fmla="*/ 0 h 44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54"/>
                <a:gd name="T178" fmla="*/ 0 h 442"/>
                <a:gd name="T179" fmla="*/ 454 w 454"/>
                <a:gd name="T180" fmla="*/ 442 h 44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54" h="442">
                  <a:moveTo>
                    <a:pt x="448" y="378"/>
                  </a:moveTo>
                  <a:cubicBezTo>
                    <a:pt x="447" y="369"/>
                    <a:pt x="432" y="365"/>
                    <a:pt x="432" y="365"/>
                  </a:cubicBezTo>
                  <a:cubicBezTo>
                    <a:pt x="428" y="346"/>
                    <a:pt x="428" y="346"/>
                    <a:pt x="428" y="346"/>
                  </a:cubicBezTo>
                  <a:cubicBezTo>
                    <a:pt x="428" y="346"/>
                    <a:pt x="423" y="346"/>
                    <a:pt x="415" y="340"/>
                  </a:cubicBezTo>
                  <a:cubicBezTo>
                    <a:pt x="407" y="334"/>
                    <a:pt x="415" y="295"/>
                    <a:pt x="415" y="295"/>
                  </a:cubicBezTo>
                  <a:cubicBezTo>
                    <a:pt x="393" y="270"/>
                    <a:pt x="393" y="270"/>
                    <a:pt x="393" y="270"/>
                  </a:cubicBezTo>
                  <a:cubicBezTo>
                    <a:pt x="393" y="270"/>
                    <a:pt x="391" y="258"/>
                    <a:pt x="380" y="258"/>
                  </a:cubicBezTo>
                  <a:cubicBezTo>
                    <a:pt x="369" y="258"/>
                    <a:pt x="348" y="240"/>
                    <a:pt x="348" y="240"/>
                  </a:cubicBezTo>
                  <a:cubicBezTo>
                    <a:pt x="335" y="239"/>
                    <a:pt x="335" y="239"/>
                    <a:pt x="335" y="239"/>
                  </a:cubicBezTo>
                  <a:cubicBezTo>
                    <a:pt x="335" y="212"/>
                    <a:pt x="335" y="212"/>
                    <a:pt x="335" y="212"/>
                  </a:cubicBezTo>
                  <a:cubicBezTo>
                    <a:pt x="335" y="212"/>
                    <a:pt x="293" y="191"/>
                    <a:pt x="291" y="182"/>
                  </a:cubicBezTo>
                  <a:cubicBezTo>
                    <a:pt x="289" y="173"/>
                    <a:pt x="299" y="168"/>
                    <a:pt x="299" y="168"/>
                  </a:cubicBezTo>
                  <a:cubicBezTo>
                    <a:pt x="299" y="168"/>
                    <a:pt x="290" y="161"/>
                    <a:pt x="291" y="154"/>
                  </a:cubicBezTo>
                  <a:cubicBezTo>
                    <a:pt x="292" y="147"/>
                    <a:pt x="305" y="148"/>
                    <a:pt x="305" y="148"/>
                  </a:cubicBezTo>
                  <a:cubicBezTo>
                    <a:pt x="304" y="135"/>
                    <a:pt x="304" y="135"/>
                    <a:pt x="304" y="135"/>
                  </a:cubicBezTo>
                  <a:cubicBezTo>
                    <a:pt x="305" y="126"/>
                    <a:pt x="305" y="126"/>
                    <a:pt x="305" y="126"/>
                  </a:cubicBezTo>
                  <a:cubicBezTo>
                    <a:pt x="305" y="126"/>
                    <a:pt x="315" y="126"/>
                    <a:pt x="318" y="118"/>
                  </a:cubicBezTo>
                  <a:cubicBezTo>
                    <a:pt x="321" y="110"/>
                    <a:pt x="307" y="101"/>
                    <a:pt x="307" y="97"/>
                  </a:cubicBezTo>
                  <a:cubicBezTo>
                    <a:pt x="307" y="93"/>
                    <a:pt x="323" y="84"/>
                    <a:pt x="318" y="80"/>
                  </a:cubicBezTo>
                  <a:cubicBezTo>
                    <a:pt x="313" y="76"/>
                    <a:pt x="299" y="85"/>
                    <a:pt x="299" y="85"/>
                  </a:cubicBezTo>
                  <a:cubicBezTo>
                    <a:pt x="288" y="73"/>
                    <a:pt x="288" y="73"/>
                    <a:pt x="288" y="73"/>
                  </a:cubicBezTo>
                  <a:cubicBezTo>
                    <a:pt x="274" y="71"/>
                    <a:pt x="274" y="71"/>
                    <a:pt x="274" y="71"/>
                  </a:cubicBezTo>
                  <a:cubicBezTo>
                    <a:pt x="274" y="71"/>
                    <a:pt x="277" y="61"/>
                    <a:pt x="265" y="50"/>
                  </a:cubicBezTo>
                  <a:cubicBezTo>
                    <a:pt x="256" y="42"/>
                    <a:pt x="251" y="19"/>
                    <a:pt x="249" y="8"/>
                  </a:cubicBezTo>
                  <a:cubicBezTo>
                    <a:pt x="222" y="19"/>
                    <a:pt x="222" y="19"/>
                    <a:pt x="222" y="19"/>
                  </a:cubicBezTo>
                  <a:cubicBezTo>
                    <a:pt x="222" y="19"/>
                    <a:pt x="224" y="2"/>
                    <a:pt x="210" y="1"/>
                  </a:cubicBezTo>
                  <a:cubicBezTo>
                    <a:pt x="196" y="0"/>
                    <a:pt x="204" y="8"/>
                    <a:pt x="196" y="10"/>
                  </a:cubicBezTo>
                  <a:cubicBezTo>
                    <a:pt x="188" y="12"/>
                    <a:pt x="179" y="1"/>
                    <a:pt x="179" y="1"/>
                  </a:cubicBezTo>
                  <a:cubicBezTo>
                    <a:pt x="153" y="1"/>
                    <a:pt x="153" y="1"/>
                    <a:pt x="153" y="1"/>
                  </a:cubicBezTo>
                  <a:cubicBezTo>
                    <a:pt x="153" y="1"/>
                    <a:pt x="154" y="14"/>
                    <a:pt x="142" y="17"/>
                  </a:cubicBezTo>
                  <a:cubicBezTo>
                    <a:pt x="141" y="17"/>
                    <a:pt x="141" y="17"/>
                    <a:pt x="140" y="17"/>
                  </a:cubicBezTo>
                  <a:cubicBezTo>
                    <a:pt x="138" y="24"/>
                    <a:pt x="133" y="33"/>
                    <a:pt x="124" y="37"/>
                  </a:cubicBezTo>
                  <a:cubicBezTo>
                    <a:pt x="108" y="44"/>
                    <a:pt x="96" y="39"/>
                    <a:pt x="92" y="53"/>
                  </a:cubicBezTo>
                  <a:cubicBezTo>
                    <a:pt x="88" y="67"/>
                    <a:pt x="103" y="75"/>
                    <a:pt x="103" y="75"/>
                  </a:cubicBezTo>
                  <a:cubicBezTo>
                    <a:pt x="103" y="75"/>
                    <a:pt x="111" y="105"/>
                    <a:pt x="107" y="110"/>
                  </a:cubicBezTo>
                  <a:cubicBezTo>
                    <a:pt x="103" y="115"/>
                    <a:pt x="97" y="122"/>
                    <a:pt x="98" y="129"/>
                  </a:cubicBezTo>
                  <a:cubicBezTo>
                    <a:pt x="99" y="136"/>
                    <a:pt x="116" y="145"/>
                    <a:pt x="104" y="154"/>
                  </a:cubicBezTo>
                  <a:cubicBezTo>
                    <a:pt x="92" y="163"/>
                    <a:pt x="43" y="181"/>
                    <a:pt x="43" y="181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12" y="246"/>
                    <a:pt x="12" y="246"/>
                    <a:pt x="12" y="246"/>
                  </a:cubicBezTo>
                  <a:cubicBezTo>
                    <a:pt x="12" y="260"/>
                    <a:pt x="12" y="260"/>
                    <a:pt x="12" y="260"/>
                  </a:cubicBezTo>
                  <a:cubicBezTo>
                    <a:pt x="29" y="269"/>
                    <a:pt x="29" y="269"/>
                    <a:pt x="29" y="269"/>
                  </a:cubicBezTo>
                  <a:cubicBezTo>
                    <a:pt x="28" y="278"/>
                    <a:pt x="28" y="278"/>
                    <a:pt x="28" y="278"/>
                  </a:cubicBezTo>
                  <a:cubicBezTo>
                    <a:pt x="28" y="278"/>
                    <a:pt x="35" y="288"/>
                    <a:pt x="44" y="287"/>
                  </a:cubicBezTo>
                  <a:cubicBezTo>
                    <a:pt x="53" y="286"/>
                    <a:pt x="78" y="287"/>
                    <a:pt x="78" y="287"/>
                  </a:cubicBezTo>
                  <a:cubicBezTo>
                    <a:pt x="78" y="287"/>
                    <a:pt x="115" y="315"/>
                    <a:pt x="127" y="321"/>
                  </a:cubicBezTo>
                  <a:cubicBezTo>
                    <a:pt x="139" y="327"/>
                    <a:pt x="160" y="341"/>
                    <a:pt x="160" y="341"/>
                  </a:cubicBezTo>
                  <a:cubicBezTo>
                    <a:pt x="288" y="438"/>
                    <a:pt x="288" y="438"/>
                    <a:pt x="288" y="438"/>
                  </a:cubicBezTo>
                  <a:cubicBezTo>
                    <a:pt x="288" y="438"/>
                    <a:pt x="339" y="439"/>
                    <a:pt x="376" y="442"/>
                  </a:cubicBezTo>
                  <a:cubicBezTo>
                    <a:pt x="376" y="442"/>
                    <a:pt x="376" y="442"/>
                    <a:pt x="376" y="442"/>
                  </a:cubicBezTo>
                  <a:cubicBezTo>
                    <a:pt x="379" y="438"/>
                    <a:pt x="386" y="431"/>
                    <a:pt x="387" y="422"/>
                  </a:cubicBezTo>
                  <a:cubicBezTo>
                    <a:pt x="389" y="410"/>
                    <a:pt x="396" y="395"/>
                    <a:pt x="396" y="395"/>
                  </a:cubicBezTo>
                  <a:cubicBezTo>
                    <a:pt x="411" y="393"/>
                    <a:pt x="411" y="393"/>
                    <a:pt x="411" y="393"/>
                  </a:cubicBezTo>
                  <a:cubicBezTo>
                    <a:pt x="431" y="393"/>
                    <a:pt x="431" y="393"/>
                    <a:pt x="431" y="393"/>
                  </a:cubicBezTo>
                  <a:cubicBezTo>
                    <a:pt x="433" y="398"/>
                    <a:pt x="433" y="398"/>
                    <a:pt x="433" y="398"/>
                  </a:cubicBezTo>
                  <a:cubicBezTo>
                    <a:pt x="451" y="392"/>
                    <a:pt x="451" y="392"/>
                    <a:pt x="451" y="392"/>
                  </a:cubicBezTo>
                  <a:cubicBezTo>
                    <a:pt x="454" y="387"/>
                    <a:pt x="454" y="387"/>
                    <a:pt x="454" y="387"/>
                  </a:cubicBezTo>
                  <a:cubicBezTo>
                    <a:pt x="451" y="384"/>
                    <a:pt x="448" y="381"/>
                    <a:pt x="448" y="378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33" name="Freeform 49"/>
            <p:cNvSpPr>
              <a:spLocks/>
            </p:cNvSpPr>
            <p:nvPr/>
          </p:nvSpPr>
          <p:spPr bwMode="auto">
            <a:xfrm>
              <a:off x="3487" y="2141"/>
              <a:ext cx="34" cy="31"/>
            </a:xfrm>
            <a:custGeom>
              <a:avLst/>
              <a:gdLst>
                <a:gd name="T0" fmla="*/ 0 w 89"/>
                <a:gd name="T1" fmla="*/ 0 h 81"/>
                <a:gd name="T2" fmla="*/ 0 w 89"/>
                <a:gd name="T3" fmla="*/ 0 h 81"/>
                <a:gd name="T4" fmla="*/ 0 w 89"/>
                <a:gd name="T5" fmla="*/ 0 h 81"/>
                <a:gd name="T6" fmla="*/ 0 w 89"/>
                <a:gd name="T7" fmla="*/ 0 h 81"/>
                <a:gd name="T8" fmla="*/ 0 w 89"/>
                <a:gd name="T9" fmla="*/ 0 h 81"/>
                <a:gd name="T10" fmla="*/ 0 w 89"/>
                <a:gd name="T11" fmla="*/ 0 h 81"/>
                <a:gd name="T12" fmla="*/ 0 w 89"/>
                <a:gd name="T13" fmla="*/ 0 h 81"/>
                <a:gd name="T14" fmla="*/ 0 w 89"/>
                <a:gd name="T15" fmla="*/ 0 h 81"/>
                <a:gd name="T16" fmla="*/ 0 w 89"/>
                <a:gd name="T17" fmla="*/ 0 h 81"/>
                <a:gd name="T18" fmla="*/ 0 w 89"/>
                <a:gd name="T19" fmla="*/ 0 h 81"/>
                <a:gd name="T20" fmla="*/ 0 w 89"/>
                <a:gd name="T21" fmla="*/ 0 h 81"/>
                <a:gd name="T22" fmla="*/ 0 w 89"/>
                <a:gd name="T23" fmla="*/ 0 h 81"/>
                <a:gd name="T24" fmla="*/ 0 w 89"/>
                <a:gd name="T25" fmla="*/ 0 h 81"/>
                <a:gd name="T26" fmla="*/ 0 w 89"/>
                <a:gd name="T27" fmla="*/ 0 h 81"/>
                <a:gd name="T28" fmla="*/ 0 w 89"/>
                <a:gd name="T29" fmla="*/ 0 h 81"/>
                <a:gd name="T30" fmla="*/ 0 w 89"/>
                <a:gd name="T31" fmla="*/ 0 h 81"/>
                <a:gd name="T32" fmla="*/ 0 w 89"/>
                <a:gd name="T33" fmla="*/ 0 h 8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9"/>
                <a:gd name="T52" fmla="*/ 0 h 81"/>
                <a:gd name="T53" fmla="*/ 89 w 89"/>
                <a:gd name="T54" fmla="*/ 81 h 8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9" h="81">
                  <a:moveTo>
                    <a:pt x="35" y="0"/>
                  </a:move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13" y="17"/>
                    <a:pt x="11" y="29"/>
                  </a:cubicBezTo>
                  <a:cubicBezTo>
                    <a:pt x="10" y="38"/>
                    <a:pt x="3" y="45"/>
                    <a:pt x="0" y="49"/>
                  </a:cubicBezTo>
                  <a:cubicBezTo>
                    <a:pt x="21" y="50"/>
                    <a:pt x="38" y="52"/>
                    <a:pt x="40" y="55"/>
                  </a:cubicBezTo>
                  <a:cubicBezTo>
                    <a:pt x="46" y="62"/>
                    <a:pt x="36" y="80"/>
                    <a:pt x="50" y="81"/>
                  </a:cubicBezTo>
                  <a:cubicBezTo>
                    <a:pt x="58" y="81"/>
                    <a:pt x="76" y="81"/>
                    <a:pt x="89" y="80"/>
                  </a:cubicBezTo>
                  <a:cubicBezTo>
                    <a:pt x="79" y="72"/>
                    <a:pt x="63" y="58"/>
                    <a:pt x="64" y="47"/>
                  </a:cubicBezTo>
                  <a:cubicBezTo>
                    <a:pt x="64" y="47"/>
                    <a:pt x="64" y="47"/>
                    <a:pt x="64" y="46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69" y="25"/>
                    <a:pt x="73" y="25"/>
                  </a:cubicBezTo>
                  <a:cubicBezTo>
                    <a:pt x="77" y="25"/>
                    <a:pt x="77" y="16"/>
                    <a:pt x="77" y="16"/>
                  </a:cubicBezTo>
                  <a:cubicBezTo>
                    <a:pt x="77" y="16"/>
                    <a:pt x="77" y="8"/>
                    <a:pt x="68" y="8"/>
                  </a:cubicBezTo>
                  <a:cubicBezTo>
                    <a:pt x="59" y="8"/>
                    <a:pt x="59" y="13"/>
                    <a:pt x="59" y="13"/>
                  </a:cubicBezTo>
                  <a:cubicBezTo>
                    <a:pt x="55" y="0"/>
                    <a:pt x="55" y="0"/>
                    <a:pt x="55" y="0"/>
                  </a:cubicBezTo>
                  <a:lnTo>
                    <a:pt x="35" y="0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34" name="Freeform 50"/>
            <p:cNvSpPr>
              <a:spLocks/>
            </p:cNvSpPr>
            <p:nvPr/>
          </p:nvSpPr>
          <p:spPr bwMode="auto">
            <a:xfrm>
              <a:off x="3419" y="1942"/>
              <a:ext cx="364" cy="299"/>
            </a:xfrm>
            <a:custGeom>
              <a:avLst/>
              <a:gdLst>
                <a:gd name="T0" fmla="*/ 0 w 959"/>
                <a:gd name="T1" fmla="*/ 0 h 789"/>
                <a:gd name="T2" fmla="*/ 0 w 959"/>
                <a:gd name="T3" fmla="*/ 0 h 789"/>
                <a:gd name="T4" fmla="*/ 0 w 959"/>
                <a:gd name="T5" fmla="*/ 0 h 789"/>
                <a:gd name="T6" fmla="*/ 0 w 959"/>
                <a:gd name="T7" fmla="*/ 0 h 789"/>
                <a:gd name="T8" fmla="*/ 0 w 959"/>
                <a:gd name="T9" fmla="*/ 0 h 789"/>
                <a:gd name="T10" fmla="*/ 0 w 959"/>
                <a:gd name="T11" fmla="*/ 0 h 789"/>
                <a:gd name="T12" fmla="*/ 0 w 959"/>
                <a:gd name="T13" fmla="*/ 0 h 789"/>
                <a:gd name="T14" fmla="*/ 0 w 959"/>
                <a:gd name="T15" fmla="*/ 0 h 789"/>
                <a:gd name="T16" fmla="*/ 0 w 959"/>
                <a:gd name="T17" fmla="*/ 0 h 789"/>
                <a:gd name="T18" fmla="*/ 0 w 959"/>
                <a:gd name="T19" fmla="*/ 0 h 789"/>
                <a:gd name="T20" fmla="*/ 0 w 959"/>
                <a:gd name="T21" fmla="*/ 0 h 789"/>
                <a:gd name="T22" fmla="*/ 0 w 959"/>
                <a:gd name="T23" fmla="*/ 0 h 789"/>
                <a:gd name="T24" fmla="*/ 0 w 959"/>
                <a:gd name="T25" fmla="*/ 0 h 789"/>
                <a:gd name="T26" fmla="*/ 0 w 959"/>
                <a:gd name="T27" fmla="*/ 0 h 789"/>
                <a:gd name="T28" fmla="*/ 0 w 959"/>
                <a:gd name="T29" fmla="*/ 0 h 789"/>
                <a:gd name="T30" fmla="*/ 0 w 959"/>
                <a:gd name="T31" fmla="*/ 0 h 789"/>
                <a:gd name="T32" fmla="*/ 0 w 959"/>
                <a:gd name="T33" fmla="*/ 0 h 789"/>
                <a:gd name="T34" fmla="*/ 0 w 959"/>
                <a:gd name="T35" fmla="*/ 0 h 789"/>
                <a:gd name="T36" fmla="*/ 0 w 959"/>
                <a:gd name="T37" fmla="*/ 0 h 789"/>
                <a:gd name="T38" fmla="*/ 0 w 959"/>
                <a:gd name="T39" fmla="*/ 0 h 789"/>
                <a:gd name="T40" fmla="*/ 0 w 959"/>
                <a:gd name="T41" fmla="*/ 0 h 789"/>
                <a:gd name="T42" fmla="*/ 0 w 959"/>
                <a:gd name="T43" fmla="*/ 0 h 789"/>
                <a:gd name="T44" fmla="*/ 0 w 959"/>
                <a:gd name="T45" fmla="*/ 0 h 789"/>
                <a:gd name="T46" fmla="*/ 0 w 959"/>
                <a:gd name="T47" fmla="*/ 0 h 789"/>
                <a:gd name="T48" fmla="*/ 0 w 959"/>
                <a:gd name="T49" fmla="*/ 0 h 789"/>
                <a:gd name="T50" fmla="*/ 0 w 959"/>
                <a:gd name="T51" fmla="*/ 0 h 789"/>
                <a:gd name="T52" fmla="*/ 0 w 959"/>
                <a:gd name="T53" fmla="*/ 0 h 789"/>
                <a:gd name="T54" fmla="*/ 0 w 959"/>
                <a:gd name="T55" fmla="*/ 0 h 789"/>
                <a:gd name="T56" fmla="*/ 0 w 959"/>
                <a:gd name="T57" fmla="*/ 0 h 789"/>
                <a:gd name="T58" fmla="*/ 0 w 959"/>
                <a:gd name="T59" fmla="*/ 0 h 789"/>
                <a:gd name="T60" fmla="*/ 0 w 959"/>
                <a:gd name="T61" fmla="*/ 0 h 789"/>
                <a:gd name="T62" fmla="*/ 0 w 959"/>
                <a:gd name="T63" fmla="*/ 0 h 789"/>
                <a:gd name="T64" fmla="*/ 0 w 959"/>
                <a:gd name="T65" fmla="*/ 0 h 789"/>
                <a:gd name="T66" fmla="*/ 0 w 959"/>
                <a:gd name="T67" fmla="*/ 0 h 789"/>
                <a:gd name="T68" fmla="*/ 0 w 959"/>
                <a:gd name="T69" fmla="*/ 0 h 789"/>
                <a:gd name="T70" fmla="*/ 0 w 959"/>
                <a:gd name="T71" fmla="*/ 0 h 789"/>
                <a:gd name="T72" fmla="*/ 0 w 959"/>
                <a:gd name="T73" fmla="*/ 0 h 789"/>
                <a:gd name="T74" fmla="*/ 0 w 959"/>
                <a:gd name="T75" fmla="*/ 0 h 789"/>
                <a:gd name="T76" fmla="*/ 0 w 959"/>
                <a:gd name="T77" fmla="*/ 0 h 789"/>
                <a:gd name="T78" fmla="*/ 0 w 959"/>
                <a:gd name="T79" fmla="*/ 0 h 789"/>
                <a:gd name="T80" fmla="*/ 0 w 959"/>
                <a:gd name="T81" fmla="*/ 0 h 789"/>
                <a:gd name="T82" fmla="*/ 0 w 959"/>
                <a:gd name="T83" fmla="*/ 0 h 789"/>
                <a:gd name="T84" fmla="*/ 0 w 959"/>
                <a:gd name="T85" fmla="*/ 0 h 789"/>
                <a:gd name="T86" fmla="*/ 0 w 959"/>
                <a:gd name="T87" fmla="*/ 0 h 789"/>
                <a:gd name="T88" fmla="*/ 0 w 959"/>
                <a:gd name="T89" fmla="*/ 0 h 789"/>
                <a:gd name="T90" fmla="*/ 0 w 959"/>
                <a:gd name="T91" fmla="*/ 0 h 789"/>
                <a:gd name="T92" fmla="*/ 0 w 959"/>
                <a:gd name="T93" fmla="*/ 0 h 789"/>
                <a:gd name="T94" fmla="*/ 0 w 959"/>
                <a:gd name="T95" fmla="*/ 0 h 789"/>
                <a:gd name="T96" fmla="*/ 0 w 959"/>
                <a:gd name="T97" fmla="*/ 0 h 78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959"/>
                <a:gd name="T148" fmla="*/ 0 h 789"/>
                <a:gd name="T149" fmla="*/ 959 w 959"/>
                <a:gd name="T150" fmla="*/ 789 h 78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959" h="789">
                  <a:moveTo>
                    <a:pt x="890" y="786"/>
                  </a:moveTo>
                  <a:cubicBezTo>
                    <a:pt x="889" y="779"/>
                    <a:pt x="885" y="751"/>
                    <a:pt x="890" y="749"/>
                  </a:cubicBezTo>
                  <a:cubicBezTo>
                    <a:pt x="896" y="746"/>
                    <a:pt x="900" y="739"/>
                    <a:pt x="900" y="739"/>
                  </a:cubicBezTo>
                  <a:cubicBezTo>
                    <a:pt x="902" y="728"/>
                    <a:pt x="902" y="728"/>
                    <a:pt x="902" y="728"/>
                  </a:cubicBezTo>
                  <a:cubicBezTo>
                    <a:pt x="902" y="728"/>
                    <a:pt x="911" y="730"/>
                    <a:pt x="915" y="724"/>
                  </a:cubicBezTo>
                  <a:cubicBezTo>
                    <a:pt x="919" y="718"/>
                    <a:pt x="913" y="714"/>
                    <a:pt x="931" y="708"/>
                  </a:cubicBezTo>
                  <a:cubicBezTo>
                    <a:pt x="949" y="702"/>
                    <a:pt x="951" y="715"/>
                    <a:pt x="955" y="710"/>
                  </a:cubicBezTo>
                  <a:cubicBezTo>
                    <a:pt x="959" y="705"/>
                    <a:pt x="958" y="689"/>
                    <a:pt x="950" y="678"/>
                  </a:cubicBezTo>
                  <a:cubicBezTo>
                    <a:pt x="942" y="667"/>
                    <a:pt x="936" y="680"/>
                    <a:pt x="933" y="673"/>
                  </a:cubicBezTo>
                  <a:cubicBezTo>
                    <a:pt x="930" y="666"/>
                    <a:pt x="931" y="643"/>
                    <a:pt x="931" y="643"/>
                  </a:cubicBezTo>
                  <a:cubicBezTo>
                    <a:pt x="928" y="641"/>
                    <a:pt x="928" y="641"/>
                    <a:pt x="928" y="641"/>
                  </a:cubicBezTo>
                  <a:cubicBezTo>
                    <a:pt x="929" y="621"/>
                    <a:pt x="929" y="621"/>
                    <a:pt x="929" y="621"/>
                  </a:cubicBezTo>
                  <a:cubicBezTo>
                    <a:pt x="916" y="622"/>
                    <a:pt x="916" y="622"/>
                    <a:pt x="916" y="622"/>
                  </a:cubicBezTo>
                  <a:cubicBezTo>
                    <a:pt x="907" y="611"/>
                    <a:pt x="907" y="611"/>
                    <a:pt x="907" y="611"/>
                  </a:cubicBezTo>
                  <a:cubicBezTo>
                    <a:pt x="907" y="611"/>
                    <a:pt x="892" y="619"/>
                    <a:pt x="884" y="609"/>
                  </a:cubicBezTo>
                  <a:cubicBezTo>
                    <a:pt x="876" y="599"/>
                    <a:pt x="862" y="579"/>
                    <a:pt x="856" y="568"/>
                  </a:cubicBezTo>
                  <a:cubicBezTo>
                    <a:pt x="850" y="557"/>
                    <a:pt x="830" y="538"/>
                    <a:pt x="830" y="538"/>
                  </a:cubicBezTo>
                  <a:cubicBezTo>
                    <a:pt x="830" y="538"/>
                    <a:pt x="825" y="537"/>
                    <a:pt x="825" y="533"/>
                  </a:cubicBezTo>
                  <a:cubicBezTo>
                    <a:pt x="825" y="529"/>
                    <a:pt x="841" y="515"/>
                    <a:pt x="848" y="505"/>
                  </a:cubicBezTo>
                  <a:cubicBezTo>
                    <a:pt x="855" y="495"/>
                    <a:pt x="866" y="482"/>
                    <a:pt x="860" y="465"/>
                  </a:cubicBezTo>
                  <a:cubicBezTo>
                    <a:pt x="854" y="448"/>
                    <a:pt x="839" y="453"/>
                    <a:pt x="839" y="453"/>
                  </a:cubicBezTo>
                  <a:cubicBezTo>
                    <a:pt x="839" y="453"/>
                    <a:pt x="809" y="453"/>
                    <a:pt x="809" y="445"/>
                  </a:cubicBezTo>
                  <a:cubicBezTo>
                    <a:pt x="809" y="437"/>
                    <a:pt x="809" y="423"/>
                    <a:pt x="809" y="412"/>
                  </a:cubicBezTo>
                  <a:cubicBezTo>
                    <a:pt x="809" y="401"/>
                    <a:pt x="782" y="377"/>
                    <a:pt x="784" y="364"/>
                  </a:cubicBezTo>
                  <a:cubicBezTo>
                    <a:pt x="786" y="351"/>
                    <a:pt x="801" y="343"/>
                    <a:pt x="800" y="337"/>
                  </a:cubicBezTo>
                  <a:cubicBezTo>
                    <a:pt x="799" y="331"/>
                    <a:pt x="778" y="334"/>
                    <a:pt x="778" y="334"/>
                  </a:cubicBezTo>
                  <a:cubicBezTo>
                    <a:pt x="780" y="315"/>
                    <a:pt x="780" y="315"/>
                    <a:pt x="780" y="315"/>
                  </a:cubicBezTo>
                  <a:cubicBezTo>
                    <a:pt x="780" y="315"/>
                    <a:pt x="769" y="306"/>
                    <a:pt x="772" y="301"/>
                  </a:cubicBezTo>
                  <a:cubicBezTo>
                    <a:pt x="775" y="296"/>
                    <a:pt x="789" y="291"/>
                    <a:pt x="789" y="291"/>
                  </a:cubicBezTo>
                  <a:cubicBezTo>
                    <a:pt x="784" y="280"/>
                    <a:pt x="784" y="280"/>
                    <a:pt x="784" y="280"/>
                  </a:cubicBezTo>
                  <a:cubicBezTo>
                    <a:pt x="798" y="276"/>
                    <a:pt x="798" y="276"/>
                    <a:pt x="798" y="276"/>
                  </a:cubicBezTo>
                  <a:cubicBezTo>
                    <a:pt x="798" y="276"/>
                    <a:pt x="791" y="246"/>
                    <a:pt x="792" y="239"/>
                  </a:cubicBezTo>
                  <a:cubicBezTo>
                    <a:pt x="793" y="232"/>
                    <a:pt x="799" y="225"/>
                    <a:pt x="799" y="225"/>
                  </a:cubicBezTo>
                  <a:cubicBezTo>
                    <a:pt x="792" y="207"/>
                    <a:pt x="792" y="207"/>
                    <a:pt x="792" y="207"/>
                  </a:cubicBezTo>
                  <a:cubicBezTo>
                    <a:pt x="793" y="192"/>
                    <a:pt x="793" y="192"/>
                    <a:pt x="793" y="192"/>
                  </a:cubicBezTo>
                  <a:cubicBezTo>
                    <a:pt x="786" y="189"/>
                    <a:pt x="786" y="189"/>
                    <a:pt x="786" y="189"/>
                  </a:cubicBezTo>
                  <a:cubicBezTo>
                    <a:pt x="785" y="167"/>
                    <a:pt x="785" y="167"/>
                    <a:pt x="785" y="167"/>
                  </a:cubicBezTo>
                  <a:cubicBezTo>
                    <a:pt x="743" y="169"/>
                    <a:pt x="743" y="169"/>
                    <a:pt x="743" y="169"/>
                  </a:cubicBezTo>
                  <a:cubicBezTo>
                    <a:pt x="743" y="169"/>
                    <a:pt x="729" y="153"/>
                    <a:pt x="723" y="149"/>
                  </a:cubicBezTo>
                  <a:cubicBezTo>
                    <a:pt x="717" y="145"/>
                    <a:pt x="704" y="143"/>
                    <a:pt x="704" y="143"/>
                  </a:cubicBezTo>
                  <a:cubicBezTo>
                    <a:pt x="704" y="143"/>
                    <a:pt x="696" y="125"/>
                    <a:pt x="691" y="121"/>
                  </a:cubicBezTo>
                  <a:cubicBezTo>
                    <a:pt x="686" y="117"/>
                    <a:pt x="648" y="116"/>
                    <a:pt x="648" y="116"/>
                  </a:cubicBezTo>
                  <a:cubicBezTo>
                    <a:pt x="645" y="120"/>
                    <a:pt x="645" y="120"/>
                    <a:pt x="645" y="120"/>
                  </a:cubicBezTo>
                  <a:cubicBezTo>
                    <a:pt x="645" y="120"/>
                    <a:pt x="624" y="103"/>
                    <a:pt x="619" y="103"/>
                  </a:cubicBezTo>
                  <a:cubicBezTo>
                    <a:pt x="614" y="103"/>
                    <a:pt x="602" y="103"/>
                    <a:pt x="602" y="103"/>
                  </a:cubicBezTo>
                  <a:cubicBezTo>
                    <a:pt x="602" y="103"/>
                    <a:pt x="601" y="89"/>
                    <a:pt x="595" y="85"/>
                  </a:cubicBezTo>
                  <a:cubicBezTo>
                    <a:pt x="589" y="81"/>
                    <a:pt x="580" y="86"/>
                    <a:pt x="580" y="86"/>
                  </a:cubicBezTo>
                  <a:cubicBezTo>
                    <a:pt x="580" y="86"/>
                    <a:pt x="559" y="83"/>
                    <a:pt x="556" y="85"/>
                  </a:cubicBezTo>
                  <a:cubicBezTo>
                    <a:pt x="553" y="87"/>
                    <a:pt x="551" y="93"/>
                    <a:pt x="551" y="93"/>
                  </a:cubicBezTo>
                  <a:cubicBezTo>
                    <a:pt x="551" y="93"/>
                    <a:pt x="535" y="88"/>
                    <a:pt x="524" y="90"/>
                  </a:cubicBezTo>
                  <a:cubicBezTo>
                    <a:pt x="513" y="92"/>
                    <a:pt x="487" y="115"/>
                    <a:pt x="487" y="115"/>
                  </a:cubicBezTo>
                  <a:cubicBezTo>
                    <a:pt x="487" y="123"/>
                    <a:pt x="487" y="123"/>
                    <a:pt x="487" y="123"/>
                  </a:cubicBezTo>
                  <a:cubicBezTo>
                    <a:pt x="487" y="123"/>
                    <a:pt x="476" y="132"/>
                    <a:pt x="472" y="133"/>
                  </a:cubicBezTo>
                  <a:cubicBezTo>
                    <a:pt x="468" y="134"/>
                    <a:pt x="452" y="133"/>
                    <a:pt x="452" y="133"/>
                  </a:cubicBezTo>
                  <a:cubicBezTo>
                    <a:pt x="452" y="133"/>
                    <a:pt x="472" y="159"/>
                    <a:pt x="460" y="161"/>
                  </a:cubicBezTo>
                  <a:cubicBezTo>
                    <a:pt x="448" y="163"/>
                    <a:pt x="437" y="156"/>
                    <a:pt x="437" y="156"/>
                  </a:cubicBezTo>
                  <a:cubicBezTo>
                    <a:pt x="437" y="156"/>
                    <a:pt x="412" y="161"/>
                    <a:pt x="399" y="164"/>
                  </a:cubicBezTo>
                  <a:cubicBezTo>
                    <a:pt x="386" y="167"/>
                    <a:pt x="379" y="176"/>
                    <a:pt x="371" y="175"/>
                  </a:cubicBezTo>
                  <a:cubicBezTo>
                    <a:pt x="363" y="174"/>
                    <a:pt x="355" y="165"/>
                    <a:pt x="345" y="165"/>
                  </a:cubicBezTo>
                  <a:cubicBezTo>
                    <a:pt x="335" y="165"/>
                    <a:pt x="323" y="165"/>
                    <a:pt x="309" y="155"/>
                  </a:cubicBezTo>
                  <a:cubicBezTo>
                    <a:pt x="295" y="145"/>
                    <a:pt x="287" y="128"/>
                    <a:pt x="287" y="128"/>
                  </a:cubicBezTo>
                  <a:cubicBezTo>
                    <a:pt x="287" y="128"/>
                    <a:pt x="258" y="125"/>
                    <a:pt x="255" y="125"/>
                  </a:cubicBezTo>
                  <a:cubicBezTo>
                    <a:pt x="252" y="125"/>
                    <a:pt x="240" y="118"/>
                    <a:pt x="233" y="110"/>
                  </a:cubicBezTo>
                  <a:cubicBezTo>
                    <a:pt x="226" y="102"/>
                    <a:pt x="218" y="80"/>
                    <a:pt x="218" y="80"/>
                  </a:cubicBezTo>
                  <a:cubicBezTo>
                    <a:pt x="208" y="78"/>
                    <a:pt x="208" y="78"/>
                    <a:pt x="208" y="78"/>
                  </a:cubicBezTo>
                  <a:cubicBezTo>
                    <a:pt x="208" y="78"/>
                    <a:pt x="205" y="72"/>
                    <a:pt x="199" y="69"/>
                  </a:cubicBezTo>
                  <a:cubicBezTo>
                    <a:pt x="193" y="66"/>
                    <a:pt x="180" y="58"/>
                    <a:pt x="180" y="53"/>
                  </a:cubicBezTo>
                  <a:cubicBezTo>
                    <a:pt x="180" y="48"/>
                    <a:pt x="190" y="52"/>
                    <a:pt x="190" y="46"/>
                  </a:cubicBezTo>
                  <a:cubicBezTo>
                    <a:pt x="190" y="40"/>
                    <a:pt x="181" y="38"/>
                    <a:pt x="181" y="33"/>
                  </a:cubicBezTo>
                  <a:cubicBezTo>
                    <a:pt x="181" y="28"/>
                    <a:pt x="190" y="28"/>
                    <a:pt x="188" y="22"/>
                  </a:cubicBezTo>
                  <a:cubicBezTo>
                    <a:pt x="186" y="16"/>
                    <a:pt x="179" y="4"/>
                    <a:pt x="173" y="4"/>
                  </a:cubicBezTo>
                  <a:cubicBezTo>
                    <a:pt x="167" y="4"/>
                    <a:pt x="131" y="31"/>
                    <a:pt x="128" y="35"/>
                  </a:cubicBezTo>
                  <a:cubicBezTo>
                    <a:pt x="125" y="39"/>
                    <a:pt x="117" y="50"/>
                    <a:pt x="114" y="51"/>
                  </a:cubicBezTo>
                  <a:cubicBezTo>
                    <a:pt x="111" y="52"/>
                    <a:pt x="102" y="52"/>
                    <a:pt x="87" y="52"/>
                  </a:cubicBezTo>
                  <a:cubicBezTo>
                    <a:pt x="72" y="52"/>
                    <a:pt x="55" y="38"/>
                    <a:pt x="45" y="30"/>
                  </a:cubicBezTo>
                  <a:cubicBezTo>
                    <a:pt x="35" y="22"/>
                    <a:pt x="38" y="4"/>
                    <a:pt x="29" y="2"/>
                  </a:cubicBezTo>
                  <a:cubicBezTo>
                    <a:pt x="20" y="0"/>
                    <a:pt x="16" y="22"/>
                    <a:pt x="16" y="2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9" y="76"/>
                    <a:pt x="24" y="78"/>
                  </a:cubicBezTo>
                  <a:cubicBezTo>
                    <a:pt x="29" y="80"/>
                    <a:pt x="16" y="99"/>
                    <a:pt x="16" y="99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53" y="134"/>
                    <a:pt x="53" y="134"/>
                    <a:pt x="53" y="134"/>
                  </a:cubicBezTo>
                  <a:cubicBezTo>
                    <a:pt x="53" y="134"/>
                    <a:pt x="58" y="171"/>
                    <a:pt x="70" y="182"/>
                  </a:cubicBezTo>
                  <a:cubicBezTo>
                    <a:pt x="82" y="193"/>
                    <a:pt x="79" y="203"/>
                    <a:pt x="79" y="203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104" y="217"/>
                    <a:pt x="104" y="217"/>
                    <a:pt x="104" y="217"/>
                  </a:cubicBezTo>
                  <a:cubicBezTo>
                    <a:pt x="104" y="217"/>
                    <a:pt x="118" y="208"/>
                    <a:pt x="123" y="212"/>
                  </a:cubicBezTo>
                  <a:cubicBezTo>
                    <a:pt x="128" y="216"/>
                    <a:pt x="112" y="225"/>
                    <a:pt x="112" y="229"/>
                  </a:cubicBezTo>
                  <a:cubicBezTo>
                    <a:pt x="112" y="233"/>
                    <a:pt x="126" y="242"/>
                    <a:pt x="123" y="250"/>
                  </a:cubicBezTo>
                  <a:cubicBezTo>
                    <a:pt x="120" y="258"/>
                    <a:pt x="110" y="258"/>
                    <a:pt x="110" y="258"/>
                  </a:cubicBezTo>
                  <a:cubicBezTo>
                    <a:pt x="109" y="267"/>
                    <a:pt x="109" y="267"/>
                    <a:pt x="109" y="267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10" y="280"/>
                    <a:pt x="97" y="279"/>
                    <a:pt x="96" y="286"/>
                  </a:cubicBezTo>
                  <a:cubicBezTo>
                    <a:pt x="95" y="293"/>
                    <a:pt x="104" y="300"/>
                    <a:pt x="104" y="300"/>
                  </a:cubicBezTo>
                  <a:cubicBezTo>
                    <a:pt x="104" y="300"/>
                    <a:pt x="94" y="305"/>
                    <a:pt x="96" y="314"/>
                  </a:cubicBezTo>
                  <a:cubicBezTo>
                    <a:pt x="98" y="323"/>
                    <a:pt x="140" y="344"/>
                    <a:pt x="140" y="344"/>
                  </a:cubicBezTo>
                  <a:cubicBezTo>
                    <a:pt x="140" y="371"/>
                    <a:pt x="140" y="371"/>
                    <a:pt x="140" y="371"/>
                  </a:cubicBezTo>
                  <a:cubicBezTo>
                    <a:pt x="153" y="372"/>
                    <a:pt x="153" y="372"/>
                    <a:pt x="153" y="372"/>
                  </a:cubicBezTo>
                  <a:cubicBezTo>
                    <a:pt x="153" y="372"/>
                    <a:pt x="174" y="390"/>
                    <a:pt x="185" y="390"/>
                  </a:cubicBezTo>
                  <a:cubicBezTo>
                    <a:pt x="196" y="390"/>
                    <a:pt x="198" y="402"/>
                    <a:pt x="198" y="402"/>
                  </a:cubicBezTo>
                  <a:cubicBezTo>
                    <a:pt x="220" y="427"/>
                    <a:pt x="220" y="427"/>
                    <a:pt x="220" y="427"/>
                  </a:cubicBezTo>
                  <a:cubicBezTo>
                    <a:pt x="220" y="427"/>
                    <a:pt x="212" y="466"/>
                    <a:pt x="220" y="472"/>
                  </a:cubicBezTo>
                  <a:cubicBezTo>
                    <a:pt x="228" y="478"/>
                    <a:pt x="233" y="478"/>
                    <a:pt x="233" y="478"/>
                  </a:cubicBezTo>
                  <a:cubicBezTo>
                    <a:pt x="237" y="497"/>
                    <a:pt x="237" y="497"/>
                    <a:pt x="237" y="497"/>
                  </a:cubicBezTo>
                  <a:cubicBezTo>
                    <a:pt x="237" y="497"/>
                    <a:pt x="252" y="501"/>
                    <a:pt x="253" y="510"/>
                  </a:cubicBezTo>
                  <a:cubicBezTo>
                    <a:pt x="254" y="519"/>
                    <a:pt x="275" y="533"/>
                    <a:pt x="282" y="528"/>
                  </a:cubicBezTo>
                  <a:cubicBezTo>
                    <a:pt x="289" y="523"/>
                    <a:pt x="267" y="512"/>
                    <a:pt x="283" y="505"/>
                  </a:cubicBezTo>
                  <a:cubicBezTo>
                    <a:pt x="299" y="498"/>
                    <a:pt x="298" y="516"/>
                    <a:pt x="298" y="516"/>
                  </a:cubicBezTo>
                  <a:cubicBezTo>
                    <a:pt x="305" y="522"/>
                    <a:pt x="305" y="522"/>
                    <a:pt x="305" y="522"/>
                  </a:cubicBezTo>
                  <a:cubicBezTo>
                    <a:pt x="306" y="521"/>
                    <a:pt x="308" y="521"/>
                    <a:pt x="311" y="522"/>
                  </a:cubicBezTo>
                  <a:cubicBezTo>
                    <a:pt x="313" y="523"/>
                    <a:pt x="314" y="523"/>
                    <a:pt x="316" y="524"/>
                  </a:cubicBezTo>
                  <a:cubicBezTo>
                    <a:pt x="317" y="523"/>
                    <a:pt x="318" y="521"/>
                    <a:pt x="318" y="520"/>
                  </a:cubicBezTo>
                  <a:cubicBezTo>
                    <a:pt x="319" y="516"/>
                    <a:pt x="330" y="513"/>
                    <a:pt x="333" y="515"/>
                  </a:cubicBezTo>
                  <a:cubicBezTo>
                    <a:pt x="336" y="517"/>
                    <a:pt x="331" y="538"/>
                    <a:pt x="338" y="541"/>
                  </a:cubicBezTo>
                  <a:cubicBezTo>
                    <a:pt x="345" y="544"/>
                    <a:pt x="360" y="555"/>
                    <a:pt x="360" y="555"/>
                  </a:cubicBezTo>
                  <a:cubicBezTo>
                    <a:pt x="360" y="555"/>
                    <a:pt x="358" y="560"/>
                    <a:pt x="358" y="565"/>
                  </a:cubicBezTo>
                  <a:cubicBezTo>
                    <a:pt x="363" y="571"/>
                    <a:pt x="368" y="577"/>
                    <a:pt x="371" y="583"/>
                  </a:cubicBezTo>
                  <a:cubicBezTo>
                    <a:pt x="371" y="583"/>
                    <a:pt x="371" y="583"/>
                    <a:pt x="371" y="583"/>
                  </a:cubicBezTo>
                  <a:cubicBezTo>
                    <a:pt x="375" y="585"/>
                    <a:pt x="378" y="587"/>
                    <a:pt x="378" y="587"/>
                  </a:cubicBezTo>
                  <a:cubicBezTo>
                    <a:pt x="387" y="600"/>
                    <a:pt x="387" y="600"/>
                    <a:pt x="387" y="600"/>
                  </a:cubicBezTo>
                  <a:cubicBezTo>
                    <a:pt x="387" y="600"/>
                    <a:pt x="389" y="624"/>
                    <a:pt x="399" y="626"/>
                  </a:cubicBezTo>
                  <a:cubicBezTo>
                    <a:pt x="409" y="628"/>
                    <a:pt x="409" y="644"/>
                    <a:pt x="409" y="644"/>
                  </a:cubicBezTo>
                  <a:cubicBezTo>
                    <a:pt x="431" y="644"/>
                    <a:pt x="431" y="644"/>
                    <a:pt x="431" y="644"/>
                  </a:cubicBezTo>
                  <a:cubicBezTo>
                    <a:pt x="443" y="656"/>
                    <a:pt x="443" y="656"/>
                    <a:pt x="443" y="656"/>
                  </a:cubicBezTo>
                  <a:cubicBezTo>
                    <a:pt x="451" y="654"/>
                    <a:pt x="458" y="652"/>
                    <a:pt x="465" y="656"/>
                  </a:cubicBezTo>
                  <a:cubicBezTo>
                    <a:pt x="475" y="661"/>
                    <a:pt x="504" y="686"/>
                    <a:pt x="526" y="703"/>
                  </a:cubicBezTo>
                  <a:cubicBezTo>
                    <a:pt x="527" y="704"/>
                    <a:pt x="528" y="704"/>
                    <a:pt x="529" y="704"/>
                  </a:cubicBezTo>
                  <a:cubicBezTo>
                    <a:pt x="535" y="704"/>
                    <a:pt x="546" y="706"/>
                    <a:pt x="546" y="706"/>
                  </a:cubicBezTo>
                  <a:cubicBezTo>
                    <a:pt x="546" y="706"/>
                    <a:pt x="549" y="720"/>
                    <a:pt x="565" y="715"/>
                  </a:cubicBezTo>
                  <a:cubicBezTo>
                    <a:pt x="581" y="710"/>
                    <a:pt x="584" y="703"/>
                    <a:pt x="584" y="703"/>
                  </a:cubicBezTo>
                  <a:cubicBezTo>
                    <a:pt x="600" y="705"/>
                    <a:pt x="600" y="705"/>
                    <a:pt x="600" y="705"/>
                  </a:cubicBezTo>
                  <a:cubicBezTo>
                    <a:pt x="606" y="691"/>
                    <a:pt x="606" y="691"/>
                    <a:pt x="606" y="691"/>
                  </a:cubicBezTo>
                  <a:cubicBezTo>
                    <a:pt x="620" y="689"/>
                    <a:pt x="620" y="689"/>
                    <a:pt x="620" y="689"/>
                  </a:cubicBezTo>
                  <a:cubicBezTo>
                    <a:pt x="636" y="674"/>
                    <a:pt x="636" y="674"/>
                    <a:pt x="636" y="674"/>
                  </a:cubicBezTo>
                  <a:cubicBezTo>
                    <a:pt x="641" y="682"/>
                    <a:pt x="641" y="682"/>
                    <a:pt x="641" y="682"/>
                  </a:cubicBezTo>
                  <a:cubicBezTo>
                    <a:pt x="649" y="680"/>
                    <a:pt x="656" y="679"/>
                    <a:pt x="659" y="683"/>
                  </a:cubicBezTo>
                  <a:cubicBezTo>
                    <a:pt x="672" y="694"/>
                    <a:pt x="686" y="717"/>
                    <a:pt x="688" y="735"/>
                  </a:cubicBezTo>
                  <a:cubicBezTo>
                    <a:pt x="690" y="754"/>
                    <a:pt x="718" y="752"/>
                    <a:pt x="718" y="752"/>
                  </a:cubicBezTo>
                  <a:cubicBezTo>
                    <a:pt x="718" y="752"/>
                    <a:pt x="717" y="759"/>
                    <a:pt x="730" y="762"/>
                  </a:cubicBezTo>
                  <a:cubicBezTo>
                    <a:pt x="743" y="765"/>
                    <a:pt x="774" y="761"/>
                    <a:pt x="774" y="761"/>
                  </a:cubicBezTo>
                  <a:cubicBezTo>
                    <a:pt x="774" y="761"/>
                    <a:pt x="800" y="781"/>
                    <a:pt x="805" y="781"/>
                  </a:cubicBezTo>
                  <a:cubicBezTo>
                    <a:pt x="810" y="781"/>
                    <a:pt x="828" y="772"/>
                    <a:pt x="828" y="772"/>
                  </a:cubicBezTo>
                  <a:cubicBezTo>
                    <a:pt x="828" y="772"/>
                    <a:pt x="854" y="788"/>
                    <a:pt x="872" y="789"/>
                  </a:cubicBezTo>
                  <a:cubicBezTo>
                    <a:pt x="878" y="789"/>
                    <a:pt x="884" y="788"/>
                    <a:pt x="889" y="786"/>
                  </a:cubicBezTo>
                  <a:lnTo>
                    <a:pt x="890" y="786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35" name="Freeform 51"/>
            <p:cNvSpPr>
              <a:spLocks/>
            </p:cNvSpPr>
            <p:nvPr/>
          </p:nvSpPr>
          <p:spPr bwMode="auto">
            <a:xfrm>
              <a:off x="3808" y="1918"/>
              <a:ext cx="141" cy="90"/>
            </a:xfrm>
            <a:custGeom>
              <a:avLst/>
              <a:gdLst>
                <a:gd name="T0" fmla="*/ 0 w 372"/>
                <a:gd name="T1" fmla="*/ 0 h 238"/>
                <a:gd name="T2" fmla="*/ 0 w 372"/>
                <a:gd name="T3" fmla="*/ 0 h 238"/>
                <a:gd name="T4" fmla="*/ 0 w 372"/>
                <a:gd name="T5" fmla="*/ 0 h 238"/>
                <a:gd name="T6" fmla="*/ 0 w 372"/>
                <a:gd name="T7" fmla="*/ 0 h 238"/>
                <a:gd name="T8" fmla="*/ 0 w 372"/>
                <a:gd name="T9" fmla="*/ 0 h 238"/>
                <a:gd name="T10" fmla="*/ 0 w 372"/>
                <a:gd name="T11" fmla="*/ 0 h 238"/>
                <a:gd name="T12" fmla="*/ 0 w 372"/>
                <a:gd name="T13" fmla="*/ 0 h 238"/>
                <a:gd name="T14" fmla="*/ 0 w 372"/>
                <a:gd name="T15" fmla="*/ 0 h 238"/>
                <a:gd name="T16" fmla="*/ 0 w 372"/>
                <a:gd name="T17" fmla="*/ 0 h 238"/>
                <a:gd name="T18" fmla="*/ 0 w 372"/>
                <a:gd name="T19" fmla="*/ 0 h 238"/>
                <a:gd name="T20" fmla="*/ 0 w 372"/>
                <a:gd name="T21" fmla="*/ 0 h 238"/>
                <a:gd name="T22" fmla="*/ 0 w 372"/>
                <a:gd name="T23" fmla="*/ 0 h 238"/>
                <a:gd name="T24" fmla="*/ 0 w 372"/>
                <a:gd name="T25" fmla="*/ 0 h 238"/>
                <a:gd name="T26" fmla="*/ 0 w 372"/>
                <a:gd name="T27" fmla="*/ 0 h 238"/>
                <a:gd name="T28" fmla="*/ 0 w 372"/>
                <a:gd name="T29" fmla="*/ 0 h 238"/>
                <a:gd name="T30" fmla="*/ 0 w 372"/>
                <a:gd name="T31" fmla="*/ 0 h 238"/>
                <a:gd name="T32" fmla="*/ 0 w 372"/>
                <a:gd name="T33" fmla="*/ 0 h 238"/>
                <a:gd name="T34" fmla="*/ 0 w 372"/>
                <a:gd name="T35" fmla="*/ 0 h 238"/>
                <a:gd name="T36" fmla="*/ 0 w 372"/>
                <a:gd name="T37" fmla="*/ 0 h 238"/>
                <a:gd name="T38" fmla="*/ 0 w 372"/>
                <a:gd name="T39" fmla="*/ 0 h 238"/>
                <a:gd name="T40" fmla="*/ 0 w 372"/>
                <a:gd name="T41" fmla="*/ 0 h 238"/>
                <a:gd name="T42" fmla="*/ 0 w 372"/>
                <a:gd name="T43" fmla="*/ 0 h 238"/>
                <a:gd name="T44" fmla="*/ 0 w 372"/>
                <a:gd name="T45" fmla="*/ 0 h 238"/>
                <a:gd name="T46" fmla="*/ 0 w 372"/>
                <a:gd name="T47" fmla="*/ 0 h 238"/>
                <a:gd name="T48" fmla="*/ 0 w 372"/>
                <a:gd name="T49" fmla="*/ 0 h 238"/>
                <a:gd name="T50" fmla="*/ 0 w 372"/>
                <a:gd name="T51" fmla="*/ 0 h 238"/>
                <a:gd name="T52" fmla="*/ 0 w 372"/>
                <a:gd name="T53" fmla="*/ 0 h 238"/>
                <a:gd name="T54" fmla="*/ 0 w 372"/>
                <a:gd name="T55" fmla="*/ 0 h 238"/>
                <a:gd name="T56" fmla="*/ 0 w 372"/>
                <a:gd name="T57" fmla="*/ 0 h 238"/>
                <a:gd name="T58" fmla="*/ 0 w 372"/>
                <a:gd name="T59" fmla="*/ 0 h 238"/>
                <a:gd name="T60" fmla="*/ 0 w 372"/>
                <a:gd name="T61" fmla="*/ 0 h 238"/>
                <a:gd name="T62" fmla="*/ 0 w 372"/>
                <a:gd name="T63" fmla="*/ 0 h 238"/>
                <a:gd name="T64" fmla="*/ 0 w 372"/>
                <a:gd name="T65" fmla="*/ 0 h 238"/>
                <a:gd name="T66" fmla="*/ 0 w 372"/>
                <a:gd name="T67" fmla="*/ 0 h 23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72"/>
                <a:gd name="T103" fmla="*/ 0 h 238"/>
                <a:gd name="T104" fmla="*/ 372 w 372"/>
                <a:gd name="T105" fmla="*/ 238 h 23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72" h="238">
                  <a:moveTo>
                    <a:pt x="353" y="181"/>
                  </a:moveTo>
                  <a:cubicBezTo>
                    <a:pt x="346" y="174"/>
                    <a:pt x="345" y="152"/>
                    <a:pt x="345" y="142"/>
                  </a:cubicBezTo>
                  <a:cubicBezTo>
                    <a:pt x="345" y="132"/>
                    <a:pt x="333" y="129"/>
                    <a:pt x="319" y="125"/>
                  </a:cubicBezTo>
                  <a:cubicBezTo>
                    <a:pt x="305" y="121"/>
                    <a:pt x="301" y="136"/>
                    <a:pt x="291" y="132"/>
                  </a:cubicBezTo>
                  <a:cubicBezTo>
                    <a:pt x="281" y="128"/>
                    <a:pt x="289" y="110"/>
                    <a:pt x="289" y="103"/>
                  </a:cubicBezTo>
                  <a:cubicBezTo>
                    <a:pt x="289" y="96"/>
                    <a:pt x="275" y="99"/>
                    <a:pt x="275" y="99"/>
                  </a:cubicBezTo>
                  <a:cubicBezTo>
                    <a:pt x="275" y="82"/>
                    <a:pt x="275" y="82"/>
                    <a:pt x="275" y="82"/>
                  </a:cubicBezTo>
                  <a:cubicBezTo>
                    <a:pt x="266" y="79"/>
                    <a:pt x="266" y="79"/>
                    <a:pt x="266" y="79"/>
                  </a:cubicBezTo>
                  <a:cubicBezTo>
                    <a:pt x="258" y="88"/>
                    <a:pt x="258" y="88"/>
                    <a:pt x="258" y="88"/>
                  </a:cubicBezTo>
                  <a:cubicBezTo>
                    <a:pt x="230" y="87"/>
                    <a:pt x="230" y="87"/>
                    <a:pt x="230" y="87"/>
                  </a:cubicBezTo>
                  <a:cubicBezTo>
                    <a:pt x="230" y="87"/>
                    <a:pt x="226" y="90"/>
                    <a:pt x="216" y="93"/>
                  </a:cubicBezTo>
                  <a:cubicBezTo>
                    <a:pt x="206" y="96"/>
                    <a:pt x="210" y="90"/>
                    <a:pt x="210" y="90"/>
                  </a:cubicBezTo>
                  <a:cubicBezTo>
                    <a:pt x="210" y="90"/>
                    <a:pt x="198" y="93"/>
                    <a:pt x="195" y="93"/>
                  </a:cubicBezTo>
                  <a:cubicBezTo>
                    <a:pt x="192" y="93"/>
                    <a:pt x="181" y="75"/>
                    <a:pt x="176" y="76"/>
                  </a:cubicBezTo>
                  <a:cubicBezTo>
                    <a:pt x="171" y="77"/>
                    <a:pt x="160" y="85"/>
                    <a:pt x="154" y="86"/>
                  </a:cubicBezTo>
                  <a:cubicBezTo>
                    <a:pt x="148" y="87"/>
                    <a:pt x="142" y="77"/>
                    <a:pt x="142" y="77"/>
                  </a:cubicBezTo>
                  <a:cubicBezTo>
                    <a:pt x="142" y="77"/>
                    <a:pt x="135" y="76"/>
                    <a:pt x="130" y="78"/>
                  </a:cubicBezTo>
                  <a:cubicBezTo>
                    <a:pt x="125" y="80"/>
                    <a:pt x="108" y="75"/>
                    <a:pt x="108" y="75"/>
                  </a:cubicBezTo>
                  <a:cubicBezTo>
                    <a:pt x="108" y="75"/>
                    <a:pt x="93" y="80"/>
                    <a:pt x="86" y="81"/>
                  </a:cubicBezTo>
                  <a:cubicBezTo>
                    <a:pt x="79" y="82"/>
                    <a:pt x="76" y="62"/>
                    <a:pt x="76" y="62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8" y="44"/>
                    <a:pt x="101" y="43"/>
                  </a:cubicBezTo>
                  <a:cubicBezTo>
                    <a:pt x="114" y="42"/>
                    <a:pt x="124" y="52"/>
                    <a:pt x="131" y="56"/>
                  </a:cubicBezTo>
                  <a:cubicBezTo>
                    <a:pt x="138" y="60"/>
                    <a:pt x="140" y="49"/>
                    <a:pt x="141" y="45"/>
                  </a:cubicBezTo>
                  <a:cubicBezTo>
                    <a:pt x="142" y="41"/>
                    <a:pt x="117" y="33"/>
                    <a:pt x="117" y="33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2"/>
                    <a:pt x="118" y="0"/>
                    <a:pt x="114" y="2"/>
                  </a:cubicBezTo>
                  <a:cubicBezTo>
                    <a:pt x="110" y="4"/>
                    <a:pt x="99" y="16"/>
                    <a:pt x="91" y="21"/>
                  </a:cubicBezTo>
                  <a:cubicBezTo>
                    <a:pt x="83" y="26"/>
                    <a:pt x="80" y="12"/>
                    <a:pt x="74" y="12"/>
                  </a:cubicBezTo>
                  <a:cubicBezTo>
                    <a:pt x="68" y="12"/>
                    <a:pt x="66" y="21"/>
                    <a:pt x="65" y="25"/>
                  </a:cubicBezTo>
                  <a:cubicBezTo>
                    <a:pt x="64" y="29"/>
                    <a:pt x="77" y="36"/>
                    <a:pt x="71" y="42"/>
                  </a:cubicBezTo>
                  <a:cubicBezTo>
                    <a:pt x="65" y="48"/>
                    <a:pt x="46" y="43"/>
                    <a:pt x="46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61" y="71"/>
                    <a:pt x="46" y="80"/>
                  </a:cubicBezTo>
                  <a:cubicBezTo>
                    <a:pt x="31" y="89"/>
                    <a:pt x="12" y="77"/>
                    <a:pt x="6" y="82"/>
                  </a:cubicBezTo>
                  <a:cubicBezTo>
                    <a:pt x="0" y="87"/>
                    <a:pt x="0" y="97"/>
                    <a:pt x="0" y="97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21" y="108"/>
                    <a:pt x="21" y="108"/>
                    <a:pt x="21" y="108"/>
                  </a:cubicBezTo>
                  <a:cubicBezTo>
                    <a:pt x="21" y="108"/>
                    <a:pt x="37" y="109"/>
                    <a:pt x="42" y="114"/>
                  </a:cubicBezTo>
                  <a:cubicBezTo>
                    <a:pt x="47" y="119"/>
                    <a:pt x="36" y="128"/>
                    <a:pt x="42" y="138"/>
                  </a:cubicBezTo>
                  <a:cubicBezTo>
                    <a:pt x="48" y="148"/>
                    <a:pt x="61" y="147"/>
                    <a:pt x="61" y="158"/>
                  </a:cubicBezTo>
                  <a:cubicBezTo>
                    <a:pt x="61" y="169"/>
                    <a:pt x="51" y="179"/>
                    <a:pt x="44" y="187"/>
                  </a:cubicBezTo>
                  <a:cubicBezTo>
                    <a:pt x="40" y="191"/>
                    <a:pt x="41" y="200"/>
                    <a:pt x="42" y="206"/>
                  </a:cubicBezTo>
                  <a:cubicBezTo>
                    <a:pt x="48" y="211"/>
                    <a:pt x="56" y="217"/>
                    <a:pt x="58" y="218"/>
                  </a:cubicBezTo>
                  <a:cubicBezTo>
                    <a:pt x="61" y="219"/>
                    <a:pt x="86" y="199"/>
                    <a:pt x="89" y="199"/>
                  </a:cubicBezTo>
                  <a:cubicBezTo>
                    <a:pt x="92" y="199"/>
                    <a:pt x="103" y="216"/>
                    <a:pt x="107" y="214"/>
                  </a:cubicBezTo>
                  <a:cubicBezTo>
                    <a:pt x="111" y="212"/>
                    <a:pt x="106" y="194"/>
                    <a:pt x="111" y="189"/>
                  </a:cubicBezTo>
                  <a:cubicBezTo>
                    <a:pt x="116" y="184"/>
                    <a:pt x="138" y="183"/>
                    <a:pt x="138" y="183"/>
                  </a:cubicBezTo>
                  <a:cubicBezTo>
                    <a:pt x="145" y="189"/>
                    <a:pt x="145" y="189"/>
                    <a:pt x="145" y="189"/>
                  </a:cubicBezTo>
                  <a:cubicBezTo>
                    <a:pt x="150" y="175"/>
                    <a:pt x="150" y="175"/>
                    <a:pt x="150" y="175"/>
                  </a:cubicBezTo>
                  <a:cubicBezTo>
                    <a:pt x="150" y="175"/>
                    <a:pt x="142" y="175"/>
                    <a:pt x="142" y="168"/>
                  </a:cubicBezTo>
                  <a:cubicBezTo>
                    <a:pt x="142" y="161"/>
                    <a:pt x="156" y="158"/>
                    <a:pt x="156" y="154"/>
                  </a:cubicBezTo>
                  <a:cubicBezTo>
                    <a:pt x="156" y="150"/>
                    <a:pt x="155" y="135"/>
                    <a:pt x="164" y="135"/>
                  </a:cubicBezTo>
                  <a:cubicBezTo>
                    <a:pt x="173" y="135"/>
                    <a:pt x="184" y="144"/>
                    <a:pt x="184" y="149"/>
                  </a:cubicBezTo>
                  <a:cubicBezTo>
                    <a:pt x="184" y="154"/>
                    <a:pt x="184" y="168"/>
                    <a:pt x="184" y="168"/>
                  </a:cubicBezTo>
                  <a:cubicBezTo>
                    <a:pt x="198" y="168"/>
                    <a:pt x="198" y="168"/>
                    <a:pt x="198" y="168"/>
                  </a:cubicBezTo>
                  <a:cubicBezTo>
                    <a:pt x="205" y="210"/>
                    <a:pt x="205" y="210"/>
                    <a:pt x="205" y="210"/>
                  </a:cubicBezTo>
                  <a:cubicBezTo>
                    <a:pt x="205" y="210"/>
                    <a:pt x="221" y="238"/>
                    <a:pt x="228" y="235"/>
                  </a:cubicBezTo>
                  <a:cubicBezTo>
                    <a:pt x="235" y="232"/>
                    <a:pt x="249" y="216"/>
                    <a:pt x="249" y="216"/>
                  </a:cubicBezTo>
                  <a:cubicBezTo>
                    <a:pt x="259" y="216"/>
                    <a:pt x="259" y="216"/>
                    <a:pt x="259" y="216"/>
                  </a:cubicBezTo>
                  <a:cubicBezTo>
                    <a:pt x="259" y="216"/>
                    <a:pt x="266" y="205"/>
                    <a:pt x="273" y="197"/>
                  </a:cubicBezTo>
                  <a:cubicBezTo>
                    <a:pt x="280" y="189"/>
                    <a:pt x="304" y="192"/>
                    <a:pt x="304" y="192"/>
                  </a:cubicBezTo>
                  <a:cubicBezTo>
                    <a:pt x="306" y="202"/>
                    <a:pt x="306" y="202"/>
                    <a:pt x="306" y="202"/>
                  </a:cubicBezTo>
                  <a:cubicBezTo>
                    <a:pt x="330" y="194"/>
                    <a:pt x="330" y="194"/>
                    <a:pt x="330" y="194"/>
                  </a:cubicBezTo>
                  <a:cubicBezTo>
                    <a:pt x="343" y="194"/>
                    <a:pt x="343" y="194"/>
                    <a:pt x="343" y="194"/>
                  </a:cubicBezTo>
                  <a:cubicBezTo>
                    <a:pt x="350" y="199"/>
                    <a:pt x="350" y="199"/>
                    <a:pt x="350" y="199"/>
                  </a:cubicBezTo>
                  <a:cubicBezTo>
                    <a:pt x="355" y="199"/>
                    <a:pt x="361" y="199"/>
                    <a:pt x="364" y="197"/>
                  </a:cubicBezTo>
                  <a:cubicBezTo>
                    <a:pt x="372" y="191"/>
                    <a:pt x="360" y="188"/>
                    <a:pt x="353" y="18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36" name="Freeform 52"/>
            <p:cNvSpPr>
              <a:spLocks/>
            </p:cNvSpPr>
            <p:nvPr/>
          </p:nvSpPr>
          <p:spPr bwMode="auto">
            <a:xfrm>
              <a:off x="3837" y="1874"/>
              <a:ext cx="170" cy="80"/>
            </a:xfrm>
            <a:custGeom>
              <a:avLst/>
              <a:gdLst>
                <a:gd name="T0" fmla="*/ 0 w 449"/>
                <a:gd name="T1" fmla="*/ 0 h 211"/>
                <a:gd name="T2" fmla="*/ 0 w 449"/>
                <a:gd name="T3" fmla="*/ 0 h 211"/>
                <a:gd name="T4" fmla="*/ 0 w 449"/>
                <a:gd name="T5" fmla="*/ 0 h 211"/>
                <a:gd name="T6" fmla="*/ 0 w 449"/>
                <a:gd name="T7" fmla="*/ 0 h 211"/>
                <a:gd name="T8" fmla="*/ 0 w 449"/>
                <a:gd name="T9" fmla="*/ 0 h 211"/>
                <a:gd name="T10" fmla="*/ 0 w 449"/>
                <a:gd name="T11" fmla="*/ 0 h 211"/>
                <a:gd name="T12" fmla="*/ 0 w 449"/>
                <a:gd name="T13" fmla="*/ 0 h 211"/>
                <a:gd name="T14" fmla="*/ 0 w 449"/>
                <a:gd name="T15" fmla="*/ 0 h 211"/>
                <a:gd name="T16" fmla="*/ 0 w 449"/>
                <a:gd name="T17" fmla="*/ 0 h 211"/>
                <a:gd name="T18" fmla="*/ 0 w 449"/>
                <a:gd name="T19" fmla="*/ 0 h 211"/>
                <a:gd name="T20" fmla="*/ 0 w 449"/>
                <a:gd name="T21" fmla="*/ 0 h 211"/>
                <a:gd name="T22" fmla="*/ 0 w 449"/>
                <a:gd name="T23" fmla="*/ 0 h 211"/>
                <a:gd name="T24" fmla="*/ 0 w 449"/>
                <a:gd name="T25" fmla="*/ 0 h 211"/>
                <a:gd name="T26" fmla="*/ 0 w 449"/>
                <a:gd name="T27" fmla="*/ 0 h 211"/>
                <a:gd name="T28" fmla="*/ 0 w 449"/>
                <a:gd name="T29" fmla="*/ 0 h 211"/>
                <a:gd name="T30" fmla="*/ 0 w 449"/>
                <a:gd name="T31" fmla="*/ 0 h 211"/>
                <a:gd name="T32" fmla="*/ 0 w 449"/>
                <a:gd name="T33" fmla="*/ 0 h 211"/>
                <a:gd name="T34" fmla="*/ 0 w 449"/>
                <a:gd name="T35" fmla="*/ 0 h 211"/>
                <a:gd name="T36" fmla="*/ 0 w 449"/>
                <a:gd name="T37" fmla="*/ 0 h 211"/>
                <a:gd name="T38" fmla="*/ 0 w 449"/>
                <a:gd name="T39" fmla="*/ 0 h 211"/>
                <a:gd name="T40" fmla="*/ 0 w 449"/>
                <a:gd name="T41" fmla="*/ 0 h 211"/>
                <a:gd name="T42" fmla="*/ 0 w 449"/>
                <a:gd name="T43" fmla="*/ 0 h 211"/>
                <a:gd name="T44" fmla="*/ 0 w 449"/>
                <a:gd name="T45" fmla="*/ 0 h 211"/>
                <a:gd name="T46" fmla="*/ 0 w 449"/>
                <a:gd name="T47" fmla="*/ 0 h 211"/>
                <a:gd name="T48" fmla="*/ 0 w 449"/>
                <a:gd name="T49" fmla="*/ 0 h 211"/>
                <a:gd name="T50" fmla="*/ 0 w 449"/>
                <a:gd name="T51" fmla="*/ 0 h 211"/>
                <a:gd name="T52" fmla="*/ 0 w 449"/>
                <a:gd name="T53" fmla="*/ 0 h 211"/>
                <a:gd name="T54" fmla="*/ 0 w 449"/>
                <a:gd name="T55" fmla="*/ 0 h 211"/>
                <a:gd name="T56" fmla="*/ 0 w 449"/>
                <a:gd name="T57" fmla="*/ 0 h 211"/>
                <a:gd name="T58" fmla="*/ 0 w 449"/>
                <a:gd name="T59" fmla="*/ 0 h 211"/>
                <a:gd name="T60" fmla="*/ 0 w 449"/>
                <a:gd name="T61" fmla="*/ 0 h 211"/>
                <a:gd name="T62" fmla="*/ 0 w 449"/>
                <a:gd name="T63" fmla="*/ 0 h 211"/>
                <a:gd name="T64" fmla="*/ 0 w 449"/>
                <a:gd name="T65" fmla="*/ 0 h 211"/>
                <a:gd name="T66" fmla="*/ 0 w 449"/>
                <a:gd name="T67" fmla="*/ 0 h 211"/>
                <a:gd name="T68" fmla="*/ 0 w 449"/>
                <a:gd name="T69" fmla="*/ 0 h 211"/>
                <a:gd name="T70" fmla="*/ 0 w 449"/>
                <a:gd name="T71" fmla="*/ 0 h 2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49"/>
                <a:gd name="T109" fmla="*/ 0 h 211"/>
                <a:gd name="T110" fmla="*/ 449 w 449"/>
                <a:gd name="T111" fmla="*/ 211 h 2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49" h="211">
                  <a:moveTo>
                    <a:pt x="23" y="88"/>
                  </a:moveTo>
                  <a:cubicBezTo>
                    <a:pt x="46" y="96"/>
                    <a:pt x="46" y="96"/>
                    <a:pt x="46" y="96"/>
                  </a:cubicBezTo>
                  <a:cubicBezTo>
                    <a:pt x="46" y="96"/>
                    <a:pt x="47" y="101"/>
                    <a:pt x="52" y="105"/>
                  </a:cubicBezTo>
                  <a:cubicBezTo>
                    <a:pt x="57" y="109"/>
                    <a:pt x="76" y="107"/>
                    <a:pt x="76" y="107"/>
                  </a:cubicBezTo>
                  <a:cubicBezTo>
                    <a:pt x="75" y="98"/>
                    <a:pt x="75" y="98"/>
                    <a:pt x="75" y="98"/>
                  </a:cubicBezTo>
                  <a:cubicBezTo>
                    <a:pt x="84" y="98"/>
                    <a:pt x="84" y="98"/>
                    <a:pt x="84" y="98"/>
                  </a:cubicBezTo>
                  <a:cubicBezTo>
                    <a:pt x="84" y="88"/>
                    <a:pt x="84" y="88"/>
                    <a:pt x="84" y="88"/>
                  </a:cubicBezTo>
                  <a:cubicBezTo>
                    <a:pt x="95" y="106"/>
                    <a:pt x="95" y="106"/>
                    <a:pt x="95" y="106"/>
                  </a:cubicBezTo>
                  <a:cubicBezTo>
                    <a:pt x="108" y="106"/>
                    <a:pt x="108" y="106"/>
                    <a:pt x="108" y="106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27" y="119"/>
                    <a:pt x="127" y="119"/>
                    <a:pt x="127" y="119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32" y="124"/>
                    <a:pt x="161" y="118"/>
                    <a:pt x="151" y="130"/>
                  </a:cubicBezTo>
                  <a:cubicBezTo>
                    <a:pt x="141" y="142"/>
                    <a:pt x="129" y="141"/>
                    <a:pt x="129" y="141"/>
                  </a:cubicBezTo>
                  <a:cubicBezTo>
                    <a:pt x="129" y="147"/>
                    <a:pt x="129" y="147"/>
                    <a:pt x="129" y="147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5" y="149"/>
                    <a:pt x="113" y="158"/>
                    <a:pt x="104" y="162"/>
                  </a:cubicBezTo>
                  <a:cubicBezTo>
                    <a:pt x="95" y="166"/>
                    <a:pt x="91" y="150"/>
                    <a:pt x="84" y="152"/>
                  </a:cubicBezTo>
                  <a:cubicBezTo>
                    <a:pt x="80" y="153"/>
                    <a:pt x="71" y="156"/>
                    <a:pt x="64" y="159"/>
                  </a:cubicBezTo>
                  <a:cubicBezTo>
                    <a:pt x="65" y="159"/>
                    <a:pt x="65" y="159"/>
                    <a:pt x="65" y="160"/>
                  </a:cubicBezTo>
                  <a:cubicBezTo>
                    <a:pt x="64" y="164"/>
                    <a:pt x="62" y="175"/>
                    <a:pt x="55" y="171"/>
                  </a:cubicBezTo>
                  <a:cubicBezTo>
                    <a:pt x="48" y="167"/>
                    <a:pt x="38" y="157"/>
                    <a:pt x="25" y="158"/>
                  </a:cubicBezTo>
                  <a:cubicBezTo>
                    <a:pt x="12" y="159"/>
                    <a:pt x="9" y="174"/>
                    <a:pt x="9" y="174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177"/>
                    <a:pt x="3" y="197"/>
                    <a:pt x="10" y="196"/>
                  </a:cubicBezTo>
                  <a:cubicBezTo>
                    <a:pt x="17" y="195"/>
                    <a:pt x="32" y="190"/>
                    <a:pt x="32" y="190"/>
                  </a:cubicBezTo>
                  <a:cubicBezTo>
                    <a:pt x="32" y="190"/>
                    <a:pt x="49" y="195"/>
                    <a:pt x="54" y="193"/>
                  </a:cubicBezTo>
                  <a:cubicBezTo>
                    <a:pt x="59" y="191"/>
                    <a:pt x="66" y="192"/>
                    <a:pt x="66" y="192"/>
                  </a:cubicBezTo>
                  <a:cubicBezTo>
                    <a:pt x="66" y="192"/>
                    <a:pt x="72" y="202"/>
                    <a:pt x="78" y="201"/>
                  </a:cubicBezTo>
                  <a:cubicBezTo>
                    <a:pt x="84" y="200"/>
                    <a:pt x="95" y="192"/>
                    <a:pt x="100" y="191"/>
                  </a:cubicBezTo>
                  <a:cubicBezTo>
                    <a:pt x="105" y="190"/>
                    <a:pt x="116" y="208"/>
                    <a:pt x="119" y="208"/>
                  </a:cubicBezTo>
                  <a:cubicBezTo>
                    <a:pt x="122" y="208"/>
                    <a:pt x="134" y="205"/>
                    <a:pt x="134" y="205"/>
                  </a:cubicBezTo>
                  <a:cubicBezTo>
                    <a:pt x="134" y="205"/>
                    <a:pt x="130" y="211"/>
                    <a:pt x="140" y="208"/>
                  </a:cubicBezTo>
                  <a:cubicBezTo>
                    <a:pt x="150" y="205"/>
                    <a:pt x="154" y="202"/>
                    <a:pt x="154" y="202"/>
                  </a:cubicBezTo>
                  <a:cubicBezTo>
                    <a:pt x="182" y="203"/>
                    <a:pt x="182" y="203"/>
                    <a:pt x="182" y="203"/>
                  </a:cubicBezTo>
                  <a:cubicBezTo>
                    <a:pt x="190" y="194"/>
                    <a:pt x="190" y="194"/>
                    <a:pt x="190" y="194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199" y="197"/>
                    <a:pt x="211" y="199"/>
                    <a:pt x="211" y="195"/>
                  </a:cubicBezTo>
                  <a:cubicBezTo>
                    <a:pt x="211" y="191"/>
                    <a:pt x="200" y="178"/>
                    <a:pt x="199" y="175"/>
                  </a:cubicBezTo>
                  <a:cubicBezTo>
                    <a:pt x="198" y="172"/>
                    <a:pt x="231" y="157"/>
                    <a:pt x="231" y="157"/>
                  </a:cubicBezTo>
                  <a:cubicBezTo>
                    <a:pt x="231" y="147"/>
                    <a:pt x="231" y="147"/>
                    <a:pt x="231" y="147"/>
                  </a:cubicBezTo>
                  <a:cubicBezTo>
                    <a:pt x="250" y="145"/>
                    <a:pt x="250" y="145"/>
                    <a:pt x="250" y="145"/>
                  </a:cubicBezTo>
                  <a:cubicBezTo>
                    <a:pt x="250" y="145"/>
                    <a:pt x="255" y="136"/>
                    <a:pt x="261" y="136"/>
                  </a:cubicBezTo>
                  <a:cubicBezTo>
                    <a:pt x="267" y="136"/>
                    <a:pt x="278" y="155"/>
                    <a:pt x="278" y="155"/>
                  </a:cubicBezTo>
                  <a:cubicBezTo>
                    <a:pt x="285" y="148"/>
                    <a:pt x="285" y="148"/>
                    <a:pt x="285" y="148"/>
                  </a:cubicBezTo>
                  <a:cubicBezTo>
                    <a:pt x="304" y="153"/>
                    <a:pt x="304" y="153"/>
                    <a:pt x="304" y="153"/>
                  </a:cubicBezTo>
                  <a:cubicBezTo>
                    <a:pt x="304" y="153"/>
                    <a:pt x="309" y="144"/>
                    <a:pt x="310" y="135"/>
                  </a:cubicBezTo>
                  <a:cubicBezTo>
                    <a:pt x="311" y="126"/>
                    <a:pt x="319" y="113"/>
                    <a:pt x="327" y="112"/>
                  </a:cubicBezTo>
                  <a:cubicBezTo>
                    <a:pt x="335" y="111"/>
                    <a:pt x="354" y="119"/>
                    <a:pt x="366" y="119"/>
                  </a:cubicBezTo>
                  <a:cubicBezTo>
                    <a:pt x="378" y="119"/>
                    <a:pt x="378" y="101"/>
                    <a:pt x="378" y="98"/>
                  </a:cubicBezTo>
                  <a:cubicBezTo>
                    <a:pt x="378" y="95"/>
                    <a:pt x="397" y="78"/>
                    <a:pt x="397" y="78"/>
                  </a:cubicBezTo>
                  <a:cubicBezTo>
                    <a:pt x="429" y="65"/>
                    <a:pt x="429" y="65"/>
                    <a:pt x="429" y="65"/>
                  </a:cubicBezTo>
                  <a:cubicBezTo>
                    <a:pt x="429" y="65"/>
                    <a:pt x="443" y="65"/>
                    <a:pt x="446" y="64"/>
                  </a:cubicBezTo>
                  <a:cubicBezTo>
                    <a:pt x="449" y="63"/>
                    <a:pt x="447" y="51"/>
                    <a:pt x="443" y="46"/>
                  </a:cubicBezTo>
                  <a:cubicBezTo>
                    <a:pt x="429" y="41"/>
                    <a:pt x="429" y="41"/>
                    <a:pt x="429" y="4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384" y="23"/>
                    <a:pt x="384" y="23"/>
                    <a:pt x="384" y="23"/>
                  </a:cubicBezTo>
                  <a:cubicBezTo>
                    <a:pt x="372" y="23"/>
                    <a:pt x="372" y="23"/>
                    <a:pt x="372" y="2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332" y="16"/>
                    <a:pt x="332" y="16"/>
                    <a:pt x="332" y="16"/>
                  </a:cubicBezTo>
                  <a:cubicBezTo>
                    <a:pt x="332" y="16"/>
                    <a:pt x="302" y="12"/>
                    <a:pt x="294" y="13"/>
                  </a:cubicBezTo>
                  <a:cubicBezTo>
                    <a:pt x="286" y="14"/>
                    <a:pt x="238" y="14"/>
                    <a:pt x="238" y="14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6" y="18"/>
                    <a:pt x="198" y="12"/>
                    <a:pt x="194" y="12"/>
                  </a:cubicBezTo>
                  <a:cubicBezTo>
                    <a:pt x="190" y="12"/>
                    <a:pt x="180" y="0"/>
                    <a:pt x="170" y="0"/>
                  </a:cubicBezTo>
                  <a:cubicBezTo>
                    <a:pt x="160" y="0"/>
                    <a:pt x="147" y="2"/>
                    <a:pt x="144" y="5"/>
                  </a:cubicBezTo>
                  <a:cubicBezTo>
                    <a:pt x="141" y="8"/>
                    <a:pt x="149" y="43"/>
                    <a:pt x="149" y="43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84" y="17"/>
                    <a:pt x="61" y="18"/>
                  </a:cubicBezTo>
                  <a:cubicBezTo>
                    <a:pt x="38" y="19"/>
                    <a:pt x="37" y="48"/>
                    <a:pt x="37" y="48"/>
                  </a:cubicBezTo>
                  <a:cubicBezTo>
                    <a:pt x="37" y="48"/>
                    <a:pt x="55" y="49"/>
                    <a:pt x="57" y="54"/>
                  </a:cubicBezTo>
                  <a:cubicBezTo>
                    <a:pt x="59" y="59"/>
                    <a:pt x="23" y="88"/>
                    <a:pt x="23" y="88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37" name="Freeform 53"/>
            <p:cNvSpPr>
              <a:spLocks/>
            </p:cNvSpPr>
            <p:nvPr/>
          </p:nvSpPr>
          <p:spPr bwMode="auto">
            <a:xfrm>
              <a:off x="3550" y="1882"/>
              <a:ext cx="256" cy="154"/>
            </a:xfrm>
            <a:custGeom>
              <a:avLst/>
              <a:gdLst>
                <a:gd name="T0" fmla="*/ 0 w 674"/>
                <a:gd name="T1" fmla="*/ 0 h 406"/>
                <a:gd name="T2" fmla="*/ 0 w 674"/>
                <a:gd name="T3" fmla="*/ 0 h 406"/>
                <a:gd name="T4" fmla="*/ 0 w 674"/>
                <a:gd name="T5" fmla="*/ 0 h 406"/>
                <a:gd name="T6" fmla="*/ 0 w 674"/>
                <a:gd name="T7" fmla="*/ 0 h 406"/>
                <a:gd name="T8" fmla="*/ 0 w 674"/>
                <a:gd name="T9" fmla="*/ 0 h 406"/>
                <a:gd name="T10" fmla="*/ 0 w 674"/>
                <a:gd name="T11" fmla="*/ 0 h 406"/>
                <a:gd name="T12" fmla="*/ 0 w 674"/>
                <a:gd name="T13" fmla="*/ 0 h 406"/>
                <a:gd name="T14" fmla="*/ 0 w 674"/>
                <a:gd name="T15" fmla="*/ 0 h 406"/>
                <a:gd name="T16" fmla="*/ 0 w 674"/>
                <a:gd name="T17" fmla="*/ 0 h 406"/>
                <a:gd name="T18" fmla="*/ 0 w 674"/>
                <a:gd name="T19" fmla="*/ 0 h 406"/>
                <a:gd name="T20" fmla="*/ 0 w 674"/>
                <a:gd name="T21" fmla="*/ 0 h 406"/>
                <a:gd name="T22" fmla="*/ 0 w 674"/>
                <a:gd name="T23" fmla="*/ 0 h 406"/>
                <a:gd name="T24" fmla="*/ 0 w 674"/>
                <a:gd name="T25" fmla="*/ 0 h 406"/>
                <a:gd name="T26" fmla="*/ 0 w 674"/>
                <a:gd name="T27" fmla="*/ 0 h 406"/>
                <a:gd name="T28" fmla="*/ 0 w 674"/>
                <a:gd name="T29" fmla="*/ 0 h 406"/>
                <a:gd name="T30" fmla="*/ 0 w 674"/>
                <a:gd name="T31" fmla="*/ 0 h 406"/>
                <a:gd name="T32" fmla="*/ 0 w 674"/>
                <a:gd name="T33" fmla="*/ 0 h 406"/>
                <a:gd name="T34" fmla="*/ 0 w 674"/>
                <a:gd name="T35" fmla="*/ 0 h 406"/>
                <a:gd name="T36" fmla="*/ 0 w 674"/>
                <a:gd name="T37" fmla="*/ 0 h 406"/>
                <a:gd name="T38" fmla="*/ 0 w 674"/>
                <a:gd name="T39" fmla="*/ 0 h 406"/>
                <a:gd name="T40" fmla="*/ 0 w 674"/>
                <a:gd name="T41" fmla="*/ 0 h 406"/>
                <a:gd name="T42" fmla="*/ 0 w 674"/>
                <a:gd name="T43" fmla="*/ 0 h 406"/>
                <a:gd name="T44" fmla="*/ 0 w 674"/>
                <a:gd name="T45" fmla="*/ 0 h 406"/>
                <a:gd name="T46" fmla="*/ 0 w 674"/>
                <a:gd name="T47" fmla="*/ 0 h 406"/>
                <a:gd name="T48" fmla="*/ 0 w 674"/>
                <a:gd name="T49" fmla="*/ 0 h 406"/>
                <a:gd name="T50" fmla="*/ 0 w 674"/>
                <a:gd name="T51" fmla="*/ 0 h 406"/>
                <a:gd name="T52" fmla="*/ 0 w 674"/>
                <a:gd name="T53" fmla="*/ 0 h 406"/>
                <a:gd name="T54" fmla="*/ 0 w 674"/>
                <a:gd name="T55" fmla="*/ 0 h 406"/>
                <a:gd name="T56" fmla="*/ 0 w 674"/>
                <a:gd name="T57" fmla="*/ 0 h 406"/>
                <a:gd name="T58" fmla="*/ 0 w 674"/>
                <a:gd name="T59" fmla="*/ 0 h 406"/>
                <a:gd name="T60" fmla="*/ 0 w 674"/>
                <a:gd name="T61" fmla="*/ 0 h 406"/>
                <a:gd name="T62" fmla="*/ 0 w 674"/>
                <a:gd name="T63" fmla="*/ 0 h 406"/>
                <a:gd name="T64" fmla="*/ 0 w 674"/>
                <a:gd name="T65" fmla="*/ 0 h 406"/>
                <a:gd name="T66" fmla="*/ 0 w 674"/>
                <a:gd name="T67" fmla="*/ 0 h 406"/>
                <a:gd name="T68" fmla="*/ 0 w 674"/>
                <a:gd name="T69" fmla="*/ 0 h 406"/>
                <a:gd name="T70" fmla="*/ 0 w 674"/>
                <a:gd name="T71" fmla="*/ 0 h 406"/>
                <a:gd name="T72" fmla="*/ 0 w 674"/>
                <a:gd name="T73" fmla="*/ 0 h 406"/>
                <a:gd name="T74" fmla="*/ 0 w 674"/>
                <a:gd name="T75" fmla="*/ 0 h 406"/>
                <a:gd name="T76" fmla="*/ 0 w 674"/>
                <a:gd name="T77" fmla="*/ 0 h 406"/>
                <a:gd name="T78" fmla="*/ 0 w 674"/>
                <a:gd name="T79" fmla="*/ 0 h 406"/>
                <a:gd name="T80" fmla="*/ 0 w 674"/>
                <a:gd name="T81" fmla="*/ 0 h 406"/>
                <a:gd name="T82" fmla="*/ 0 w 674"/>
                <a:gd name="T83" fmla="*/ 0 h 406"/>
                <a:gd name="T84" fmla="*/ 0 w 674"/>
                <a:gd name="T85" fmla="*/ 0 h 406"/>
                <a:gd name="T86" fmla="*/ 0 w 674"/>
                <a:gd name="T87" fmla="*/ 0 h 406"/>
                <a:gd name="T88" fmla="*/ 0 w 674"/>
                <a:gd name="T89" fmla="*/ 0 h 406"/>
                <a:gd name="T90" fmla="*/ 0 w 674"/>
                <a:gd name="T91" fmla="*/ 0 h 406"/>
                <a:gd name="T92" fmla="*/ 0 w 674"/>
                <a:gd name="T93" fmla="*/ 0 h 406"/>
                <a:gd name="T94" fmla="*/ 0 w 674"/>
                <a:gd name="T95" fmla="*/ 0 h 406"/>
                <a:gd name="T96" fmla="*/ 0 w 674"/>
                <a:gd name="T97" fmla="*/ 0 h 406"/>
                <a:gd name="T98" fmla="*/ 0 w 674"/>
                <a:gd name="T99" fmla="*/ 0 h 406"/>
                <a:gd name="T100" fmla="*/ 0 w 674"/>
                <a:gd name="T101" fmla="*/ 0 h 40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74"/>
                <a:gd name="T154" fmla="*/ 0 h 406"/>
                <a:gd name="T155" fmla="*/ 674 w 674"/>
                <a:gd name="T156" fmla="*/ 406 h 40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74" h="406">
                  <a:moveTo>
                    <a:pt x="34" y="100"/>
                  </a:moveTo>
                  <a:cubicBezTo>
                    <a:pt x="34" y="104"/>
                    <a:pt x="24" y="115"/>
                    <a:pt x="24" y="120"/>
                  </a:cubicBezTo>
                  <a:cubicBezTo>
                    <a:pt x="24" y="126"/>
                    <a:pt x="40" y="151"/>
                    <a:pt x="40" y="151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62" y="166"/>
                    <a:pt x="62" y="166"/>
                    <a:pt x="62" y="166"/>
                  </a:cubicBezTo>
                  <a:cubicBezTo>
                    <a:pt x="75" y="172"/>
                    <a:pt x="75" y="172"/>
                    <a:pt x="75" y="172"/>
                  </a:cubicBezTo>
                  <a:cubicBezTo>
                    <a:pt x="75" y="172"/>
                    <a:pt x="46" y="171"/>
                    <a:pt x="50" y="180"/>
                  </a:cubicBezTo>
                  <a:cubicBezTo>
                    <a:pt x="54" y="190"/>
                    <a:pt x="64" y="184"/>
                    <a:pt x="71" y="187"/>
                  </a:cubicBezTo>
                  <a:cubicBezTo>
                    <a:pt x="78" y="190"/>
                    <a:pt x="90" y="203"/>
                    <a:pt x="90" y="203"/>
                  </a:cubicBezTo>
                  <a:cubicBezTo>
                    <a:pt x="94" y="238"/>
                    <a:pt x="94" y="238"/>
                    <a:pt x="94" y="238"/>
                  </a:cubicBezTo>
                  <a:cubicBezTo>
                    <a:pt x="99" y="240"/>
                    <a:pt x="99" y="240"/>
                    <a:pt x="99" y="240"/>
                  </a:cubicBezTo>
                  <a:cubicBezTo>
                    <a:pt x="99" y="240"/>
                    <a:pt x="96" y="254"/>
                    <a:pt x="96" y="262"/>
                  </a:cubicBezTo>
                  <a:cubicBezTo>
                    <a:pt x="96" y="270"/>
                    <a:pt x="106" y="291"/>
                    <a:pt x="106" y="291"/>
                  </a:cubicBezTo>
                  <a:cubicBezTo>
                    <a:pt x="106" y="291"/>
                    <a:pt x="122" y="292"/>
                    <a:pt x="126" y="291"/>
                  </a:cubicBezTo>
                  <a:cubicBezTo>
                    <a:pt x="130" y="290"/>
                    <a:pt x="141" y="281"/>
                    <a:pt x="141" y="281"/>
                  </a:cubicBezTo>
                  <a:cubicBezTo>
                    <a:pt x="141" y="273"/>
                    <a:pt x="141" y="273"/>
                    <a:pt x="141" y="273"/>
                  </a:cubicBezTo>
                  <a:cubicBezTo>
                    <a:pt x="141" y="273"/>
                    <a:pt x="167" y="250"/>
                    <a:pt x="178" y="248"/>
                  </a:cubicBezTo>
                  <a:cubicBezTo>
                    <a:pt x="189" y="246"/>
                    <a:pt x="205" y="251"/>
                    <a:pt x="205" y="251"/>
                  </a:cubicBezTo>
                  <a:cubicBezTo>
                    <a:pt x="205" y="251"/>
                    <a:pt x="207" y="245"/>
                    <a:pt x="210" y="243"/>
                  </a:cubicBezTo>
                  <a:cubicBezTo>
                    <a:pt x="213" y="241"/>
                    <a:pt x="234" y="244"/>
                    <a:pt x="234" y="244"/>
                  </a:cubicBezTo>
                  <a:cubicBezTo>
                    <a:pt x="234" y="244"/>
                    <a:pt x="243" y="239"/>
                    <a:pt x="249" y="243"/>
                  </a:cubicBezTo>
                  <a:cubicBezTo>
                    <a:pt x="255" y="247"/>
                    <a:pt x="256" y="261"/>
                    <a:pt x="256" y="261"/>
                  </a:cubicBezTo>
                  <a:cubicBezTo>
                    <a:pt x="256" y="261"/>
                    <a:pt x="268" y="261"/>
                    <a:pt x="273" y="261"/>
                  </a:cubicBezTo>
                  <a:cubicBezTo>
                    <a:pt x="278" y="261"/>
                    <a:pt x="299" y="278"/>
                    <a:pt x="299" y="278"/>
                  </a:cubicBezTo>
                  <a:cubicBezTo>
                    <a:pt x="302" y="274"/>
                    <a:pt x="302" y="274"/>
                    <a:pt x="302" y="274"/>
                  </a:cubicBezTo>
                  <a:cubicBezTo>
                    <a:pt x="302" y="274"/>
                    <a:pt x="340" y="275"/>
                    <a:pt x="345" y="279"/>
                  </a:cubicBezTo>
                  <a:cubicBezTo>
                    <a:pt x="350" y="283"/>
                    <a:pt x="358" y="301"/>
                    <a:pt x="358" y="301"/>
                  </a:cubicBezTo>
                  <a:cubicBezTo>
                    <a:pt x="358" y="301"/>
                    <a:pt x="371" y="303"/>
                    <a:pt x="377" y="307"/>
                  </a:cubicBezTo>
                  <a:cubicBezTo>
                    <a:pt x="383" y="311"/>
                    <a:pt x="397" y="327"/>
                    <a:pt x="397" y="327"/>
                  </a:cubicBezTo>
                  <a:cubicBezTo>
                    <a:pt x="439" y="325"/>
                    <a:pt x="439" y="325"/>
                    <a:pt x="439" y="325"/>
                  </a:cubicBezTo>
                  <a:cubicBezTo>
                    <a:pt x="440" y="347"/>
                    <a:pt x="440" y="347"/>
                    <a:pt x="440" y="347"/>
                  </a:cubicBezTo>
                  <a:cubicBezTo>
                    <a:pt x="447" y="350"/>
                    <a:pt x="447" y="350"/>
                    <a:pt x="447" y="350"/>
                  </a:cubicBezTo>
                  <a:cubicBezTo>
                    <a:pt x="446" y="365"/>
                    <a:pt x="446" y="365"/>
                    <a:pt x="446" y="365"/>
                  </a:cubicBezTo>
                  <a:cubicBezTo>
                    <a:pt x="453" y="383"/>
                    <a:pt x="453" y="383"/>
                    <a:pt x="453" y="383"/>
                  </a:cubicBezTo>
                  <a:cubicBezTo>
                    <a:pt x="453" y="383"/>
                    <a:pt x="467" y="393"/>
                    <a:pt x="472" y="393"/>
                  </a:cubicBezTo>
                  <a:cubicBezTo>
                    <a:pt x="477" y="393"/>
                    <a:pt x="484" y="390"/>
                    <a:pt x="484" y="390"/>
                  </a:cubicBezTo>
                  <a:cubicBezTo>
                    <a:pt x="500" y="406"/>
                    <a:pt x="500" y="406"/>
                    <a:pt x="500" y="406"/>
                  </a:cubicBezTo>
                  <a:cubicBezTo>
                    <a:pt x="500" y="406"/>
                    <a:pt x="525" y="405"/>
                    <a:pt x="530" y="396"/>
                  </a:cubicBezTo>
                  <a:cubicBezTo>
                    <a:pt x="535" y="387"/>
                    <a:pt x="535" y="371"/>
                    <a:pt x="535" y="371"/>
                  </a:cubicBezTo>
                  <a:cubicBezTo>
                    <a:pt x="535" y="371"/>
                    <a:pt x="553" y="372"/>
                    <a:pt x="560" y="365"/>
                  </a:cubicBezTo>
                  <a:cubicBezTo>
                    <a:pt x="567" y="358"/>
                    <a:pt x="580" y="349"/>
                    <a:pt x="580" y="349"/>
                  </a:cubicBezTo>
                  <a:cubicBezTo>
                    <a:pt x="580" y="349"/>
                    <a:pt x="589" y="351"/>
                    <a:pt x="589" y="345"/>
                  </a:cubicBezTo>
                  <a:cubicBezTo>
                    <a:pt x="589" y="339"/>
                    <a:pt x="584" y="311"/>
                    <a:pt x="594" y="301"/>
                  </a:cubicBezTo>
                  <a:cubicBezTo>
                    <a:pt x="604" y="291"/>
                    <a:pt x="623" y="296"/>
                    <a:pt x="623" y="296"/>
                  </a:cubicBezTo>
                  <a:cubicBezTo>
                    <a:pt x="623" y="296"/>
                    <a:pt x="622" y="279"/>
                    <a:pt x="630" y="279"/>
                  </a:cubicBezTo>
                  <a:cubicBezTo>
                    <a:pt x="638" y="279"/>
                    <a:pt x="652" y="292"/>
                    <a:pt x="652" y="292"/>
                  </a:cubicBezTo>
                  <a:cubicBezTo>
                    <a:pt x="674" y="292"/>
                    <a:pt x="674" y="292"/>
                    <a:pt x="674" y="292"/>
                  </a:cubicBezTo>
                  <a:cubicBezTo>
                    <a:pt x="674" y="289"/>
                    <a:pt x="673" y="285"/>
                    <a:pt x="667" y="280"/>
                  </a:cubicBezTo>
                  <a:cubicBezTo>
                    <a:pt x="656" y="272"/>
                    <a:pt x="668" y="260"/>
                    <a:pt x="668" y="260"/>
                  </a:cubicBezTo>
                  <a:cubicBezTo>
                    <a:pt x="635" y="242"/>
                    <a:pt x="635" y="242"/>
                    <a:pt x="635" y="242"/>
                  </a:cubicBezTo>
                  <a:cubicBezTo>
                    <a:pt x="620" y="244"/>
                    <a:pt x="620" y="244"/>
                    <a:pt x="620" y="244"/>
                  </a:cubicBezTo>
                  <a:cubicBezTo>
                    <a:pt x="620" y="244"/>
                    <a:pt x="602" y="236"/>
                    <a:pt x="595" y="231"/>
                  </a:cubicBezTo>
                  <a:cubicBezTo>
                    <a:pt x="588" y="226"/>
                    <a:pt x="574" y="215"/>
                    <a:pt x="574" y="215"/>
                  </a:cubicBezTo>
                  <a:cubicBezTo>
                    <a:pt x="563" y="212"/>
                    <a:pt x="563" y="212"/>
                    <a:pt x="563" y="212"/>
                  </a:cubicBezTo>
                  <a:cubicBezTo>
                    <a:pt x="554" y="204"/>
                    <a:pt x="554" y="204"/>
                    <a:pt x="554" y="204"/>
                  </a:cubicBezTo>
                  <a:cubicBezTo>
                    <a:pt x="536" y="203"/>
                    <a:pt x="536" y="203"/>
                    <a:pt x="536" y="203"/>
                  </a:cubicBezTo>
                  <a:cubicBezTo>
                    <a:pt x="516" y="191"/>
                    <a:pt x="516" y="191"/>
                    <a:pt x="516" y="191"/>
                  </a:cubicBezTo>
                  <a:cubicBezTo>
                    <a:pt x="516" y="191"/>
                    <a:pt x="504" y="175"/>
                    <a:pt x="500" y="174"/>
                  </a:cubicBezTo>
                  <a:cubicBezTo>
                    <a:pt x="496" y="172"/>
                    <a:pt x="483" y="170"/>
                    <a:pt x="476" y="167"/>
                  </a:cubicBezTo>
                  <a:cubicBezTo>
                    <a:pt x="470" y="164"/>
                    <a:pt x="458" y="159"/>
                    <a:pt x="455" y="148"/>
                  </a:cubicBezTo>
                  <a:cubicBezTo>
                    <a:pt x="452" y="138"/>
                    <a:pt x="444" y="126"/>
                    <a:pt x="444" y="126"/>
                  </a:cubicBezTo>
                  <a:cubicBezTo>
                    <a:pt x="431" y="111"/>
                    <a:pt x="431" y="111"/>
                    <a:pt x="431" y="111"/>
                  </a:cubicBezTo>
                  <a:cubicBezTo>
                    <a:pt x="422" y="92"/>
                    <a:pt x="422" y="92"/>
                    <a:pt x="422" y="92"/>
                  </a:cubicBezTo>
                  <a:cubicBezTo>
                    <a:pt x="398" y="80"/>
                    <a:pt x="398" y="80"/>
                    <a:pt x="398" y="80"/>
                  </a:cubicBezTo>
                  <a:cubicBezTo>
                    <a:pt x="398" y="86"/>
                    <a:pt x="398" y="86"/>
                    <a:pt x="398" y="86"/>
                  </a:cubicBezTo>
                  <a:cubicBezTo>
                    <a:pt x="362" y="82"/>
                    <a:pt x="362" y="82"/>
                    <a:pt x="362" y="82"/>
                  </a:cubicBezTo>
                  <a:cubicBezTo>
                    <a:pt x="362" y="82"/>
                    <a:pt x="336" y="83"/>
                    <a:pt x="331" y="74"/>
                  </a:cubicBezTo>
                  <a:cubicBezTo>
                    <a:pt x="326" y="64"/>
                    <a:pt x="338" y="52"/>
                    <a:pt x="338" y="52"/>
                  </a:cubicBezTo>
                  <a:cubicBezTo>
                    <a:pt x="328" y="47"/>
                    <a:pt x="328" y="47"/>
                    <a:pt x="328" y="47"/>
                  </a:cubicBezTo>
                  <a:cubicBezTo>
                    <a:pt x="328" y="47"/>
                    <a:pt x="330" y="32"/>
                    <a:pt x="320" y="28"/>
                  </a:cubicBezTo>
                  <a:cubicBezTo>
                    <a:pt x="311" y="24"/>
                    <a:pt x="298" y="27"/>
                    <a:pt x="298" y="27"/>
                  </a:cubicBezTo>
                  <a:cubicBezTo>
                    <a:pt x="288" y="23"/>
                    <a:pt x="288" y="23"/>
                    <a:pt x="288" y="23"/>
                  </a:cubicBezTo>
                  <a:cubicBezTo>
                    <a:pt x="290" y="15"/>
                    <a:pt x="290" y="15"/>
                    <a:pt x="290" y="15"/>
                  </a:cubicBezTo>
                  <a:cubicBezTo>
                    <a:pt x="274" y="16"/>
                    <a:pt x="274" y="16"/>
                    <a:pt x="274" y="16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58" y="7"/>
                    <a:pt x="258" y="7"/>
                    <a:pt x="258" y="7"/>
                  </a:cubicBezTo>
                  <a:cubicBezTo>
                    <a:pt x="238" y="6"/>
                    <a:pt x="238" y="6"/>
                    <a:pt x="238" y="6"/>
                  </a:cubicBezTo>
                  <a:cubicBezTo>
                    <a:pt x="258" y="24"/>
                    <a:pt x="258" y="24"/>
                    <a:pt x="258" y="24"/>
                  </a:cubicBezTo>
                  <a:cubicBezTo>
                    <a:pt x="258" y="24"/>
                    <a:pt x="239" y="16"/>
                    <a:pt x="235" y="18"/>
                  </a:cubicBezTo>
                  <a:cubicBezTo>
                    <a:pt x="231" y="19"/>
                    <a:pt x="231" y="30"/>
                    <a:pt x="231" y="30"/>
                  </a:cubicBezTo>
                  <a:cubicBezTo>
                    <a:pt x="231" y="30"/>
                    <a:pt x="199" y="36"/>
                    <a:pt x="198" y="50"/>
                  </a:cubicBezTo>
                  <a:cubicBezTo>
                    <a:pt x="196" y="63"/>
                    <a:pt x="211" y="79"/>
                    <a:pt x="211" y="79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7" y="79"/>
                    <a:pt x="163" y="72"/>
                    <a:pt x="156" y="72"/>
                  </a:cubicBezTo>
                  <a:cubicBezTo>
                    <a:pt x="150" y="72"/>
                    <a:pt x="151" y="87"/>
                    <a:pt x="140" y="82"/>
                  </a:cubicBezTo>
                  <a:cubicBezTo>
                    <a:pt x="130" y="76"/>
                    <a:pt x="112" y="51"/>
                    <a:pt x="112" y="51"/>
                  </a:cubicBezTo>
                  <a:cubicBezTo>
                    <a:pt x="112" y="51"/>
                    <a:pt x="102" y="38"/>
                    <a:pt x="94" y="34"/>
                  </a:cubicBezTo>
                  <a:cubicBezTo>
                    <a:pt x="86" y="30"/>
                    <a:pt x="54" y="18"/>
                    <a:pt x="51" y="22"/>
                  </a:cubicBezTo>
                  <a:cubicBezTo>
                    <a:pt x="48" y="26"/>
                    <a:pt x="50" y="32"/>
                    <a:pt x="50" y="32"/>
                  </a:cubicBezTo>
                  <a:cubicBezTo>
                    <a:pt x="50" y="32"/>
                    <a:pt x="60" y="38"/>
                    <a:pt x="60" y="42"/>
                  </a:cubicBezTo>
                  <a:cubicBezTo>
                    <a:pt x="60" y="46"/>
                    <a:pt x="63" y="46"/>
                    <a:pt x="70" y="58"/>
                  </a:cubicBezTo>
                  <a:cubicBezTo>
                    <a:pt x="76" y="70"/>
                    <a:pt x="112" y="79"/>
                    <a:pt x="110" y="90"/>
                  </a:cubicBezTo>
                  <a:cubicBezTo>
                    <a:pt x="107" y="100"/>
                    <a:pt x="107" y="106"/>
                    <a:pt x="100" y="104"/>
                  </a:cubicBezTo>
                  <a:cubicBezTo>
                    <a:pt x="94" y="103"/>
                    <a:pt x="79" y="90"/>
                    <a:pt x="82" y="94"/>
                  </a:cubicBezTo>
                  <a:cubicBezTo>
                    <a:pt x="84" y="98"/>
                    <a:pt x="79" y="107"/>
                    <a:pt x="79" y="107"/>
                  </a:cubicBezTo>
                  <a:cubicBezTo>
                    <a:pt x="52" y="108"/>
                    <a:pt x="52" y="108"/>
                    <a:pt x="52" y="108"/>
                  </a:cubicBezTo>
                  <a:cubicBezTo>
                    <a:pt x="44" y="95"/>
                    <a:pt x="44" y="95"/>
                    <a:pt x="44" y="95"/>
                  </a:cubicBezTo>
                  <a:cubicBezTo>
                    <a:pt x="40" y="100"/>
                    <a:pt x="40" y="100"/>
                    <a:pt x="40" y="100"/>
                  </a:cubicBezTo>
                  <a:cubicBezTo>
                    <a:pt x="40" y="100"/>
                    <a:pt x="30" y="90"/>
                    <a:pt x="24" y="80"/>
                  </a:cubicBezTo>
                  <a:cubicBezTo>
                    <a:pt x="19" y="71"/>
                    <a:pt x="23" y="56"/>
                    <a:pt x="19" y="55"/>
                  </a:cubicBezTo>
                  <a:cubicBezTo>
                    <a:pt x="15" y="54"/>
                    <a:pt x="3" y="47"/>
                    <a:pt x="2" y="52"/>
                  </a:cubicBezTo>
                  <a:cubicBezTo>
                    <a:pt x="0" y="58"/>
                    <a:pt x="14" y="72"/>
                    <a:pt x="14" y="72"/>
                  </a:cubicBezTo>
                  <a:cubicBezTo>
                    <a:pt x="14" y="72"/>
                    <a:pt x="34" y="96"/>
                    <a:pt x="34" y="100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38" name="Freeform 54"/>
            <p:cNvSpPr>
              <a:spLocks/>
            </p:cNvSpPr>
            <p:nvPr/>
          </p:nvSpPr>
          <p:spPr bwMode="auto">
            <a:xfrm>
              <a:off x="3710" y="1969"/>
              <a:ext cx="231" cy="186"/>
            </a:xfrm>
            <a:custGeom>
              <a:avLst/>
              <a:gdLst>
                <a:gd name="T0" fmla="*/ 0 w 607"/>
                <a:gd name="T1" fmla="*/ 0 h 492"/>
                <a:gd name="T2" fmla="*/ 0 w 607"/>
                <a:gd name="T3" fmla="*/ 0 h 492"/>
                <a:gd name="T4" fmla="*/ 0 w 607"/>
                <a:gd name="T5" fmla="*/ 0 h 492"/>
                <a:gd name="T6" fmla="*/ 0 w 607"/>
                <a:gd name="T7" fmla="*/ 0 h 492"/>
                <a:gd name="T8" fmla="*/ 0 w 607"/>
                <a:gd name="T9" fmla="*/ 0 h 492"/>
                <a:gd name="T10" fmla="*/ 0 w 607"/>
                <a:gd name="T11" fmla="*/ 0 h 492"/>
                <a:gd name="T12" fmla="*/ 0 w 607"/>
                <a:gd name="T13" fmla="*/ 0 h 492"/>
                <a:gd name="T14" fmla="*/ 0 w 607"/>
                <a:gd name="T15" fmla="*/ 0 h 492"/>
                <a:gd name="T16" fmla="*/ 0 w 607"/>
                <a:gd name="T17" fmla="*/ 0 h 492"/>
                <a:gd name="T18" fmla="*/ 0 w 607"/>
                <a:gd name="T19" fmla="*/ 0 h 492"/>
                <a:gd name="T20" fmla="*/ 0 w 607"/>
                <a:gd name="T21" fmla="*/ 0 h 492"/>
                <a:gd name="T22" fmla="*/ 0 w 607"/>
                <a:gd name="T23" fmla="*/ 0 h 492"/>
                <a:gd name="T24" fmla="*/ 0 w 607"/>
                <a:gd name="T25" fmla="*/ 0 h 492"/>
                <a:gd name="T26" fmla="*/ 0 w 607"/>
                <a:gd name="T27" fmla="*/ 0 h 492"/>
                <a:gd name="T28" fmla="*/ 0 w 607"/>
                <a:gd name="T29" fmla="*/ 0 h 492"/>
                <a:gd name="T30" fmla="*/ 0 w 607"/>
                <a:gd name="T31" fmla="*/ 0 h 492"/>
                <a:gd name="T32" fmla="*/ 0 w 607"/>
                <a:gd name="T33" fmla="*/ 0 h 492"/>
                <a:gd name="T34" fmla="*/ 0 w 607"/>
                <a:gd name="T35" fmla="*/ 0 h 492"/>
                <a:gd name="T36" fmla="*/ 0 w 607"/>
                <a:gd name="T37" fmla="*/ 0 h 492"/>
                <a:gd name="T38" fmla="*/ 0 w 607"/>
                <a:gd name="T39" fmla="*/ 0 h 492"/>
                <a:gd name="T40" fmla="*/ 0 w 607"/>
                <a:gd name="T41" fmla="*/ 0 h 492"/>
                <a:gd name="T42" fmla="*/ 0 w 607"/>
                <a:gd name="T43" fmla="*/ 0 h 492"/>
                <a:gd name="T44" fmla="*/ 0 w 607"/>
                <a:gd name="T45" fmla="*/ 0 h 492"/>
                <a:gd name="T46" fmla="*/ 0 w 607"/>
                <a:gd name="T47" fmla="*/ 0 h 492"/>
                <a:gd name="T48" fmla="*/ 0 w 607"/>
                <a:gd name="T49" fmla="*/ 0 h 492"/>
                <a:gd name="T50" fmla="*/ 0 w 607"/>
                <a:gd name="T51" fmla="*/ 0 h 492"/>
                <a:gd name="T52" fmla="*/ 0 w 607"/>
                <a:gd name="T53" fmla="*/ 0 h 492"/>
                <a:gd name="T54" fmla="*/ 0 w 607"/>
                <a:gd name="T55" fmla="*/ 0 h 492"/>
                <a:gd name="T56" fmla="*/ 0 w 607"/>
                <a:gd name="T57" fmla="*/ 0 h 492"/>
                <a:gd name="T58" fmla="*/ 0 w 607"/>
                <a:gd name="T59" fmla="*/ 0 h 492"/>
                <a:gd name="T60" fmla="*/ 0 w 607"/>
                <a:gd name="T61" fmla="*/ 0 h 492"/>
                <a:gd name="T62" fmla="*/ 0 w 607"/>
                <a:gd name="T63" fmla="*/ 0 h 492"/>
                <a:gd name="T64" fmla="*/ 0 w 607"/>
                <a:gd name="T65" fmla="*/ 0 h 492"/>
                <a:gd name="T66" fmla="*/ 0 w 607"/>
                <a:gd name="T67" fmla="*/ 0 h 492"/>
                <a:gd name="T68" fmla="*/ 0 w 607"/>
                <a:gd name="T69" fmla="*/ 0 h 492"/>
                <a:gd name="T70" fmla="*/ 0 w 607"/>
                <a:gd name="T71" fmla="*/ 0 h 492"/>
                <a:gd name="T72" fmla="*/ 0 w 607"/>
                <a:gd name="T73" fmla="*/ 0 h 492"/>
                <a:gd name="T74" fmla="*/ 0 w 607"/>
                <a:gd name="T75" fmla="*/ 0 h 492"/>
                <a:gd name="T76" fmla="*/ 0 w 607"/>
                <a:gd name="T77" fmla="*/ 0 h 492"/>
                <a:gd name="T78" fmla="*/ 0 w 607"/>
                <a:gd name="T79" fmla="*/ 0 h 492"/>
                <a:gd name="T80" fmla="*/ 0 w 607"/>
                <a:gd name="T81" fmla="*/ 0 h 492"/>
                <a:gd name="T82" fmla="*/ 0 w 607"/>
                <a:gd name="T83" fmla="*/ 0 h 492"/>
                <a:gd name="T84" fmla="*/ 0 w 607"/>
                <a:gd name="T85" fmla="*/ 0 h 492"/>
                <a:gd name="T86" fmla="*/ 0 w 607"/>
                <a:gd name="T87" fmla="*/ 0 h 492"/>
                <a:gd name="T88" fmla="*/ 0 w 607"/>
                <a:gd name="T89" fmla="*/ 0 h 492"/>
                <a:gd name="T90" fmla="*/ 0 w 607"/>
                <a:gd name="T91" fmla="*/ 0 h 492"/>
                <a:gd name="T92" fmla="*/ 0 w 607"/>
                <a:gd name="T93" fmla="*/ 0 h 492"/>
                <a:gd name="T94" fmla="*/ 0 w 607"/>
                <a:gd name="T95" fmla="*/ 0 h 492"/>
                <a:gd name="T96" fmla="*/ 0 w 607"/>
                <a:gd name="T97" fmla="*/ 0 h 492"/>
                <a:gd name="T98" fmla="*/ 0 w 607"/>
                <a:gd name="T99" fmla="*/ 0 h 492"/>
                <a:gd name="T100" fmla="*/ 0 w 607"/>
                <a:gd name="T101" fmla="*/ 0 h 492"/>
                <a:gd name="T102" fmla="*/ 0 w 607"/>
                <a:gd name="T103" fmla="*/ 0 h 4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7"/>
                <a:gd name="T157" fmla="*/ 0 h 492"/>
                <a:gd name="T158" fmla="*/ 607 w 607"/>
                <a:gd name="T159" fmla="*/ 492 h 4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7" h="492">
                  <a:moveTo>
                    <a:pt x="596" y="71"/>
                  </a:moveTo>
                  <a:cubicBezTo>
                    <a:pt x="594" y="65"/>
                    <a:pt x="600" y="65"/>
                    <a:pt x="607" y="64"/>
                  </a:cubicBezTo>
                  <a:cubicBezTo>
                    <a:pt x="600" y="59"/>
                    <a:pt x="600" y="59"/>
                    <a:pt x="600" y="59"/>
                  </a:cubicBezTo>
                  <a:cubicBezTo>
                    <a:pt x="587" y="59"/>
                    <a:pt x="587" y="59"/>
                    <a:pt x="587" y="59"/>
                  </a:cubicBezTo>
                  <a:cubicBezTo>
                    <a:pt x="563" y="67"/>
                    <a:pt x="563" y="67"/>
                    <a:pt x="563" y="67"/>
                  </a:cubicBezTo>
                  <a:cubicBezTo>
                    <a:pt x="561" y="57"/>
                    <a:pt x="561" y="57"/>
                    <a:pt x="561" y="57"/>
                  </a:cubicBezTo>
                  <a:cubicBezTo>
                    <a:pt x="561" y="57"/>
                    <a:pt x="537" y="54"/>
                    <a:pt x="530" y="62"/>
                  </a:cubicBezTo>
                  <a:cubicBezTo>
                    <a:pt x="523" y="70"/>
                    <a:pt x="516" y="81"/>
                    <a:pt x="516" y="81"/>
                  </a:cubicBezTo>
                  <a:cubicBezTo>
                    <a:pt x="506" y="81"/>
                    <a:pt x="506" y="81"/>
                    <a:pt x="506" y="81"/>
                  </a:cubicBezTo>
                  <a:cubicBezTo>
                    <a:pt x="506" y="81"/>
                    <a:pt x="492" y="97"/>
                    <a:pt x="485" y="100"/>
                  </a:cubicBezTo>
                  <a:cubicBezTo>
                    <a:pt x="478" y="103"/>
                    <a:pt x="462" y="75"/>
                    <a:pt x="462" y="75"/>
                  </a:cubicBezTo>
                  <a:cubicBezTo>
                    <a:pt x="455" y="33"/>
                    <a:pt x="455" y="33"/>
                    <a:pt x="455" y="33"/>
                  </a:cubicBezTo>
                  <a:cubicBezTo>
                    <a:pt x="441" y="33"/>
                    <a:pt x="441" y="33"/>
                    <a:pt x="441" y="33"/>
                  </a:cubicBezTo>
                  <a:cubicBezTo>
                    <a:pt x="441" y="33"/>
                    <a:pt x="441" y="19"/>
                    <a:pt x="441" y="14"/>
                  </a:cubicBezTo>
                  <a:cubicBezTo>
                    <a:pt x="441" y="9"/>
                    <a:pt x="430" y="0"/>
                    <a:pt x="421" y="0"/>
                  </a:cubicBezTo>
                  <a:cubicBezTo>
                    <a:pt x="412" y="0"/>
                    <a:pt x="413" y="15"/>
                    <a:pt x="413" y="19"/>
                  </a:cubicBezTo>
                  <a:cubicBezTo>
                    <a:pt x="413" y="23"/>
                    <a:pt x="399" y="26"/>
                    <a:pt x="399" y="33"/>
                  </a:cubicBezTo>
                  <a:cubicBezTo>
                    <a:pt x="399" y="40"/>
                    <a:pt x="407" y="40"/>
                    <a:pt x="407" y="40"/>
                  </a:cubicBezTo>
                  <a:cubicBezTo>
                    <a:pt x="402" y="54"/>
                    <a:pt x="402" y="54"/>
                    <a:pt x="402" y="54"/>
                  </a:cubicBezTo>
                  <a:cubicBezTo>
                    <a:pt x="395" y="48"/>
                    <a:pt x="395" y="48"/>
                    <a:pt x="395" y="48"/>
                  </a:cubicBezTo>
                  <a:cubicBezTo>
                    <a:pt x="395" y="48"/>
                    <a:pt x="373" y="49"/>
                    <a:pt x="368" y="54"/>
                  </a:cubicBezTo>
                  <a:cubicBezTo>
                    <a:pt x="363" y="59"/>
                    <a:pt x="368" y="77"/>
                    <a:pt x="364" y="79"/>
                  </a:cubicBezTo>
                  <a:cubicBezTo>
                    <a:pt x="360" y="81"/>
                    <a:pt x="349" y="64"/>
                    <a:pt x="346" y="64"/>
                  </a:cubicBezTo>
                  <a:cubicBezTo>
                    <a:pt x="343" y="64"/>
                    <a:pt x="318" y="84"/>
                    <a:pt x="315" y="83"/>
                  </a:cubicBezTo>
                  <a:cubicBezTo>
                    <a:pt x="312" y="82"/>
                    <a:pt x="292" y="66"/>
                    <a:pt x="292" y="66"/>
                  </a:cubicBezTo>
                  <a:cubicBezTo>
                    <a:pt x="287" y="66"/>
                    <a:pt x="287" y="66"/>
                    <a:pt x="287" y="66"/>
                  </a:cubicBezTo>
                  <a:cubicBezTo>
                    <a:pt x="276" y="71"/>
                    <a:pt x="276" y="71"/>
                    <a:pt x="276" y="71"/>
                  </a:cubicBezTo>
                  <a:cubicBezTo>
                    <a:pt x="267" y="57"/>
                    <a:pt x="267" y="57"/>
                    <a:pt x="267" y="57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29" y="63"/>
                    <a:pt x="229" y="63"/>
                    <a:pt x="229" y="63"/>
                  </a:cubicBezTo>
                  <a:cubicBezTo>
                    <a:pt x="229" y="63"/>
                    <a:pt x="215" y="50"/>
                    <a:pt x="207" y="50"/>
                  </a:cubicBezTo>
                  <a:cubicBezTo>
                    <a:pt x="199" y="50"/>
                    <a:pt x="200" y="67"/>
                    <a:pt x="200" y="67"/>
                  </a:cubicBezTo>
                  <a:cubicBezTo>
                    <a:pt x="200" y="67"/>
                    <a:pt x="181" y="62"/>
                    <a:pt x="171" y="72"/>
                  </a:cubicBezTo>
                  <a:cubicBezTo>
                    <a:pt x="161" y="82"/>
                    <a:pt x="166" y="110"/>
                    <a:pt x="166" y="116"/>
                  </a:cubicBezTo>
                  <a:cubicBezTo>
                    <a:pt x="166" y="122"/>
                    <a:pt x="157" y="120"/>
                    <a:pt x="157" y="120"/>
                  </a:cubicBezTo>
                  <a:cubicBezTo>
                    <a:pt x="157" y="120"/>
                    <a:pt x="144" y="129"/>
                    <a:pt x="137" y="136"/>
                  </a:cubicBezTo>
                  <a:cubicBezTo>
                    <a:pt x="130" y="143"/>
                    <a:pt x="112" y="142"/>
                    <a:pt x="112" y="142"/>
                  </a:cubicBezTo>
                  <a:cubicBezTo>
                    <a:pt x="112" y="142"/>
                    <a:pt x="112" y="158"/>
                    <a:pt x="107" y="167"/>
                  </a:cubicBezTo>
                  <a:cubicBezTo>
                    <a:pt x="102" y="176"/>
                    <a:pt x="77" y="177"/>
                    <a:pt x="77" y="177"/>
                  </a:cubicBezTo>
                  <a:cubicBezTo>
                    <a:pt x="61" y="161"/>
                    <a:pt x="61" y="161"/>
                    <a:pt x="61" y="161"/>
                  </a:cubicBezTo>
                  <a:cubicBezTo>
                    <a:pt x="61" y="161"/>
                    <a:pt x="54" y="164"/>
                    <a:pt x="49" y="164"/>
                  </a:cubicBezTo>
                  <a:cubicBezTo>
                    <a:pt x="44" y="164"/>
                    <a:pt x="30" y="154"/>
                    <a:pt x="30" y="154"/>
                  </a:cubicBezTo>
                  <a:cubicBezTo>
                    <a:pt x="30" y="154"/>
                    <a:pt x="24" y="161"/>
                    <a:pt x="23" y="168"/>
                  </a:cubicBezTo>
                  <a:cubicBezTo>
                    <a:pt x="22" y="175"/>
                    <a:pt x="29" y="205"/>
                    <a:pt x="29" y="205"/>
                  </a:cubicBezTo>
                  <a:cubicBezTo>
                    <a:pt x="15" y="209"/>
                    <a:pt x="15" y="209"/>
                    <a:pt x="15" y="209"/>
                  </a:cubicBezTo>
                  <a:cubicBezTo>
                    <a:pt x="20" y="220"/>
                    <a:pt x="20" y="220"/>
                    <a:pt x="20" y="220"/>
                  </a:cubicBezTo>
                  <a:cubicBezTo>
                    <a:pt x="20" y="220"/>
                    <a:pt x="6" y="225"/>
                    <a:pt x="3" y="230"/>
                  </a:cubicBezTo>
                  <a:cubicBezTo>
                    <a:pt x="0" y="235"/>
                    <a:pt x="11" y="244"/>
                    <a:pt x="11" y="244"/>
                  </a:cubicBezTo>
                  <a:cubicBezTo>
                    <a:pt x="9" y="263"/>
                    <a:pt x="9" y="263"/>
                    <a:pt x="9" y="263"/>
                  </a:cubicBezTo>
                  <a:cubicBezTo>
                    <a:pt x="9" y="263"/>
                    <a:pt x="30" y="260"/>
                    <a:pt x="31" y="266"/>
                  </a:cubicBezTo>
                  <a:cubicBezTo>
                    <a:pt x="32" y="272"/>
                    <a:pt x="17" y="280"/>
                    <a:pt x="15" y="293"/>
                  </a:cubicBezTo>
                  <a:cubicBezTo>
                    <a:pt x="13" y="306"/>
                    <a:pt x="40" y="330"/>
                    <a:pt x="40" y="341"/>
                  </a:cubicBezTo>
                  <a:cubicBezTo>
                    <a:pt x="40" y="352"/>
                    <a:pt x="40" y="366"/>
                    <a:pt x="40" y="374"/>
                  </a:cubicBezTo>
                  <a:cubicBezTo>
                    <a:pt x="40" y="382"/>
                    <a:pt x="70" y="382"/>
                    <a:pt x="70" y="382"/>
                  </a:cubicBezTo>
                  <a:cubicBezTo>
                    <a:pt x="70" y="382"/>
                    <a:pt x="85" y="377"/>
                    <a:pt x="91" y="394"/>
                  </a:cubicBezTo>
                  <a:cubicBezTo>
                    <a:pt x="97" y="411"/>
                    <a:pt x="86" y="424"/>
                    <a:pt x="79" y="434"/>
                  </a:cubicBezTo>
                  <a:cubicBezTo>
                    <a:pt x="72" y="444"/>
                    <a:pt x="56" y="458"/>
                    <a:pt x="56" y="462"/>
                  </a:cubicBezTo>
                  <a:cubicBezTo>
                    <a:pt x="56" y="466"/>
                    <a:pt x="61" y="467"/>
                    <a:pt x="61" y="467"/>
                  </a:cubicBezTo>
                  <a:cubicBezTo>
                    <a:pt x="61" y="467"/>
                    <a:pt x="73" y="464"/>
                    <a:pt x="82" y="469"/>
                  </a:cubicBezTo>
                  <a:cubicBezTo>
                    <a:pt x="91" y="474"/>
                    <a:pt x="121" y="492"/>
                    <a:pt x="142" y="490"/>
                  </a:cubicBezTo>
                  <a:cubicBezTo>
                    <a:pt x="163" y="488"/>
                    <a:pt x="161" y="483"/>
                    <a:pt x="161" y="483"/>
                  </a:cubicBezTo>
                  <a:cubicBezTo>
                    <a:pt x="196" y="484"/>
                    <a:pt x="196" y="484"/>
                    <a:pt x="196" y="484"/>
                  </a:cubicBezTo>
                  <a:cubicBezTo>
                    <a:pt x="196" y="484"/>
                    <a:pt x="193" y="488"/>
                    <a:pt x="205" y="488"/>
                  </a:cubicBezTo>
                  <a:cubicBezTo>
                    <a:pt x="217" y="488"/>
                    <a:pt x="218" y="482"/>
                    <a:pt x="218" y="482"/>
                  </a:cubicBezTo>
                  <a:cubicBezTo>
                    <a:pt x="218" y="482"/>
                    <a:pt x="260" y="480"/>
                    <a:pt x="263" y="479"/>
                  </a:cubicBezTo>
                  <a:cubicBezTo>
                    <a:pt x="266" y="478"/>
                    <a:pt x="305" y="465"/>
                    <a:pt x="307" y="459"/>
                  </a:cubicBezTo>
                  <a:cubicBezTo>
                    <a:pt x="309" y="453"/>
                    <a:pt x="303" y="433"/>
                    <a:pt x="303" y="433"/>
                  </a:cubicBezTo>
                  <a:cubicBezTo>
                    <a:pt x="303" y="433"/>
                    <a:pt x="296" y="409"/>
                    <a:pt x="298" y="403"/>
                  </a:cubicBezTo>
                  <a:cubicBezTo>
                    <a:pt x="300" y="397"/>
                    <a:pt x="315" y="384"/>
                    <a:pt x="323" y="384"/>
                  </a:cubicBezTo>
                  <a:cubicBezTo>
                    <a:pt x="331" y="384"/>
                    <a:pt x="327" y="390"/>
                    <a:pt x="327" y="390"/>
                  </a:cubicBezTo>
                  <a:cubicBezTo>
                    <a:pt x="327" y="390"/>
                    <a:pt x="357" y="395"/>
                    <a:pt x="359" y="389"/>
                  </a:cubicBezTo>
                  <a:cubicBezTo>
                    <a:pt x="361" y="383"/>
                    <a:pt x="344" y="381"/>
                    <a:pt x="348" y="376"/>
                  </a:cubicBezTo>
                  <a:cubicBezTo>
                    <a:pt x="352" y="371"/>
                    <a:pt x="366" y="367"/>
                    <a:pt x="366" y="367"/>
                  </a:cubicBezTo>
                  <a:cubicBezTo>
                    <a:pt x="366" y="367"/>
                    <a:pt x="373" y="361"/>
                    <a:pt x="381" y="361"/>
                  </a:cubicBezTo>
                  <a:cubicBezTo>
                    <a:pt x="389" y="361"/>
                    <a:pt x="399" y="359"/>
                    <a:pt x="399" y="359"/>
                  </a:cubicBezTo>
                  <a:cubicBezTo>
                    <a:pt x="399" y="359"/>
                    <a:pt x="396" y="378"/>
                    <a:pt x="409" y="371"/>
                  </a:cubicBezTo>
                  <a:cubicBezTo>
                    <a:pt x="422" y="364"/>
                    <a:pt x="425" y="355"/>
                    <a:pt x="425" y="355"/>
                  </a:cubicBezTo>
                  <a:cubicBezTo>
                    <a:pt x="425" y="355"/>
                    <a:pt x="416" y="337"/>
                    <a:pt x="417" y="325"/>
                  </a:cubicBezTo>
                  <a:cubicBezTo>
                    <a:pt x="418" y="313"/>
                    <a:pt x="424" y="316"/>
                    <a:pt x="424" y="316"/>
                  </a:cubicBezTo>
                  <a:cubicBezTo>
                    <a:pt x="424" y="316"/>
                    <a:pt x="421" y="294"/>
                    <a:pt x="425" y="291"/>
                  </a:cubicBezTo>
                  <a:cubicBezTo>
                    <a:pt x="429" y="288"/>
                    <a:pt x="442" y="289"/>
                    <a:pt x="442" y="289"/>
                  </a:cubicBezTo>
                  <a:cubicBezTo>
                    <a:pt x="462" y="275"/>
                    <a:pt x="462" y="275"/>
                    <a:pt x="462" y="275"/>
                  </a:cubicBezTo>
                  <a:cubicBezTo>
                    <a:pt x="462" y="275"/>
                    <a:pt x="451" y="276"/>
                    <a:pt x="449" y="269"/>
                  </a:cubicBezTo>
                  <a:cubicBezTo>
                    <a:pt x="447" y="262"/>
                    <a:pt x="447" y="258"/>
                    <a:pt x="447" y="258"/>
                  </a:cubicBezTo>
                  <a:cubicBezTo>
                    <a:pt x="447" y="258"/>
                    <a:pt x="432" y="254"/>
                    <a:pt x="431" y="249"/>
                  </a:cubicBezTo>
                  <a:cubicBezTo>
                    <a:pt x="430" y="244"/>
                    <a:pt x="430" y="239"/>
                    <a:pt x="434" y="238"/>
                  </a:cubicBezTo>
                  <a:cubicBezTo>
                    <a:pt x="438" y="237"/>
                    <a:pt x="445" y="245"/>
                    <a:pt x="445" y="245"/>
                  </a:cubicBezTo>
                  <a:cubicBezTo>
                    <a:pt x="456" y="246"/>
                    <a:pt x="456" y="246"/>
                    <a:pt x="456" y="246"/>
                  </a:cubicBezTo>
                  <a:cubicBezTo>
                    <a:pt x="463" y="249"/>
                    <a:pt x="463" y="249"/>
                    <a:pt x="463" y="249"/>
                  </a:cubicBezTo>
                  <a:cubicBezTo>
                    <a:pt x="467" y="242"/>
                    <a:pt x="467" y="242"/>
                    <a:pt x="467" y="242"/>
                  </a:cubicBezTo>
                  <a:cubicBezTo>
                    <a:pt x="467" y="242"/>
                    <a:pt x="478" y="245"/>
                    <a:pt x="479" y="238"/>
                  </a:cubicBezTo>
                  <a:cubicBezTo>
                    <a:pt x="480" y="231"/>
                    <a:pt x="479" y="222"/>
                    <a:pt x="479" y="222"/>
                  </a:cubicBezTo>
                  <a:cubicBezTo>
                    <a:pt x="479" y="222"/>
                    <a:pt x="472" y="221"/>
                    <a:pt x="473" y="212"/>
                  </a:cubicBezTo>
                  <a:cubicBezTo>
                    <a:pt x="474" y="203"/>
                    <a:pt x="491" y="195"/>
                    <a:pt x="494" y="188"/>
                  </a:cubicBezTo>
                  <a:cubicBezTo>
                    <a:pt x="497" y="181"/>
                    <a:pt x="487" y="173"/>
                    <a:pt x="487" y="173"/>
                  </a:cubicBezTo>
                  <a:cubicBezTo>
                    <a:pt x="487" y="173"/>
                    <a:pt x="490" y="156"/>
                    <a:pt x="479" y="144"/>
                  </a:cubicBezTo>
                  <a:cubicBezTo>
                    <a:pt x="468" y="132"/>
                    <a:pt x="463" y="136"/>
                    <a:pt x="469" y="124"/>
                  </a:cubicBezTo>
                  <a:cubicBezTo>
                    <a:pt x="475" y="112"/>
                    <a:pt x="486" y="109"/>
                    <a:pt x="486" y="109"/>
                  </a:cubicBezTo>
                  <a:cubicBezTo>
                    <a:pt x="486" y="109"/>
                    <a:pt x="509" y="93"/>
                    <a:pt x="516" y="90"/>
                  </a:cubicBezTo>
                  <a:cubicBezTo>
                    <a:pt x="523" y="87"/>
                    <a:pt x="540" y="88"/>
                    <a:pt x="540" y="88"/>
                  </a:cubicBezTo>
                  <a:cubicBezTo>
                    <a:pt x="540" y="88"/>
                    <a:pt x="563" y="83"/>
                    <a:pt x="566" y="83"/>
                  </a:cubicBezTo>
                  <a:cubicBezTo>
                    <a:pt x="569" y="83"/>
                    <a:pt x="579" y="89"/>
                    <a:pt x="584" y="88"/>
                  </a:cubicBezTo>
                  <a:cubicBezTo>
                    <a:pt x="587" y="87"/>
                    <a:pt x="596" y="82"/>
                    <a:pt x="602" y="78"/>
                  </a:cubicBezTo>
                  <a:cubicBezTo>
                    <a:pt x="602" y="78"/>
                    <a:pt x="602" y="78"/>
                    <a:pt x="602" y="78"/>
                  </a:cubicBezTo>
                  <a:cubicBezTo>
                    <a:pt x="599" y="76"/>
                    <a:pt x="597" y="74"/>
                    <a:pt x="596" y="7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39" name="Freeform 55"/>
            <p:cNvSpPr>
              <a:spLocks/>
            </p:cNvSpPr>
            <p:nvPr/>
          </p:nvSpPr>
          <p:spPr bwMode="auto">
            <a:xfrm>
              <a:off x="3280" y="2097"/>
              <a:ext cx="378" cy="323"/>
            </a:xfrm>
            <a:custGeom>
              <a:avLst/>
              <a:gdLst>
                <a:gd name="T0" fmla="*/ 0 w 998"/>
                <a:gd name="T1" fmla="*/ 0 h 851"/>
                <a:gd name="T2" fmla="*/ 0 w 998"/>
                <a:gd name="T3" fmla="*/ 0 h 851"/>
                <a:gd name="T4" fmla="*/ 0 w 998"/>
                <a:gd name="T5" fmla="*/ 0 h 851"/>
                <a:gd name="T6" fmla="*/ 0 w 998"/>
                <a:gd name="T7" fmla="*/ 0 h 851"/>
                <a:gd name="T8" fmla="*/ 0 w 998"/>
                <a:gd name="T9" fmla="*/ 0 h 851"/>
                <a:gd name="T10" fmla="*/ 0 w 998"/>
                <a:gd name="T11" fmla="*/ 0 h 851"/>
                <a:gd name="T12" fmla="*/ 0 w 998"/>
                <a:gd name="T13" fmla="*/ 0 h 851"/>
                <a:gd name="T14" fmla="*/ 0 w 998"/>
                <a:gd name="T15" fmla="*/ 0 h 851"/>
                <a:gd name="T16" fmla="*/ 0 w 998"/>
                <a:gd name="T17" fmla="*/ 0 h 851"/>
                <a:gd name="T18" fmla="*/ 0 w 998"/>
                <a:gd name="T19" fmla="*/ 0 h 851"/>
                <a:gd name="T20" fmla="*/ 0 w 998"/>
                <a:gd name="T21" fmla="*/ 0 h 851"/>
                <a:gd name="T22" fmla="*/ 0 w 998"/>
                <a:gd name="T23" fmla="*/ 0 h 851"/>
                <a:gd name="T24" fmla="*/ 0 w 998"/>
                <a:gd name="T25" fmla="*/ 0 h 851"/>
                <a:gd name="T26" fmla="*/ 0 w 998"/>
                <a:gd name="T27" fmla="*/ 0 h 851"/>
                <a:gd name="T28" fmla="*/ 0 w 998"/>
                <a:gd name="T29" fmla="*/ 0 h 851"/>
                <a:gd name="T30" fmla="*/ 0 w 998"/>
                <a:gd name="T31" fmla="*/ 0 h 851"/>
                <a:gd name="T32" fmla="*/ 0 w 998"/>
                <a:gd name="T33" fmla="*/ 0 h 851"/>
                <a:gd name="T34" fmla="*/ 0 w 998"/>
                <a:gd name="T35" fmla="*/ 0 h 851"/>
                <a:gd name="T36" fmla="*/ 0 w 998"/>
                <a:gd name="T37" fmla="*/ 0 h 851"/>
                <a:gd name="T38" fmla="*/ 0 w 998"/>
                <a:gd name="T39" fmla="*/ 0 h 851"/>
                <a:gd name="T40" fmla="*/ 0 w 998"/>
                <a:gd name="T41" fmla="*/ 0 h 851"/>
                <a:gd name="T42" fmla="*/ 0 w 998"/>
                <a:gd name="T43" fmla="*/ 0 h 851"/>
                <a:gd name="T44" fmla="*/ 0 w 998"/>
                <a:gd name="T45" fmla="*/ 0 h 851"/>
                <a:gd name="T46" fmla="*/ 0 w 998"/>
                <a:gd name="T47" fmla="*/ 0 h 851"/>
                <a:gd name="T48" fmla="*/ 0 w 998"/>
                <a:gd name="T49" fmla="*/ 0 h 851"/>
                <a:gd name="T50" fmla="*/ 0 w 998"/>
                <a:gd name="T51" fmla="*/ 0 h 851"/>
                <a:gd name="T52" fmla="*/ 0 w 998"/>
                <a:gd name="T53" fmla="*/ 0 h 851"/>
                <a:gd name="T54" fmla="*/ 0 w 998"/>
                <a:gd name="T55" fmla="*/ 0 h 851"/>
                <a:gd name="T56" fmla="*/ 0 w 998"/>
                <a:gd name="T57" fmla="*/ 0 h 851"/>
                <a:gd name="T58" fmla="*/ 0 w 998"/>
                <a:gd name="T59" fmla="*/ 0 h 851"/>
                <a:gd name="T60" fmla="*/ 0 w 998"/>
                <a:gd name="T61" fmla="*/ 0 h 851"/>
                <a:gd name="T62" fmla="*/ 0 w 998"/>
                <a:gd name="T63" fmla="*/ 0 h 851"/>
                <a:gd name="T64" fmla="*/ 0 w 998"/>
                <a:gd name="T65" fmla="*/ 0 h 851"/>
                <a:gd name="T66" fmla="*/ 0 w 998"/>
                <a:gd name="T67" fmla="*/ 0 h 85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98"/>
                <a:gd name="T103" fmla="*/ 0 h 851"/>
                <a:gd name="T104" fmla="*/ 998 w 998"/>
                <a:gd name="T105" fmla="*/ 851 h 85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98" h="851">
                  <a:moveTo>
                    <a:pt x="980" y="527"/>
                  </a:moveTo>
                  <a:cubicBezTo>
                    <a:pt x="980" y="525"/>
                    <a:pt x="978" y="521"/>
                    <a:pt x="976" y="516"/>
                  </a:cubicBezTo>
                  <a:cubicBezTo>
                    <a:pt x="942" y="512"/>
                    <a:pt x="853" y="501"/>
                    <a:pt x="851" y="501"/>
                  </a:cubicBezTo>
                  <a:cubicBezTo>
                    <a:pt x="848" y="501"/>
                    <a:pt x="811" y="453"/>
                    <a:pt x="804" y="446"/>
                  </a:cubicBezTo>
                  <a:cubicBezTo>
                    <a:pt x="799" y="441"/>
                    <a:pt x="799" y="433"/>
                    <a:pt x="800" y="428"/>
                  </a:cubicBezTo>
                  <a:cubicBezTo>
                    <a:pt x="796" y="423"/>
                    <a:pt x="793" y="417"/>
                    <a:pt x="794" y="413"/>
                  </a:cubicBezTo>
                  <a:cubicBezTo>
                    <a:pt x="788" y="415"/>
                    <a:pt x="788" y="415"/>
                    <a:pt x="788" y="415"/>
                  </a:cubicBezTo>
                  <a:cubicBezTo>
                    <a:pt x="780" y="407"/>
                    <a:pt x="780" y="407"/>
                    <a:pt x="780" y="407"/>
                  </a:cubicBezTo>
                  <a:cubicBezTo>
                    <a:pt x="770" y="410"/>
                    <a:pt x="770" y="410"/>
                    <a:pt x="770" y="410"/>
                  </a:cubicBezTo>
                  <a:cubicBezTo>
                    <a:pt x="764" y="400"/>
                    <a:pt x="764" y="400"/>
                    <a:pt x="764" y="400"/>
                  </a:cubicBezTo>
                  <a:cubicBezTo>
                    <a:pt x="757" y="398"/>
                    <a:pt x="750" y="359"/>
                    <a:pt x="744" y="354"/>
                  </a:cubicBezTo>
                  <a:cubicBezTo>
                    <a:pt x="738" y="349"/>
                    <a:pt x="722" y="346"/>
                    <a:pt x="719" y="332"/>
                  </a:cubicBezTo>
                  <a:cubicBezTo>
                    <a:pt x="715" y="318"/>
                    <a:pt x="720" y="296"/>
                    <a:pt x="707" y="286"/>
                  </a:cubicBezTo>
                  <a:cubicBezTo>
                    <a:pt x="693" y="275"/>
                    <a:pt x="675" y="277"/>
                    <a:pt x="669" y="265"/>
                  </a:cubicBezTo>
                  <a:cubicBezTo>
                    <a:pt x="663" y="252"/>
                    <a:pt x="670" y="239"/>
                    <a:pt x="664" y="235"/>
                  </a:cubicBezTo>
                  <a:cubicBezTo>
                    <a:pt x="658" y="231"/>
                    <a:pt x="646" y="218"/>
                    <a:pt x="646" y="218"/>
                  </a:cubicBezTo>
                  <a:cubicBezTo>
                    <a:pt x="645" y="201"/>
                    <a:pt x="645" y="201"/>
                    <a:pt x="645" y="201"/>
                  </a:cubicBezTo>
                  <a:cubicBezTo>
                    <a:pt x="645" y="201"/>
                    <a:pt x="642" y="198"/>
                    <a:pt x="637" y="195"/>
                  </a:cubicBezTo>
                  <a:cubicBezTo>
                    <a:pt x="624" y="196"/>
                    <a:pt x="606" y="196"/>
                    <a:pt x="598" y="196"/>
                  </a:cubicBezTo>
                  <a:cubicBezTo>
                    <a:pt x="584" y="195"/>
                    <a:pt x="594" y="177"/>
                    <a:pt x="588" y="170"/>
                  </a:cubicBezTo>
                  <a:cubicBezTo>
                    <a:pt x="582" y="163"/>
                    <a:pt x="460" y="160"/>
                    <a:pt x="460" y="160"/>
                  </a:cubicBezTo>
                  <a:cubicBezTo>
                    <a:pt x="332" y="63"/>
                    <a:pt x="332" y="63"/>
                    <a:pt x="332" y="63"/>
                  </a:cubicBezTo>
                  <a:cubicBezTo>
                    <a:pt x="332" y="63"/>
                    <a:pt x="311" y="49"/>
                    <a:pt x="299" y="43"/>
                  </a:cubicBezTo>
                  <a:cubicBezTo>
                    <a:pt x="287" y="37"/>
                    <a:pt x="250" y="9"/>
                    <a:pt x="250" y="9"/>
                  </a:cubicBezTo>
                  <a:cubicBezTo>
                    <a:pt x="250" y="9"/>
                    <a:pt x="225" y="8"/>
                    <a:pt x="216" y="9"/>
                  </a:cubicBezTo>
                  <a:cubicBezTo>
                    <a:pt x="207" y="10"/>
                    <a:pt x="200" y="0"/>
                    <a:pt x="200" y="0"/>
                  </a:cubicBezTo>
                  <a:cubicBezTo>
                    <a:pt x="200" y="0"/>
                    <a:pt x="187" y="8"/>
                    <a:pt x="181" y="14"/>
                  </a:cubicBezTo>
                  <a:cubicBezTo>
                    <a:pt x="175" y="20"/>
                    <a:pt x="147" y="18"/>
                    <a:pt x="147" y="18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32"/>
                    <a:pt x="86" y="31"/>
                    <a:pt x="79" y="38"/>
                  </a:cubicBezTo>
                  <a:cubicBezTo>
                    <a:pt x="72" y="45"/>
                    <a:pt x="104" y="42"/>
                    <a:pt x="111" y="46"/>
                  </a:cubicBezTo>
                  <a:cubicBezTo>
                    <a:pt x="118" y="50"/>
                    <a:pt x="137" y="85"/>
                    <a:pt x="137" y="85"/>
                  </a:cubicBezTo>
                  <a:cubicBezTo>
                    <a:pt x="137" y="85"/>
                    <a:pt x="131" y="111"/>
                    <a:pt x="123" y="118"/>
                  </a:cubicBezTo>
                  <a:cubicBezTo>
                    <a:pt x="115" y="125"/>
                    <a:pt x="98" y="121"/>
                    <a:pt x="92" y="123"/>
                  </a:cubicBezTo>
                  <a:cubicBezTo>
                    <a:pt x="86" y="125"/>
                    <a:pt x="84" y="152"/>
                    <a:pt x="70" y="163"/>
                  </a:cubicBezTo>
                  <a:cubicBezTo>
                    <a:pt x="56" y="174"/>
                    <a:pt x="25" y="154"/>
                    <a:pt x="18" y="155"/>
                  </a:cubicBezTo>
                  <a:cubicBezTo>
                    <a:pt x="12" y="156"/>
                    <a:pt x="12" y="160"/>
                    <a:pt x="12" y="161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2" y="170"/>
                    <a:pt x="0" y="237"/>
                    <a:pt x="12" y="249"/>
                  </a:cubicBezTo>
                  <a:cubicBezTo>
                    <a:pt x="24" y="260"/>
                    <a:pt x="49" y="260"/>
                    <a:pt x="54" y="274"/>
                  </a:cubicBezTo>
                  <a:cubicBezTo>
                    <a:pt x="60" y="288"/>
                    <a:pt x="76" y="325"/>
                    <a:pt x="85" y="334"/>
                  </a:cubicBezTo>
                  <a:cubicBezTo>
                    <a:pt x="94" y="343"/>
                    <a:pt x="113" y="358"/>
                    <a:pt x="120" y="370"/>
                  </a:cubicBezTo>
                  <a:cubicBezTo>
                    <a:pt x="128" y="383"/>
                    <a:pt x="132" y="421"/>
                    <a:pt x="145" y="433"/>
                  </a:cubicBezTo>
                  <a:cubicBezTo>
                    <a:pt x="157" y="445"/>
                    <a:pt x="184" y="434"/>
                    <a:pt x="201" y="453"/>
                  </a:cubicBezTo>
                  <a:cubicBezTo>
                    <a:pt x="218" y="472"/>
                    <a:pt x="232" y="531"/>
                    <a:pt x="232" y="560"/>
                  </a:cubicBezTo>
                  <a:cubicBezTo>
                    <a:pt x="232" y="590"/>
                    <a:pt x="267" y="626"/>
                    <a:pt x="267" y="626"/>
                  </a:cubicBezTo>
                  <a:cubicBezTo>
                    <a:pt x="267" y="626"/>
                    <a:pt x="291" y="623"/>
                    <a:pt x="300" y="631"/>
                  </a:cubicBezTo>
                  <a:cubicBezTo>
                    <a:pt x="308" y="639"/>
                    <a:pt x="344" y="704"/>
                    <a:pt x="358" y="728"/>
                  </a:cubicBezTo>
                  <a:cubicBezTo>
                    <a:pt x="372" y="752"/>
                    <a:pt x="420" y="810"/>
                    <a:pt x="419" y="826"/>
                  </a:cubicBezTo>
                  <a:cubicBezTo>
                    <a:pt x="419" y="833"/>
                    <a:pt x="417" y="842"/>
                    <a:pt x="414" y="851"/>
                  </a:cubicBezTo>
                  <a:cubicBezTo>
                    <a:pt x="418" y="848"/>
                    <a:pt x="423" y="844"/>
                    <a:pt x="427" y="837"/>
                  </a:cubicBezTo>
                  <a:cubicBezTo>
                    <a:pt x="434" y="826"/>
                    <a:pt x="428" y="824"/>
                    <a:pt x="428" y="824"/>
                  </a:cubicBezTo>
                  <a:cubicBezTo>
                    <a:pt x="428" y="824"/>
                    <a:pt x="427" y="795"/>
                    <a:pt x="437" y="790"/>
                  </a:cubicBezTo>
                  <a:cubicBezTo>
                    <a:pt x="447" y="785"/>
                    <a:pt x="452" y="799"/>
                    <a:pt x="452" y="799"/>
                  </a:cubicBezTo>
                  <a:cubicBezTo>
                    <a:pt x="470" y="798"/>
                    <a:pt x="470" y="798"/>
                    <a:pt x="470" y="798"/>
                  </a:cubicBezTo>
                  <a:cubicBezTo>
                    <a:pt x="470" y="798"/>
                    <a:pt x="477" y="792"/>
                    <a:pt x="482" y="792"/>
                  </a:cubicBezTo>
                  <a:cubicBezTo>
                    <a:pt x="487" y="792"/>
                    <a:pt x="506" y="791"/>
                    <a:pt x="522" y="791"/>
                  </a:cubicBezTo>
                  <a:cubicBezTo>
                    <a:pt x="538" y="791"/>
                    <a:pt x="549" y="799"/>
                    <a:pt x="549" y="799"/>
                  </a:cubicBezTo>
                  <a:cubicBezTo>
                    <a:pt x="549" y="799"/>
                    <a:pt x="589" y="797"/>
                    <a:pt x="593" y="799"/>
                  </a:cubicBezTo>
                  <a:cubicBezTo>
                    <a:pt x="597" y="801"/>
                    <a:pt x="611" y="816"/>
                    <a:pt x="616" y="816"/>
                  </a:cubicBezTo>
                  <a:cubicBezTo>
                    <a:pt x="621" y="816"/>
                    <a:pt x="628" y="804"/>
                    <a:pt x="628" y="804"/>
                  </a:cubicBezTo>
                  <a:cubicBezTo>
                    <a:pt x="628" y="792"/>
                    <a:pt x="628" y="792"/>
                    <a:pt x="628" y="792"/>
                  </a:cubicBezTo>
                  <a:cubicBezTo>
                    <a:pt x="628" y="792"/>
                    <a:pt x="643" y="768"/>
                    <a:pt x="653" y="755"/>
                  </a:cubicBezTo>
                  <a:cubicBezTo>
                    <a:pt x="663" y="742"/>
                    <a:pt x="705" y="723"/>
                    <a:pt x="717" y="723"/>
                  </a:cubicBezTo>
                  <a:cubicBezTo>
                    <a:pt x="729" y="723"/>
                    <a:pt x="839" y="710"/>
                    <a:pt x="839" y="710"/>
                  </a:cubicBezTo>
                  <a:cubicBezTo>
                    <a:pt x="972" y="661"/>
                    <a:pt x="972" y="661"/>
                    <a:pt x="972" y="661"/>
                  </a:cubicBezTo>
                  <a:cubicBezTo>
                    <a:pt x="998" y="546"/>
                    <a:pt x="998" y="546"/>
                    <a:pt x="998" y="546"/>
                  </a:cubicBezTo>
                  <a:cubicBezTo>
                    <a:pt x="998" y="546"/>
                    <a:pt x="980" y="531"/>
                    <a:pt x="980" y="527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40" name="Freeform 56"/>
            <p:cNvSpPr>
              <a:spLocks/>
            </p:cNvSpPr>
            <p:nvPr/>
          </p:nvSpPr>
          <p:spPr bwMode="auto">
            <a:xfrm>
              <a:off x="3278" y="2047"/>
              <a:ext cx="28" cy="40"/>
            </a:xfrm>
            <a:custGeom>
              <a:avLst/>
              <a:gdLst>
                <a:gd name="T0" fmla="*/ 0 w 76"/>
                <a:gd name="T1" fmla="*/ 0 h 105"/>
                <a:gd name="T2" fmla="*/ 0 w 76"/>
                <a:gd name="T3" fmla="*/ 0 h 105"/>
                <a:gd name="T4" fmla="*/ 0 w 76"/>
                <a:gd name="T5" fmla="*/ 0 h 105"/>
                <a:gd name="T6" fmla="*/ 0 w 76"/>
                <a:gd name="T7" fmla="*/ 0 h 105"/>
                <a:gd name="T8" fmla="*/ 0 w 76"/>
                <a:gd name="T9" fmla="*/ 0 h 105"/>
                <a:gd name="T10" fmla="*/ 0 w 76"/>
                <a:gd name="T11" fmla="*/ 0 h 105"/>
                <a:gd name="T12" fmla="*/ 0 w 76"/>
                <a:gd name="T13" fmla="*/ 0 h 105"/>
                <a:gd name="T14" fmla="*/ 0 w 76"/>
                <a:gd name="T15" fmla="*/ 0 h 105"/>
                <a:gd name="T16" fmla="*/ 0 w 76"/>
                <a:gd name="T17" fmla="*/ 0 h 105"/>
                <a:gd name="T18" fmla="*/ 0 w 76"/>
                <a:gd name="T19" fmla="*/ 0 h 105"/>
                <a:gd name="T20" fmla="*/ 0 w 76"/>
                <a:gd name="T21" fmla="*/ 0 h 105"/>
                <a:gd name="T22" fmla="*/ 0 w 76"/>
                <a:gd name="T23" fmla="*/ 0 h 105"/>
                <a:gd name="T24" fmla="*/ 0 w 76"/>
                <a:gd name="T25" fmla="*/ 0 h 105"/>
                <a:gd name="T26" fmla="*/ 0 w 76"/>
                <a:gd name="T27" fmla="*/ 0 h 105"/>
                <a:gd name="T28" fmla="*/ 0 w 76"/>
                <a:gd name="T29" fmla="*/ 0 h 105"/>
                <a:gd name="T30" fmla="*/ 0 w 76"/>
                <a:gd name="T31" fmla="*/ 0 h 105"/>
                <a:gd name="T32" fmla="*/ 0 w 76"/>
                <a:gd name="T33" fmla="*/ 0 h 10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76"/>
                <a:gd name="T52" fmla="*/ 0 h 105"/>
                <a:gd name="T53" fmla="*/ 76 w 76"/>
                <a:gd name="T54" fmla="*/ 105 h 10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76" h="105">
                  <a:moveTo>
                    <a:pt x="46" y="66"/>
                  </a:moveTo>
                  <a:cubicBezTo>
                    <a:pt x="46" y="66"/>
                    <a:pt x="41" y="49"/>
                    <a:pt x="50" y="46"/>
                  </a:cubicBezTo>
                  <a:cubicBezTo>
                    <a:pt x="59" y="43"/>
                    <a:pt x="66" y="46"/>
                    <a:pt x="71" y="34"/>
                  </a:cubicBezTo>
                  <a:cubicBezTo>
                    <a:pt x="76" y="22"/>
                    <a:pt x="64" y="10"/>
                    <a:pt x="64" y="1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"/>
                    <a:pt x="37" y="4"/>
                    <a:pt x="36" y="5"/>
                  </a:cubicBezTo>
                  <a:cubicBezTo>
                    <a:pt x="29" y="15"/>
                    <a:pt x="20" y="21"/>
                    <a:pt x="20" y="21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1" y="45"/>
                    <a:pt x="1" y="69"/>
                    <a:pt x="0" y="89"/>
                  </a:cubicBezTo>
                  <a:cubicBezTo>
                    <a:pt x="0" y="94"/>
                    <a:pt x="0" y="100"/>
                    <a:pt x="1" y="105"/>
                  </a:cubicBezTo>
                  <a:cubicBezTo>
                    <a:pt x="6" y="100"/>
                    <a:pt x="6" y="100"/>
                    <a:pt x="6" y="100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22" y="93"/>
                    <a:pt x="27" y="86"/>
                  </a:cubicBezTo>
                  <a:cubicBezTo>
                    <a:pt x="32" y="79"/>
                    <a:pt x="31" y="69"/>
                    <a:pt x="31" y="69"/>
                  </a:cubicBezTo>
                  <a:cubicBezTo>
                    <a:pt x="46" y="66"/>
                    <a:pt x="46" y="66"/>
                    <a:pt x="46" y="66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41" name="Freeform 57"/>
            <p:cNvSpPr>
              <a:spLocks/>
            </p:cNvSpPr>
            <p:nvPr/>
          </p:nvSpPr>
          <p:spPr bwMode="auto">
            <a:xfrm>
              <a:off x="3285" y="1991"/>
              <a:ext cx="113" cy="104"/>
            </a:xfrm>
            <a:custGeom>
              <a:avLst/>
              <a:gdLst>
                <a:gd name="T0" fmla="*/ 0 w 297"/>
                <a:gd name="T1" fmla="*/ 0 h 275"/>
                <a:gd name="T2" fmla="*/ 0 w 297"/>
                <a:gd name="T3" fmla="*/ 0 h 275"/>
                <a:gd name="T4" fmla="*/ 0 w 297"/>
                <a:gd name="T5" fmla="*/ 0 h 275"/>
                <a:gd name="T6" fmla="*/ 0 w 297"/>
                <a:gd name="T7" fmla="*/ 0 h 275"/>
                <a:gd name="T8" fmla="*/ 0 w 297"/>
                <a:gd name="T9" fmla="*/ 0 h 275"/>
                <a:gd name="T10" fmla="*/ 0 w 297"/>
                <a:gd name="T11" fmla="*/ 0 h 275"/>
                <a:gd name="T12" fmla="*/ 0 w 297"/>
                <a:gd name="T13" fmla="*/ 0 h 275"/>
                <a:gd name="T14" fmla="*/ 0 w 297"/>
                <a:gd name="T15" fmla="*/ 0 h 275"/>
                <a:gd name="T16" fmla="*/ 0 w 297"/>
                <a:gd name="T17" fmla="*/ 0 h 275"/>
                <a:gd name="T18" fmla="*/ 0 w 297"/>
                <a:gd name="T19" fmla="*/ 0 h 275"/>
                <a:gd name="T20" fmla="*/ 0 w 297"/>
                <a:gd name="T21" fmla="*/ 0 h 275"/>
                <a:gd name="T22" fmla="*/ 0 w 297"/>
                <a:gd name="T23" fmla="*/ 0 h 275"/>
                <a:gd name="T24" fmla="*/ 0 w 297"/>
                <a:gd name="T25" fmla="*/ 0 h 275"/>
                <a:gd name="T26" fmla="*/ 0 w 297"/>
                <a:gd name="T27" fmla="*/ 0 h 275"/>
                <a:gd name="T28" fmla="*/ 0 w 297"/>
                <a:gd name="T29" fmla="*/ 0 h 275"/>
                <a:gd name="T30" fmla="*/ 0 w 297"/>
                <a:gd name="T31" fmla="*/ 0 h 275"/>
                <a:gd name="T32" fmla="*/ 0 w 297"/>
                <a:gd name="T33" fmla="*/ 0 h 275"/>
                <a:gd name="T34" fmla="*/ 0 w 297"/>
                <a:gd name="T35" fmla="*/ 0 h 275"/>
                <a:gd name="T36" fmla="*/ 0 w 297"/>
                <a:gd name="T37" fmla="*/ 0 h 275"/>
                <a:gd name="T38" fmla="*/ 0 w 297"/>
                <a:gd name="T39" fmla="*/ 0 h 275"/>
                <a:gd name="T40" fmla="*/ 0 w 297"/>
                <a:gd name="T41" fmla="*/ 0 h 275"/>
                <a:gd name="T42" fmla="*/ 0 w 297"/>
                <a:gd name="T43" fmla="*/ 0 h 275"/>
                <a:gd name="T44" fmla="*/ 0 w 297"/>
                <a:gd name="T45" fmla="*/ 0 h 275"/>
                <a:gd name="T46" fmla="*/ 0 w 297"/>
                <a:gd name="T47" fmla="*/ 0 h 275"/>
                <a:gd name="T48" fmla="*/ 0 w 297"/>
                <a:gd name="T49" fmla="*/ 0 h 275"/>
                <a:gd name="T50" fmla="*/ 0 w 297"/>
                <a:gd name="T51" fmla="*/ 0 h 275"/>
                <a:gd name="T52" fmla="*/ 0 w 297"/>
                <a:gd name="T53" fmla="*/ 0 h 275"/>
                <a:gd name="T54" fmla="*/ 0 w 297"/>
                <a:gd name="T55" fmla="*/ 0 h 275"/>
                <a:gd name="T56" fmla="*/ 0 w 297"/>
                <a:gd name="T57" fmla="*/ 0 h 275"/>
                <a:gd name="T58" fmla="*/ 0 w 297"/>
                <a:gd name="T59" fmla="*/ 0 h 275"/>
                <a:gd name="T60" fmla="*/ 0 w 297"/>
                <a:gd name="T61" fmla="*/ 0 h 275"/>
                <a:gd name="T62" fmla="*/ 0 w 297"/>
                <a:gd name="T63" fmla="*/ 0 h 275"/>
                <a:gd name="T64" fmla="*/ 0 w 297"/>
                <a:gd name="T65" fmla="*/ 0 h 275"/>
                <a:gd name="T66" fmla="*/ 0 w 297"/>
                <a:gd name="T67" fmla="*/ 0 h 275"/>
                <a:gd name="T68" fmla="*/ 0 w 297"/>
                <a:gd name="T69" fmla="*/ 0 h 275"/>
                <a:gd name="T70" fmla="*/ 0 w 297"/>
                <a:gd name="T71" fmla="*/ 0 h 275"/>
                <a:gd name="T72" fmla="*/ 0 w 297"/>
                <a:gd name="T73" fmla="*/ 0 h 275"/>
                <a:gd name="T74" fmla="*/ 0 w 297"/>
                <a:gd name="T75" fmla="*/ 0 h 275"/>
                <a:gd name="T76" fmla="*/ 0 w 297"/>
                <a:gd name="T77" fmla="*/ 0 h 275"/>
                <a:gd name="T78" fmla="*/ 0 w 297"/>
                <a:gd name="T79" fmla="*/ 0 h 275"/>
                <a:gd name="T80" fmla="*/ 0 w 297"/>
                <a:gd name="T81" fmla="*/ 0 h 275"/>
                <a:gd name="T82" fmla="*/ 0 w 297"/>
                <a:gd name="T83" fmla="*/ 0 h 275"/>
                <a:gd name="T84" fmla="*/ 0 w 297"/>
                <a:gd name="T85" fmla="*/ 0 h 275"/>
                <a:gd name="T86" fmla="*/ 0 w 297"/>
                <a:gd name="T87" fmla="*/ 0 h 275"/>
                <a:gd name="T88" fmla="*/ 0 w 297"/>
                <a:gd name="T89" fmla="*/ 0 h 27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97"/>
                <a:gd name="T136" fmla="*/ 0 h 275"/>
                <a:gd name="T137" fmla="*/ 297 w 297"/>
                <a:gd name="T138" fmla="*/ 275 h 27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97" h="275">
                  <a:moveTo>
                    <a:pt x="281" y="39"/>
                  </a:moveTo>
                  <a:cubicBezTo>
                    <a:pt x="290" y="35"/>
                    <a:pt x="295" y="26"/>
                    <a:pt x="297" y="19"/>
                  </a:cubicBezTo>
                  <a:cubicBezTo>
                    <a:pt x="288" y="20"/>
                    <a:pt x="293" y="4"/>
                    <a:pt x="290" y="2"/>
                  </a:cubicBezTo>
                  <a:cubicBezTo>
                    <a:pt x="287" y="0"/>
                    <a:pt x="285" y="11"/>
                    <a:pt x="277" y="12"/>
                  </a:cubicBezTo>
                  <a:cubicBezTo>
                    <a:pt x="269" y="13"/>
                    <a:pt x="264" y="15"/>
                    <a:pt x="264" y="15"/>
                  </a:cubicBezTo>
                  <a:cubicBezTo>
                    <a:pt x="264" y="15"/>
                    <a:pt x="259" y="21"/>
                    <a:pt x="250" y="22"/>
                  </a:cubicBezTo>
                  <a:cubicBezTo>
                    <a:pt x="241" y="23"/>
                    <a:pt x="246" y="18"/>
                    <a:pt x="241" y="16"/>
                  </a:cubicBezTo>
                  <a:cubicBezTo>
                    <a:pt x="236" y="14"/>
                    <a:pt x="230" y="15"/>
                    <a:pt x="217" y="16"/>
                  </a:cubicBezTo>
                  <a:cubicBezTo>
                    <a:pt x="204" y="17"/>
                    <a:pt x="197" y="29"/>
                    <a:pt x="188" y="32"/>
                  </a:cubicBezTo>
                  <a:cubicBezTo>
                    <a:pt x="179" y="35"/>
                    <a:pt x="174" y="38"/>
                    <a:pt x="163" y="39"/>
                  </a:cubicBezTo>
                  <a:cubicBezTo>
                    <a:pt x="152" y="40"/>
                    <a:pt x="140" y="35"/>
                    <a:pt x="140" y="35"/>
                  </a:cubicBezTo>
                  <a:cubicBezTo>
                    <a:pt x="140" y="35"/>
                    <a:pt x="117" y="23"/>
                    <a:pt x="114" y="22"/>
                  </a:cubicBezTo>
                  <a:cubicBezTo>
                    <a:pt x="111" y="21"/>
                    <a:pt x="100" y="33"/>
                    <a:pt x="100" y="33"/>
                  </a:cubicBezTo>
                  <a:cubicBezTo>
                    <a:pt x="100" y="33"/>
                    <a:pt x="85" y="41"/>
                    <a:pt x="64" y="41"/>
                  </a:cubicBezTo>
                  <a:cubicBezTo>
                    <a:pt x="43" y="41"/>
                    <a:pt x="60" y="35"/>
                    <a:pt x="58" y="31"/>
                  </a:cubicBezTo>
                  <a:cubicBezTo>
                    <a:pt x="56" y="27"/>
                    <a:pt x="42" y="32"/>
                    <a:pt x="42" y="32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3" y="53"/>
                    <a:pt x="50" y="51"/>
                    <a:pt x="48" y="64"/>
                  </a:cubicBezTo>
                  <a:cubicBezTo>
                    <a:pt x="47" y="72"/>
                    <a:pt x="33" y="66"/>
                    <a:pt x="33" y="66"/>
                  </a:cubicBezTo>
                  <a:cubicBezTo>
                    <a:pt x="33" y="75"/>
                    <a:pt x="33" y="75"/>
                    <a:pt x="33" y="75"/>
                  </a:cubicBezTo>
                  <a:cubicBezTo>
                    <a:pt x="33" y="75"/>
                    <a:pt x="31" y="83"/>
                    <a:pt x="27" y="84"/>
                  </a:cubicBezTo>
                  <a:cubicBezTo>
                    <a:pt x="24" y="85"/>
                    <a:pt x="17" y="80"/>
                    <a:pt x="14" y="78"/>
                  </a:cubicBezTo>
                  <a:cubicBezTo>
                    <a:pt x="12" y="83"/>
                    <a:pt x="2" y="91"/>
                    <a:pt x="5" y="98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31"/>
                    <a:pt x="14" y="139"/>
                    <a:pt x="17" y="147"/>
                  </a:cubicBezTo>
                  <a:cubicBezTo>
                    <a:pt x="20" y="147"/>
                    <a:pt x="20" y="147"/>
                    <a:pt x="20" y="147"/>
                  </a:cubicBezTo>
                  <a:cubicBezTo>
                    <a:pt x="45" y="147"/>
                    <a:pt x="45" y="147"/>
                    <a:pt x="45" y="147"/>
                  </a:cubicBezTo>
                  <a:cubicBezTo>
                    <a:pt x="44" y="157"/>
                    <a:pt x="44" y="157"/>
                    <a:pt x="44" y="157"/>
                  </a:cubicBezTo>
                  <a:cubicBezTo>
                    <a:pt x="44" y="157"/>
                    <a:pt x="56" y="169"/>
                    <a:pt x="51" y="181"/>
                  </a:cubicBezTo>
                  <a:cubicBezTo>
                    <a:pt x="46" y="193"/>
                    <a:pt x="39" y="190"/>
                    <a:pt x="30" y="193"/>
                  </a:cubicBezTo>
                  <a:cubicBezTo>
                    <a:pt x="21" y="196"/>
                    <a:pt x="26" y="213"/>
                    <a:pt x="26" y="213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9" y="254"/>
                    <a:pt x="19" y="254"/>
                    <a:pt x="19" y="254"/>
                  </a:cubicBezTo>
                  <a:cubicBezTo>
                    <a:pt x="23" y="251"/>
                    <a:pt x="23" y="251"/>
                    <a:pt x="23" y="251"/>
                  </a:cubicBezTo>
                  <a:cubicBezTo>
                    <a:pt x="45" y="263"/>
                    <a:pt x="45" y="263"/>
                    <a:pt x="45" y="263"/>
                  </a:cubicBezTo>
                  <a:cubicBezTo>
                    <a:pt x="45" y="263"/>
                    <a:pt x="52" y="275"/>
                    <a:pt x="73" y="275"/>
                  </a:cubicBezTo>
                  <a:cubicBezTo>
                    <a:pt x="94" y="275"/>
                    <a:pt x="157" y="218"/>
                    <a:pt x="157" y="218"/>
                  </a:cubicBezTo>
                  <a:cubicBezTo>
                    <a:pt x="200" y="183"/>
                    <a:pt x="200" y="183"/>
                    <a:pt x="200" y="183"/>
                  </a:cubicBezTo>
                  <a:cubicBezTo>
                    <a:pt x="200" y="183"/>
                    <a:pt x="249" y="165"/>
                    <a:pt x="261" y="156"/>
                  </a:cubicBezTo>
                  <a:cubicBezTo>
                    <a:pt x="273" y="147"/>
                    <a:pt x="256" y="138"/>
                    <a:pt x="255" y="131"/>
                  </a:cubicBezTo>
                  <a:cubicBezTo>
                    <a:pt x="254" y="124"/>
                    <a:pt x="260" y="117"/>
                    <a:pt x="264" y="112"/>
                  </a:cubicBezTo>
                  <a:cubicBezTo>
                    <a:pt x="268" y="107"/>
                    <a:pt x="260" y="77"/>
                    <a:pt x="260" y="77"/>
                  </a:cubicBezTo>
                  <a:cubicBezTo>
                    <a:pt x="260" y="77"/>
                    <a:pt x="245" y="69"/>
                    <a:pt x="249" y="55"/>
                  </a:cubicBezTo>
                  <a:cubicBezTo>
                    <a:pt x="253" y="41"/>
                    <a:pt x="265" y="46"/>
                    <a:pt x="281" y="39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42" name="Freeform 58"/>
            <p:cNvSpPr>
              <a:spLocks/>
            </p:cNvSpPr>
            <p:nvPr/>
          </p:nvSpPr>
          <p:spPr bwMode="auto">
            <a:xfrm>
              <a:off x="3404" y="1911"/>
              <a:ext cx="58" cy="53"/>
            </a:xfrm>
            <a:custGeom>
              <a:avLst/>
              <a:gdLst>
                <a:gd name="T0" fmla="*/ 0 w 152"/>
                <a:gd name="T1" fmla="*/ 0 h 140"/>
                <a:gd name="T2" fmla="*/ 0 w 152"/>
                <a:gd name="T3" fmla="*/ 0 h 140"/>
                <a:gd name="T4" fmla="*/ 0 w 152"/>
                <a:gd name="T5" fmla="*/ 0 h 140"/>
                <a:gd name="T6" fmla="*/ 0 w 152"/>
                <a:gd name="T7" fmla="*/ 0 h 140"/>
                <a:gd name="T8" fmla="*/ 0 w 152"/>
                <a:gd name="T9" fmla="*/ 0 h 140"/>
                <a:gd name="T10" fmla="*/ 0 w 152"/>
                <a:gd name="T11" fmla="*/ 0 h 140"/>
                <a:gd name="T12" fmla="*/ 0 w 152"/>
                <a:gd name="T13" fmla="*/ 0 h 140"/>
                <a:gd name="T14" fmla="*/ 0 w 152"/>
                <a:gd name="T15" fmla="*/ 0 h 140"/>
                <a:gd name="T16" fmla="*/ 0 w 152"/>
                <a:gd name="T17" fmla="*/ 0 h 140"/>
                <a:gd name="T18" fmla="*/ 0 w 152"/>
                <a:gd name="T19" fmla="*/ 0 h 140"/>
                <a:gd name="T20" fmla="*/ 0 w 152"/>
                <a:gd name="T21" fmla="*/ 0 h 140"/>
                <a:gd name="T22" fmla="*/ 0 w 152"/>
                <a:gd name="T23" fmla="*/ 0 h 140"/>
                <a:gd name="T24" fmla="*/ 0 w 152"/>
                <a:gd name="T25" fmla="*/ 0 h 140"/>
                <a:gd name="T26" fmla="*/ 0 w 152"/>
                <a:gd name="T27" fmla="*/ 0 h 140"/>
                <a:gd name="T28" fmla="*/ 0 w 152"/>
                <a:gd name="T29" fmla="*/ 0 h 140"/>
                <a:gd name="T30" fmla="*/ 0 w 152"/>
                <a:gd name="T31" fmla="*/ 0 h 140"/>
                <a:gd name="T32" fmla="*/ 0 w 152"/>
                <a:gd name="T33" fmla="*/ 0 h 140"/>
                <a:gd name="T34" fmla="*/ 0 w 152"/>
                <a:gd name="T35" fmla="*/ 0 h 140"/>
                <a:gd name="T36" fmla="*/ 0 w 152"/>
                <a:gd name="T37" fmla="*/ 0 h 140"/>
                <a:gd name="T38" fmla="*/ 0 w 152"/>
                <a:gd name="T39" fmla="*/ 0 h 140"/>
                <a:gd name="T40" fmla="*/ 0 w 152"/>
                <a:gd name="T41" fmla="*/ 0 h 140"/>
                <a:gd name="T42" fmla="*/ 0 w 152"/>
                <a:gd name="T43" fmla="*/ 0 h 140"/>
                <a:gd name="T44" fmla="*/ 0 w 152"/>
                <a:gd name="T45" fmla="*/ 0 h 140"/>
                <a:gd name="T46" fmla="*/ 0 w 152"/>
                <a:gd name="T47" fmla="*/ 0 h 140"/>
                <a:gd name="T48" fmla="*/ 0 w 152"/>
                <a:gd name="T49" fmla="*/ 0 h 140"/>
                <a:gd name="T50" fmla="*/ 0 w 152"/>
                <a:gd name="T51" fmla="*/ 0 h 140"/>
                <a:gd name="T52" fmla="*/ 0 w 152"/>
                <a:gd name="T53" fmla="*/ 0 h 140"/>
                <a:gd name="T54" fmla="*/ 0 w 152"/>
                <a:gd name="T55" fmla="*/ 0 h 140"/>
                <a:gd name="T56" fmla="*/ 0 w 152"/>
                <a:gd name="T57" fmla="*/ 0 h 140"/>
                <a:gd name="T58" fmla="*/ 0 w 152"/>
                <a:gd name="T59" fmla="*/ 0 h 14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2"/>
                <a:gd name="T91" fmla="*/ 0 h 140"/>
                <a:gd name="T92" fmla="*/ 152 w 152"/>
                <a:gd name="T93" fmla="*/ 140 h 14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2" h="140">
                  <a:moveTo>
                    <a:pt x="147" y="111"/>
                  </a:moveTo>
                  <a:cubicBezTo>
                    <a:pt x="143" y="104"/>
                    <a:pt x="143" y="104"/>
                    <a:pt x="143" y="104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25" y="92"/>
                    <a:pt x="125" y="92"/>
                    <a:pt x="125" y="92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117" y="70"/>
                    <a:pt x="118" y="61"/>
                  </a:cubicBezTo>
                  <a:cubicBezTo>
                    <a:pt x="119" y="52"/>
                    <a:pt x="88" y="39"/>
                    <a:pt x="88" y="39"/>
                  </a:cubicBezTo>
                  <a:cubicBezTo>
                    <a:pt x="88" y="39"/>
                    <a:pt x="94" y="31"/>
                    <a:pt x="94" y="24"/>
                  </a:cubicBezTo>
                  <a:cubicBezTo>
                    <a:pt x="94" y="17"/>
                    <a:pt x="75" y="16"/>
                    <a:pt x="75" y="16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6" y="7"/>
                    <a:pt x="64" y="0"/>
                    <a:pt x="61" y="0"/>
                  </a:cubicBezTo>
                  <a:cubicBezTo>
                    <a:pt x="58" y="0"/>
                    <a:pt x="55" y="10"/>
                    <a:pt x="55" y="1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2" y="17"/>
                    <a:pt x="3" y="22"/>
                    <a:pt x="6" y="29"/>
                  </a:cubicBezTo>
                  <a:cubicBezTo>
                    <a:pt x="12" y="44"/>
                    <a:pt x="10" y="58"/>
                    <a:pt x="18" y="69"/>
                  </a:cubicBezTo>
                  <a:cubicBezTo>
                    <a:pt x="26" y="80"/>
                    <a:pt x="42" y="71"/>
                    <a:pt x="47" y="72"/>
                  </a:cubicBezTo>
                  <a:cubicBezTo>
                    <a:pt x="50" y="72"/>
                    <a:pt x="54" y="83"/>
                    <a:pt x="57" y="93"/>
                  </a:cubicBezTo>
                  <a:cubicBezTo>
                    <a:pt x="56" y="95"/>
                    <a:pt x="56" y="96"/>
                    <a:pt x="55" y="98"/>
                  </a:cubicBezTo>
                  <a:cubicBezTo>
                    <a:pt x="62" y="103"/>
                    <a:pt x="62" y="103"/>
                    <a:pt x="62" y="103"/>
                  </a:cubicBezTo>
                  <a:cubicBezTo>
                    <a:pt x="72" y="89"/>
                    <a:pt x="72" y="89"/>
                    <a:pt x="72" y="89"/>
                  </a:cubicBezTo>
                  <a:cubicBezTo>
                    <a:pt x="72" y="89"/>
                    <a:pt x="82" y="86"/>
                    <a:pt x="83" y="86"/>
                  </a:cubicBezTo>
                  <a:cubicBezTo>
                    <a:pt x="90" y="96"/>
                    <a:pt x="100" y="97"/>
                    <a:pt x="100" y="97"/>
                  </a:cubicBezTo>
                  <a:cubicBezTo>
                    <a:pt x="100" y="97"/>
                    <a:pt x="102" y="94"/>
                    <a:pt x="111" y="95"/>
                  </a:cubicBezTo>
                  <a:cubicBezTo>
                    <a:pt x="120" y="96"/>
                    <a:pt x="116" y="107"/>
                    <a:pt x="119" y="111"/>
                  </a:cubicBezTo>
                  <a:cubicBezTo>
                    <a:pt x="122" y="115"/>
                    <a:pt x="130" y="138"/>
                    <a:pt x="130" y="138"/>
                  </a:cubicBezTo>
                  <a:cubicBezTo>
                    <a:pt x="130" y="138"/>
                    <a:pt x="144" y="140"/>
                    <a:pt x="148" y="140"/>
                  </a:cubicBezTo>
                  <a:cubicBezTo>
                    <a:pt x="152" y="140"/>
                    <a:pt x="147" y="111"/>
                    <a:pt x="147" y="11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43" name="Freeform 59"/>
            <p:cNvSpPr>
              <a:spLocks noEditPoints="1"/>
            </p:cNvSpPr>
            <p:nvPr/>
          </p:nvSpPr>
          <p:spPr bwMode="auto">
            <a:xfrm>
              <a:off x="3102" y="1894"/>
              <a:ext cx="337" cy="129"/>
            </a:xfrm>
            <a:custGeom>
              <a:avLst/>
              <a:gdLst>
                <a:gd name="T0" fmla="*/ 0 w 888"/>
                <a:gd name="T1" fmla="*/ 0 h 340"/>
                <a:gd name="T2" fmla="*/ 0 w 888"/>
                <a:gd name="T3" fmla="*/ 0 h 340"/>
                <a:gd name="T4" fmla="*/ 0 w 888"/>
                <a:gd name="T5" fmla="*/ 0 h 340"/>
                <a:gd name="T6" fmla="*/ 0 w 888"/>
                <a:gd name="T7" fmla="*/ 0 h 340"/>
                <a:gd name="T8" fmla="*/ 0 w 888"/>
                <a:gd name="T9" fmla="*/ 0 h 340"/>
                <a:gd name="T10" fmla="*/ 0 w 888"/>
                <a:gd name="T11" fmla="*/ 0 h 340"/>
                <a:gd name="T12" fmla="*/ 0 w 888"/>
                <a:gd name="T13" fmla="*/ 0 h 340"/>
                <a:gd name="T14" fmla="*/ 0 w 888"/>
                <a:gd name="T15" fmla="*/ 0 h 340"/>
                <a:gd name="T16" fmla="*/ 0 w 888"/>
                <a:gd name="T17" fmla="*/ 0 h 340"/>
                <a:gd name="T18" fmla="*/ 0 w 888"/>
                <a:gd name="T19" fmla="*/ 0 h 340"/>
                <a:gd name="T20" fmla="*/ 0 w 888"/>
                <a:gd name="T21" fmla="*/ 0 h 340"/>
                <a:gd name="T22" fmla="*/ 0 w 888"/>
                <a:gd name="T23" fmla="*/ 0 h 340"/>
                <a:gd name="T24" fmla="*/ 0 w 888"/>
                <a:gd name="T25" fmla="*/ 0 h 340"/>
                <a:gd name="T26" fmla="*/ 0 w 888"/>
                <a:gd name="T27" fmla="*/ 0 h 340"/>
                <a:gd name="T28" fmla="*/ 0 w 888"/>
                <a:gd name="T29" fmla="*/ 0 h 340"/>
                <a:gd name="T30" fmla="*/ 0 w 888"/>
                <a:gd name="T31" fmla="*/ 0 h 340"/>
                <a:gd name="T32" fmla="*/ 0 w 888"/>
                <a:gd name="T33" fmla="*/ 0 h 340"/>
                <a:gd name="T34" fmla="*/ 0 w 888"/>
                <a:gd name="T35" fmla="*/ 0 h 340"/>
                <a:gd name="T36" fmla="*/ 0 w 888"/>
                <a:gd name="T37" fmla="*/ 0 h 340"/>
                <a:gd name="T38" fmla="*/ 0 w 888"/>
                <a:gd name="T39" fmla="*/ 0 h 340"/>
                <a:gd name="T40" fmla="*/ 0 w 888"/>
                <a:gd name="T41" fmla="*/ 0 h 340"/>
                <a:gd name="T42" fmla="*/ 0 w 888"/>
                <a:gd name="T43" fmla="*/ 0 h 340"/>
                <a:gd name="T44" fmla="*/ 0 w 888"/>
                <a:gd name="T45" fmla="*/ 0 h 340"/>
                <a:gd name="T46" fmla="*/ 0 w 888"/>
                <a:gd name="T47" fmla="*/ 0 h 340"/>
                <a:gd name="T48" fmla="*/ 0 w 888"/>
                <a:gd name="T49" fmla="*/ 0 h 340"/>
                <a:gd name="T50" fmla="*/ 0 w 888"/>
                <a:gd name="T51" fmla="*/ 0 h 340"/>
                <a:gd name="T52" fmla="*/ 0 w 888"/>
                <a:gd name="T53" fmla="*/ 0 h 340"/>
                <a:gd name="T54" fmla="*/ 0 w 888"/>
                <a:gd name="T55" fmla="*/ 0 h 340"/>
                <a:gd name="T56" fmla="*/ 0 w 888"/>
                <a:gd name="T57" fmla="*/ 0 h 340"/>
                <a:gd name="T58" fmla="*/ 0 w 888"/>
                <a:gd name="T59" fmla="*/ 0 h 340"/>
                <a:gd name="T60" fmla="*/ 0 w 888"/>
                <a:gd name="T61" fmla="*/ 0 h 340"/>
                <a:gd name="T62" fmla="*/ 0 w 888"/>
                <a:gd name="T63" fmla="*/ 0 h 340"/>
                <a:gd name="T64" fmla="*/ 0 w 888"/>
                <a:gd name="T65" fmla="*/ 0 h 340"/>
                <a:gd name="T66" fmla="*/ 0 w 888"/>
                <a:gd name="T67" fmla="*/ 0 h 340"/>
                <a:gd name="T68" fmla="*/ 0 w 888"/>
                <a:gd name="T69" fmla="*/ 0 h 340"/>
                <a:gd name="T70" fmla="*/ 0 w 888"/>
                <a:gd name="T71" fmla="*/ 0 h 340"/>
                <a:gd name="T72" fmla="*/ 0 w 888"/>
                <a:gd name="T73" fmla="*/ 0 h 340"/>
                <a:gd name="T74" fmla="*/ 0 w 888"/>
                <a:gd name="T75" fmla="*/ 0 h 340"/>
                <a:gd name="T76" fmla="*/ 0 w 888"/>
                <a:gd name="T77" fmla="*/ 0 h 340"/>
                <a:gd name="T78" fmla="*/ 0 w 888"/>
                <a:gd name="T79" fmla="*/ 0 h 340"/>
                <a:gd name="T80" fmla="*/ 0 w 888"/>
                <a:gd name="T81" fmla="*/ 0 h 340"/>
                <a:gd name="T82" fmla="*/ 0 w 888"/>
                <a:gd name="T83" fmla="*/ 0 h 340"/>
                <a:gd name="T84" fmla="*/ 0 w 888"/>
                <a:gd name="T85" fmla="*/ 0 h 3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88"/>
                <a:gd name="T130" fmla="*/ 0 h 340"/>
                <a:gd name="T131" fmla="*/ 888 w 888"/>
                <a:gd name="T132" fmla="*/ 340 h 3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88" h="340">
                  <a:moveTo>
                    <a:pt x="3" y="126"/>
                  </a:moveTo>
                  <a:cubicBezTo>
                    <a:pt x="17" y="125"/>
                    <a:pt x="17" y="125"/>
                    <a:pt x="17" y="125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0" y="116"/>
                    <a:pt x="0" y="116"/>
                    <a:pt x="0" y="116"/>
                  </a:cubicBezTo>
                  <a:lnTo>
                    <a:pt x="3" y="126"/>
                  </a:lnTo>
                  <a:close/>
                  <a:moveTo>
                    <a:pt x="27" y="107"/>
                  </a:moveTo>
                  <a:cubicBezTo>
                    <a:pt x="30" y="116"/>
                    <a:pt x="40" y="122"/>
                    <a:pt x="39" y="106"/>
                  </a:cubicBezTo>
                  <a:cubicBezTo>
                    <a:pt x="38" y="90"/>
                    <a:pt x="27" y="107"/>
                    <a:pt x="27" y="107"/>
                  </a:cubicBezTo>
                  <a:close/>
                  <a:moveTo>
                    <a:pt x="63" y="93"/>
                  </a:moveTo>
                  <a:cubicBezTo>
                    <a:pt x="45" y="93"/>
                    <a:pt x="45" y="93"/>
                    <a:pt x="45" y="93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52" y="101"/>
                    <a:pt x="52" y="101"/>
                    <a:pt x="52" y="101"/>
                  </a:cubicBezTo>
                  <a:lnTo>
                    <a:pt x="63" y="93"/>
                  </a:lnTo>
                  <a:close/>
                  <a:moveTo>
                    <a:pt x="888" y="265"/>
                  </a:moveTo>
                  <a:cubicBezTo>
                    <a:pt x="887" y="261"/>
                    <a:pt x="887" y="259"/>
                    <a:pt x="887" y="259"/>
                  </a:cubicBezTo>
                  <a:cubicBezTo>
                    <a:pt x="871" y="254"/>
                    <a:pt x="871" y="254"/>
                    <a:pt x="871" y="254"/>
                  </a:cubicBezTo>
                  <a:cubicBezTo>
                    <a:pt x="871" y="236"/>
                    <a:pt x="871" y="236"/>
                    <a:pt x="871" y="236"/>
                  </a:cubicBezTo>
                  <a:cubicBezTo>
                    <a:pt x="850" y="224"/>
                    <a:pt x="850" y="224"/>
                    <a:pt x="850" y="224"/>
                  </a:cubicBezTo>
                  <a:cubicBezTo>
                    <a:pt x="850" y="224"/>
                    <a:pt x="863" y="205"/>
                    <a:pt x="858" y="203"/>
                  </a:cubicBezTo>
                  <a:cubicBezTo>
                    <a:pt x="853" y="201"/>
                    <a:pt x="846" y="180"/>
                    <a:pt x="846" y="180"/>
                  </a:cubicBezTo>
                  <a:cubicBezTo>
                    <a:pt x="845" y="165"/>
                    <a:pt x="845" y="165"/>
                    <a:pt x="845" y="165"/>
                  </a:cubicBezTo>
                  <a:cubicBezTo>
                    <a:pt x="834" y="149"/>
                    <a:pt x="834" y="149"/>
                    <a:pt x="834" y="149"/>
                  </a:cubicBezTo>
                  <a:cubicBezTo>
                    <a:pt x="850" y="147"/>
                    <a:pt x="850" y="147"/>
                    <a:pt x="850" y="147"/>
                  </a:cubicBezTo>
                  <a:cubicBezTo>
                    <a:pt x="850" y="147"/>
                    <a:pt x="851" y="142"/>
                    <a:pt x="853" y="137"/>
                  </a:cubicBezTo>
                  <a:cubicBezTo>
                    <a:pt x="850" y="127"/>
                    <a:pt x="846" y="116"/>
                    <a:pt x="843" y="116"/>
                  </a:cubicBezTo>
                  <a:cubicBezTo>
                    <a:pt x="838" y="115"/>
                    <a:pt x="822" y="124"/>
                    <a:pt x="814" y="113"/>
                  </a:cubicBezTo>
                  <a:cubicBezTo>
                    <a:pt x="806" y="102"/>
                    <a:pt x="808" y="88"/>
                    <a:pt x="802" y="73"/>
                  </a:cubicBezTo>
                  <a:cubicBezTo>
                    <a:pt x="796" y="58"/>
                    <a:pt x="794" y="50"/>
                    <a:pt x="794" y="50"/>
                  </a:cubicBezTo>
                  <a:cubicBezTo>
                    <a:pt x="777" y="50"/>
                    <a:pt x="777" y="50"/>
                    <a:pt x="777" y="50"/>
                  </a:cubicBezTo>
                  <a:cubicBezTo>
                    <a:pt x="777" y="50"/>
                    <a:pt x="775" y="35"/>
                    <a:pt x="761" y="32"/>
                  </a:cubicBezTo>
                  <a:cubicBezTo>
                    <a:pt x="747" y="29"/>
                    <a:pt x="741" y="39"/>
                    <a:pt x="741" y="39"/>
                  </a:cubicBezTo>
                  <a:cubicBezTo>
                    <a:pt x="715" y="34"/>
                    <a:pt x="715" y="34"/>
                    <a:pt x="715" y="34"/>
                  </a:cubicBezTo>
                  <a:cubicBezTo>
                    <a:pt x="706" y="43"/>
                    <a:pt x="688" y="59"/>
                    <a:pt x="678" y="63"/>
                  </a:cubicBezTo>
                  <a:cubicBezTo>
                    <a:pt x="665" y="68"/>
                    <a:pt x="621" y="62"/>
                    <a:pt x="621" y="62"/>
                  </a:cubicBezTo>
                  <a:cubicBezTo>
                    <a:pt x="585" y="72"/>
                    <a:pt x="585" y="72"/>
                    <a:pt x="585" y="72"/>
                  </a:cubicBezTo>
                  <a:cubicBezTo>
                    <a:pt x="542" y="57"/>
                    <a:pt x="542" y="57"/>
                    <a:pt x="542" y="57"/>
                  </a:cubicBezTo>
                  <a:cubicBezTo>
                    <a:pt x="525" y="63"/>
                    <a:pt x="525" y="63"/>
                    <a:pt x="525" y="63"/>
                  </a:cubicBezTo>
                  <a:cubicBezTo>
                    <a:pt x="525" y="63"/>
                    <a:pt x="516" y="40"/>
                    <a:pt x="508" y="42"/>
                  </a:cubicBezTo>
                  <a:cubicBezTo>
                    <a:pt x="500" y="44"/>
                    <a:pt x="491" y="51"/>
                    <a:pt x="491" y="51"/>
                  </a:cubicBezTo>
                  <a:cubicBezTo>
                    <a:pt x="475" y="40"/>
                    <a:pt x="475" y="40"/>
                    <a:pt x="475" y="40"/>
                  </a:cubicBezTo>
                  <a:cubicBezTo>
                    <a:pt x="472" y="25"/>
                    <a:pt x="472" y="25"/>
                    <a:pt x="472" y="25"/>
                  </a:cubicBezTo>
                  <a:cubicBezTo>
                    <a:pt x="442" y="30"/>
                    <a:pt x="442" y="30"/>
                    <a:pt x="442" y="30"/>
                  </a:cubicBezTo>
                  <a:cubicBezTo>
                    <a:pt x="424" y="20"/>
                    <a:pt x="424" y="20"/>
                    <a:pt x="424" y="20"/>
                  </a:cubicBezTo>
                  <a:cubicBezTo>
                    <a:pt x="421" y="6"/>
                    <a:pt x="421" y="6"/>
                    <a:pt x="421" y="6"/>
                  </a:cubicBezTo>
                  <a:cubicBezTo>
                    <a:pt x="421" y="6"/>
                    <a:pt x="398" y="16"/>
                    <a:pt x="385" y="16"/>
                  </a:cubicBezTo>
                  <a:cubicBezTo>
                    <a:pt x="373" y="16"/>
                    <a:pt x="355" y="10"/>
                    <a:pt x="343" y="11"/>
                  </a:cubicBezTo>
                  <a:cubicBezTo>
                    <a:pt x="332" y="12"/>
                    <a:pt x="297" y="26"/>
                    <a:pt x="291" y="32"/>
                  </a:cubicBezTo>
                  <a:cubicBezTo>
                    <a:pt x="286" y="39"/>
                    <a:pt x="272" y="42"/>
                    <a:pt x="272" y="42"/>
                  </a:cubicBezTo>
                  <a:cubicBezTo>
                    <a:pt x="266" y="58"/>
                    <a:pt x="266" y="58"/>
                    <a:pt x="266" y="58"/>
                  </a:cubicBezTo>
                  <a:cubicBezTo>
                    <a:pt x="266" y="58"/>
                    <a:pt x="266" y="62"/>
                    <a:pt x="252" y="59"/>
                  </a:cubicBezTo>
                  <a:cubicBezTo>
                    <a:pt x="239" y="56"/>
                    <a:pt x="216" y="53"/>
                    <a:pt x="203" y="53"/>
                  </a:cubicBezTo>
                  <a:cubicBezTo>
                    <a:pt x="191" y="53"/>
                    <a:pt x="151" y="44"/>
                    <a:pt x="151" y="44"/>
                  </a:cubicBezTo>
                  <a:cubicBezTo>
                    <a:pt x="151" y="44"/>
                    <a:pt x="127" y="47"/>
                    <a:pt x="124" y="33"/>
                  </a:cubicBezTo>
                  <a:cubicBezTo>
                    <a:pt x="122" y="26"/>
                    <a:pt x="121" y="19"/>
                    <a:pt x="120" y="14"/>
                  </a:cubicBezTo>
                  <a:cubicBezTo>
                    <a:pt x="111" y="15"/>
                    <a:pt x="97" y="13"/>
                    <a:pt x="97" y="1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9" y="27"/>
                    <a:pt x="62" y="32"/>
                  </a:cubicBezTo>
                  <a:cubicBezTo>
                    <a:pt x="65" y="37"/>
                    <a:pt x="64" y="45"/>
                    <a:pt x="64" y="45"/>
                  </a:cubicBezTo>
                  <a:cubicBezTo>
                    <a:pt x="64" y="45"/>
                    <a:pt x="51" y="41"/>
                    <a:pt x="50" y="47"/>
                  </a:cubicBezTo>
                  <a:cubicBezTo>
                    <a:pt x="49" y="53"/>
                    <a:pt x="54" y="56"/>
                    <a:pt x="52" y="63"/>
                  </a:cubicBezTo>
                  <a:cubicBezTo>
                    <a:pt x="50" y="70"/>
                    <a:pt x="47" y="75"/>
                    <a:pt x="47" y="75"/>
                  </a:cubicBezTo>
                  <a:cubicBezTo>
                    <a:pt x="47" y="75"/>
                    <a:pt x="35" y="87"/>
                    <a:pt x="50" y="86"/>
                  </a:cubicBezTo>
                  <a:cubicBezTo>
                    <a:pt x="65" y="85"/>
                    <a:pt x="76" y="80"/>
                    <a:pt x="76" y="80"/>
                  </a:cubicBezTo>
                  <a:cubicBezTo>
                    <a:pt x="76" y="80"/>
                    <a:pt x="72" y="90"/>
                    <a:pt x="80" y="87"/>
                  </a:cubicBezTo>
                  <a:cubicBezTo>
                    <a:pt x="88" y="84"/>
                    <a:pt x="107" y="65"/>
                    <a:pt x="107" y="65"/>
                  </a:cubicBezTo>
                  <a:cubicBezTo>
                    <a:pt x="107" y="65"/>
                    <a:pt x="141" y="53"/>
                    <a:pt x="152" y="61"/>
                  </a:cubicBezTo>
                  <a:cubicBezTo>
                    <a:pt x="163" y="69"/>
                    <a:pt x="197" y="74"/>
                    <a:pt x="197" y="74"/>
                  </a:cubicBezTo>
                  <a:cubicBezTo>
                    <a:pt x="197" y="74"/>
                    <a:pt x="166" y="78"/>
                    <a:pt x="165" y="81"/>
                  </a:cubicBezTo>
                  <a:cubicBezTo>
                    <a:pt x="164" y="84"/>
                    <a:pt x="159" y="93"/>
                    <a:pt x="159" y="93"/>
                  </a:cubicBezTo>
                  <a:cubicBezTo>
                    <a:pt x="126" y="94"/>
                    <a:pt x="126" y="94"/>
                    <a:pt x="126" y="94"/>
                  </a:cubicBezTo>
                  <a:cubicBezTo>
                    <a:pt x="92" y="91"/>
                    <a:pt x="92" y="91"/>
                    <a:pt x="92" y="91"/>
                  </a:cubicBezTo>
                  <a:cubicBezTo>
                    <a:pt x="92" y="91"/>
                    <a:pt x="66" y="97"/>
                    <a:pt x="62" y="105"/>
                  </a:cubicBezTo>
                  <a:cubicBezTo>
                    <a:pt x="58" y="113"/>
                    <a:pt x="49" y="143"/>
                    <a:pt x="49" y="143"/>
                  </a:cubicBezTo>
                  <a:cubicBezTo>
                    <a:pt x="76" y="142"/>
                    <a:pt x="76" y="142"/>
                    <a:pt x="76" y="142"/>
                  </a:cubicBezTo>
                  <a:cubicBezTo>
                    <a:pt x="76" y="142"/>
                    <a:pt x="72" y="151"/>
                    <a:pt x="77" y="159"/>
                  </a:cubicBezTo>
                  <a:cubicBezTo>
                    <a:pt x="82" y="167"/>
                    <a:pt x="88" y="175"/>
                    <a:pt x="88" y="175"/>
                  </a:cubicBezTo>
                  <a:cubicBezTo>
                    <a:pt x="83" y="186"/>
                    <a:pt x="83" y="186"/>
                    <a:pt x="83" y="186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108" y="234"/>
                    <a:pt x="108" y="234"/>
                    <a:pt x="108" y="234"/>
                  </a:cubicBezTo>
                  <a:cubicBezTo>
                    <a:pt x="106" y="258"/>
                    <a:pt x="106" y="258"/>
                    <a:pt x="106" y="258"/>
                  </a:cubicBezTo>
                  <a:cubicBezTo>
                    <a:pt x="140" y="275"/>
                    <a:pt x="140" y="275"/>
                    <a:pt x="140" y="275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6" y="297"/>
                    <a:pt x="143" y="285"/>
                    <a:pt x="162" y="290"/>
                  </a:cubicBezTo>
                  <a:cubicBezTo>
                    <a:pt x="181" y="295"/>
                    <a:pt x="178" y="312"/>
                    <a:pt x="208" y="315"/>
                  </a:cubicBezTo>
                  <a:cubicBezTo>
                    <a:pt x="238" y="318"/>
                    <a:pt x="250" y="317"/>
                    <a:pt x="250" y="310"/>
                  </a:cubicBezTo>
                  <a:cubicBezTo>
                    <a:pt x="250" y="303"/>
                    <a:pt x="252" y="284"/>
                    <a:pt x="262" y="283"/>
                  </a:cubicBezTo>
                  <a:cubicBezTo>
                    <a:pt x="272" y="282"/>
                    <a:pt x="299" y="289"/>
                    <a:pt x="313" y="294"/>
                  </a:cubicBezTo>
                  <a:cubicBezTo>
                    <a:pt x="327" y="299"/>
                    <a:pt x="313" y="326"/>
                    <a:pt x="359" y="325"/>
                  </a:cubicBezTo>
                  <a:cubicBezTo>
                    <a:pt x="405" y="324"/>
                    <a:pt x="406" y="299"/>
                    <a:pt x="422" y="294"/>
                  </a:cubicBezTo>
                  <a:cubicBezTo>
                    <a:pt x="438" y="289"/>
                    <a:pt x="450" y="285"/>
                    <a:pt x="457" y="291"/>
                  </a:cubicBezTo>
                  <a:cubicBezTo>
                    <a:pt x="464" y="297"/>
                    <a:pt x="466" y="303"/>
                    <a:pt x="477" y="298"/>
                  </a:cubicBezTo>
                  <a:cubicBezTo>
                    <a:pt x="488" y="293"/>
                    <a:pt x="495" y="277"/>
                    <a:pt x="502" y="284"/>
                  </a:cubicBezTo>
                  <a:cubicBezTo>
                    <a:pt x="509" y="291"/>
                    <a:pt x="501" y="300"/>
                    <a:pt x="498" y="306"/>
                  </a:cubicBezTo>
                  <a:cubicBezTo>
                    <a:pt x="495" y="312"/>
                    <a:pt x="488" y="324"/>
                    <a:pt x="495" y="329"/>
                  </a:cubicBezTo>
                  <a:cubicBezTo>
                    <a:pt x="496" y="330"/>
                    <a:pt x="497" y="331"/>
                    <a:pt x="496" y="333"/>
                  </a:cubicBezTo>
                  <a:cubicBezTo>
                    <a:pt x="499" y="335"/>
                    <a:pt x="506" y="340"/>
                    <a:pt x="509" y="339"/>
                  </a:cubicBezTo>
                  <a:cubicBezTo>
                    <a:pt x="513" y="338"/>
                    <a:pt x="515" y="330"/>
                    <a:pt x="515" y="330"/>
                  </a:cubicBezTo>
                  <a:cubicBezTo>
                    <a:pt x="515" y="321"/>
                    <a:pt x="515" y="321"/>
                    <a:pt x="515" y="321"/>
                  </a:cubicBezTo>
                  <a:cubicBezTo>
                    <a:pt x="515" y="321"/>
                    <a:pt x="529" y="327"/>
                    <a:pt x="530" y="319"/>
                  </a:cubicBezTo>
                  <a:cubicBezTo>
                    <a:pt x="532" y="306"/>
                    <a:pt x="525" y="308"/>
                    <a:pt x="525" y="308"/>
                  </a:cubicBezTo>
                  <a:cubicBezTo>
                    <a:pt x="524" y="287"/>
                    <a:pt x="524" y="287"/>
                    <a:pt x="524" y="287"/>
                  </a:cubicBezTo>
                  <a:cubicBezTo>
                    <a:pt x="524" y="287"/>
                    <a:pt x="538" y="282"/>
                    <a:pt x="540" y="286"/>
                  </a:cubicBezTo>
                  <a:cubicBezTo>
                    <a:pt x="542" y="290"/>
                    <a:pt x="525" y="296"/>
                    <a:pt x="546" y="296"/>
                  </a:cubicBezTo>
                  <a:cubicBezTo>
                    <a:pt x="567" y="296"/>
                    <a:pt x="582" y="288"/>
                    <a:pt x="582" y="288"/>
                  </a:cubicBezTo>
                  <a:cubicBezTo>
                    <a:pt x="582" y="288"/>
                    <a:pt x="593" y="276"/>
                    <a:pt x="596" y="277"/>
                  </a:cubicBezTo>
                  <a:cubicBezTo>
                    <a:pt x="599" y="278"/>
                    <a:pt x="622" y="290"/>
                    <a:pt x="622" y="290"/>
                  </a:cubicBezTo>
                  <a:cubicBezTo>
                    <a:pt x="622" y="290"/>
                    <a:pt x="634" y="295"/>
                    <a:pt x="645" y="294"/>
                  </a:cubicBezTo>
                  <a:cubicBezTo>
                    <a:pt x="656" y="293"/>
                    <a:pt x="661" y="290"/>
                    <a:pt x="670" y="287"/>
                  </a:cubicBezTo>
                  <a:cubicBezTo>
                    <a:pt x="679" y="284"/>
                    <a:pt x="686" y="272"/>
                    <a:pt x="699" y="271"/>
                  </a:cubicBezTo>
                  <a:cubicBezTo>
                    <a:pt x="712" y="270"/>
                    <a:pt x="718" y="269"/>
                    <a:pt x="723" y="271"/>
                  </a:cubicBezTo>
                  <a:cubicBezTo>
                    <a:pt x="728" y="273"/>
                    <a:pt x="723" y="278"/>
                    <a:pt x="732" y="277"/>
                  </a:cubicBezTo>
                  <a:cubicBezTo>
                    <a:pt x="741" y="276"/>
                    <a:pt x="746" y="270"/>
                    <a:pt x="746" y="270"/>
                  </a:cubicBezTo>
                  <a:cubicBezTo>
                    <a:pt x="746" y="270"/>
                    <a:pt x="751" y="268"/>
                    <a:pt x="759" y="267"/>
                  </a:cubicBezTo>
                  <a:cubicBezTo>
                    <a:pt x="767" y="266"/>
                    <a:pt x="769" y="255"/>
                    <a:pt x="772" y="257"/>
                  </a:cubicBezTo>
                  <a:cubicBezTo>
                    <a:pt x="775" y="259"/>
                    <a:pt x="769" y="277"/>
                    <a:pt x="781" y="274"/>
                  </a:cubicBezTo>
                  <a:cubicBezTo>
                    <a:pt x="793" y="271"/>
                    <a:pt x="792" y="258"/>
                    <a:pt x="792" y="258"/>
                  </a:cubicBezTo>
                  <a:cubicBezTo>
                    <a:pt x="818" y="258"/>
                    <a:pt x="818" y="258"/>
                    <a:pt x="818" y="258"/>
                  </a:cubicBezTo>
                  <a:cubicBezTo>
                    <a:pt x="818" y="258"/>
                    <a:pt x="827" y="269"/>
                    <a:pt x="835" y="267"/>
                  </a:cubicBezTo>
                  <a:cubicBezTo>
                    <a:pt x="843" y="265"/>
                    <a:pt x="835" y="257"/>
                    <a:pt x="849" y="258"/>
                  </a:cubicBezTo>
                  <a:cubicBezTo>
                    <a:pt x="863" y="259"/>
                    <a:pt x="861" y="276"/>
                    <a:pt x="861" y="276"/>
                  </a:cubicBezTo>
                  <a:lnTo>
                    <a:pt x="888" y="265"/>
                  </a:lnTo>
                  <a:close/>
                  <a:moveTo>
                    <a:pt x="67" y="189"/>
                  </a:moveTo>
                  <a:cubicBezTo>
                    <a:pt x="63" y="185"/>
                    <a:pt x="61" y="207"/>
                    <a:pt x="67" y="217"/>
                  </a:cubicBezTo>
                  <a:cubicBezTo>
                    <a:pt x="72" y="226"/>
                    <a:pt x="79" y="208"/>
                    <a:pt x="81" y="204"/>
                  </a:cubicBezTo>
                  <a:cubicBezTo>
                    <a:pt x="83" y="200"/>
                    <a:pt x="71" y="193"/>
                    <a:pt x="67" y="189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44" name="Freeform 60"/>
            <p:cNvSpPr>
              <a:spLocks noEditPoints="1"/>
            </p:cNvSpPr>
            <p:nvPr/>
          </p:nvSpPr>
          <p:spPr bwMode="auto">
            <a:xfrm>
              <a:off x="3022" y="1903"/>
              <a:ext cx="139" cy="139"/>
            </a:xfrm>
            <a:custGeom>
              <a:avLst/>
              <a:gdLst>
                <a:gd name="T0" fmla="*/ 0 w 365"/>
                <a:gd name="T1" fmla="*/ 0 h 367"/>
                <a:gd name="T2" fmla="*/ 0 w 365"/>
                <a:gd name="T3" fmla="*/ 0 h 367"/>
                <a:gd name="T4" fmla="*/ 0 w 365"/>
                <a:gd name="T5" fmla="*/ 0 h 367"/>
                <a:gd name="T6" fmla="*/ 0 w 365"/>
                <a:gd name="T7" fmla="*/ 0 h 367"/>
                <a:gd name="T8" fmla="*/ 0 w 365"/>
                <a:gd name="T9" fmla="*/ 0 h 367"/>
                <a:gd name="T10" fmla="*/ 0 w 365"/>
                <a:gd name="T11" fmla="*/ 0 h 367"/>
                <a:gd name="T12" fmla="*/ 0 w 365"/>
                <a:gd name="T13" fmla="*/ 0 h 367"/>
                <a:gd name="T14" fmla="*/ 0 w 365"/>
                <a:gd name="T15" fmla="*/ 0 h 367"/>
                <a:gd name="T16" fmla="*/ 0 w 365"/>
                <a:gd name="T17" fmla="*/ 0 h 367"/>
                <a:gd name="T18" fmla="*/ 0 w 365"/>
                <a:gd name="T19" fmla="*/ 0 h 367"/>
                <a:gd name="T20" fmla="*/ 0 w 365"/>
                <a:gd name="T21" fmla="*/ 0 h 367"/>
                <a:gd name="T22" fmla="*/ 0 w 365"/>
                <a:gd name="T23" fmla="*/ 0 h 367"/>
                <a:gd name="T24" fmla="*/ 0 w 365"/>
                <a:gd name="T25" fmla="*/ 0 h 367"/>
                <a:gd name="T26" fmla="*/ 0 w 365"/>
                <a:gd name="T27" fmla="*/ 0 h 367"/>
                <a:gd name="T28" fmla="*/ 0 w 365"/>
                <a:gd name="T29" fmla="*/ 0 h 367"/>
                <a:gd name="T30" fmla="*/ 0 w 365"/>
                <a:gd name="T31" fmla="*/ 0 h 367"/>
                <a:gd name="T32" fmla="*/ 0 w 365"/>
                <a:gd name="T33" fmla="*/ 0 h 367"/>
                <a:gd name="T34" fmla="*/ 0 w 365"/>
                <a:gd name="T35" fmla="*/ 0 h 367"/>
                <a:gd name="T36" fmla="*/ 0 w 365"/>
                <a:gd name="T37" fmla="*/ 0 h 367"/>
                <a:gd name="T38" fmla="*/ 0 w 365"/>
                <a:gd name="T39" fmla="*/ 0 h 367"/>
                <a:gd name="T40" fmla="*/ 0 w 365"/>
                <a:gd name="T41" fmla="*/ 0 h 367"/>
                <a:gd name="T42" fmla="*/ 0 w 365"/>
                <a:gd name="T43" fmla="*/ 0 h 367"/>
                <a:gd name="T44" fmla="*/ 0 w 365"/>
                <a:gd name="T45" fmla="*/ 0 h 367"/>
                <a:gd name="T46" fmla="*/ 0 w 365"/>
                <a:gd name="T47" fmla="*/ 0 h 367"/>
                <a:gd name="T48" fmla="*/ 0 w 365"/>
                <a:gd name="T49" fmla="*/ 0 h 367"/>
                <a:gd name="T50" fmla="*/ 0 w 365"/>
                <a:gd name="T51" fmla="*/ 0 h 367"/>
                <a:gd name="T52" fmla="*/ 0 w 365"/>
                <a:gd name="T53" fmla="*/ 0 h 367"/>
                <a:gd name="T54" fmla="*/ 0 w 365"/>
                <a:gd name="T55" fmla="*/ 0 h 367"/>
                <a:gd name="T56" fmla="*/ 0 w 365"/>
                <a:gd name="T57" fmla="*/ 0 h 367"/>
                <a:gd name="T58" fmla="*/ 0 w 365"/>
                <a:gd name="T59" fmla="*/ 0 h 367"/>
                <a:gd name="T60" fmla="*/ 0 w 365"/>
                <a:gd name="T61" fmla="*/ 0 h 367"/>
                <a:gd name="T62" fmla="*/ 0 w 365"/>
                <a:gd name="T63" fmla="*/ 0 h 367"/>
                <a:gd name="T64" fmla="*/ 0 w 365"/>
                <a:gd name="T65" fmla="*/ 0 h 367"/>
                <a:gd name="T66" fmla="*/ 0 w 365"/>
                <a:gd name="T67" fmla="*/ 0 h 367"/>
                <a:gd name="T68" fmla="*/ 0 w 365"/>
                <a:gd name="T69" fmla="*/ 0 h 367"/>
                <a:gd name="T70" fmla="*/ 0 w 365"/>
                <a:gd name="T71" fmla="*/ 0 h 367"/>
                <a:gd name="T72" fmla="*/ 0 w 365"/>
                <a:gd name="T73" fmla="*/ 0 h 367"/>
                <a:gd name="T74" fmla="*/ 0 w 365"/>
                <a:gd name="T75" fmla="*/ 0 h 367"/>
                <a:gd name="T76" fmla="*/ 0 w 365"/>
                <a:gd name="T77" fmla="*/ 0 h 367"/>
                <a:gd name="T78" fmla="*/ 0 w 365"/>
                <a:gd name="T79" fmla="*/ 0 h 367"/>
                <a:gd name="T80" fmla="*/ 0 w 365"/>
                <a:gd name="T81" fmla="*/ 0 h 367"/>
                <a:gd name="T82" fmla="*/ 0 w 365"/>
                <a:gd name="T83" fmla="*/ 0 h 367"/>
                <a:gd name="T84" fmla="*/ 0 w 365"/>
                <a:gd name="T85" fmla="*/ 0 h 367"/>
                <a:gd name="T86" fmla="*/ 0 w 365"/>
                <a:gd name="T87" fmla="*/ 0 h 367"/>
                <a:gd name="T88" fmla="*/ 0 w 365"/>
                <a:gd name="T89" fmla="*/ 0 h 367"/>
                <a:gd name="T90" fmla="*/ 0 w 365"/>
                <a:gd name="T91" fmla="*/ 0 h 367"/>
                <a:gd name="T92" fmla="*/ 0 w 365"/>
                <a:gd name="T93" fmla="*/ 0 h 367"/>
                <a:gd name="T94" fmla="*/ 0 w 365"/>
                <a:gd name="T95" fmla="*/ 0 h 367"/>
                <a:gd name="T96" fmla="*/ 0 w 365"/>
                <a:gd name="T97" fmla="*/ 0 h 367"/>
                <a:gd name="T98" fmla="*/ 0 w 365"/>
                <a:gd name="T99" fmla="*/ 0 h 367"/>
                <a:gd name="T100" fmla="*/ 0 w 365"/>
                <a:gd name="T101" fmla="*/ 0 h 367"/>
                <a:gd name="T102" fmla="*/ 0 w 365"/>
                <a:gd name="T103" fmla="*/ 0 h 367"/>
                <a:gd name="T104" fmla="*/ 0 w 365"/>
                <a:gd name="T105" fmla="*/ 0 h 367"/>
                <a:gd name="T106" fmla="*/ 0 w 365"/>
                <a:gd name="T107" fmla="*/ 0 h 367"/>
                <a:gd name="T108" fmla="*/ 0 w 365"/>
                <a:gd name="T109" fmla="*/ 0 h 367"/>
                <a:gd name="T110" fmla="*/ 0 w 365"/>
                <a:gd name="T111" fmla="*/ 0 h 367"/>
                <a:gd name="T112" fmla="*/ 0 w 365"/>
                <a:gd name="T113" fmla="*/ 0 h 36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5"/>
                <a:gd name="T172" fmla="*/ 0 h 367"/>
                <a:gd name="T173" fmla="*/ 365 w 365"/>
                <a:gd name="T174" fmla="*/ 367 h 36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5" h="367">
                  <a:moveTo>
                    <a:pt x="165" y="73"/>
                  </a:moveTo>
                  <a:cubicBezTo>
                    <a:pt x="183" y="85"/>
                    <a:pt x="183" y="85"/>
                    <a:pt x="183" y="85"/>
                  </a:cubicBezTo>
                  <a:cubicBezTo>
                    <a:pt x="190" y="78"/>
                    <a:pt x="190" y="78"/>
                    <a:pt x="190" y="78"/>
                  </a:cubicBezTo>
                  <a:lnTo>
                    <a:pt x="165" y="73"/>
                  </a:lnTo>
                  <a:close/>
                  <a:moveTo>
                    <a:pt x="19" y="173"/>
                  </a:moveTo>
                  <a:cubicBezTo>
                    <a:pt x="5" y="188"/>
                    <a:pt x="5" y="188"/>
                    <a:pt x="5" y="188"/>
                  </a:cubicBezTo>
                  <a:cubicBezTo>
                    <a:pt x="30" y="195"/>
                    <a:pt x="30" y="195"/>
                    <a:pt x="30" y="195"/>
                  </a:cubicBezTo>
                  <a:lnTo>
                    <a:pt x="19" y="173"/>
                  </a:lnTo>
                  <a:close/>
                  <a:moveTo>
                    <a:pt x="212" y="277"/>
                  </a:moveTo>
                  <a:cubicBezTo>
                    <a:pt x="211" y="280"/>
                    <a:pt x="220" y="282"/>
                    <a:pt x="219" y="275"/>
                  </a:cubicBezTo>
                  <a:cubicBezTo>
                    <a:pt x="218" y="268"/>
                    <a:pt x="213" y="271"/>
                    <a:pt x="212" y="277"/>
                  </a:cubicBezTo>
                  <a:close/>
                  <a:moveTo>
                    <a:pt x="210" y="258"/>
                  </a:moveTo>
                  <a:cubicBezTo>
                    <a:pt x="204" y="253"/>
                    <a:pt x="204" y="253"/>
                    <a:pt x="204" y="253"/>
                  </a:cubicBezTo>
                  <a:cubicBezTo>
                    <a:pt x="198" y="259"/>
                    <a:pt x="198" y="259"/>
                    <a:pt x="198" y="259"/>
                  </a:cubicBezTo>
                  <a:lnTo>
                    <a:pt x="210" y="258"/>
                  </a:lnTo>
                  <a:close/>
                  <a:moveTo>
                    <a:pt x="201" y="196"/>
                  </a:moveTo>
                  <a:cubicBezTo>
                    <a:pt x="217" y="224"/>
                    <a:pt x="217" y="224"/>
                    <a:pt x="217" y="224"/>
                  </a:cubicBezTo>
                  <a:cubicBezTo>
                    <a:pt x="223" y="213"/>
                    <a:pt x="223" y="213"/>
                    <a:pt x="223" y="213"/>
                  </a:cubicBezTo>
                  <a:lnTo>
                    <a:pt x="201" y="196"/>
                  </a:lnTo>
                  <a:close/>
                  <a:moveTo>
                    <a:pt x="76" y="178"/>
                  </a:moveTo>
                  <a:cubicBezTo>
                    <a:pt x="76" y="178"/>
                    <a:pt x="90" y="173"/>
                    <a:pt x="97" y="176"/>
                  </a:cubicBezTo>
                  <a:cubicBezTo>
                    <a:pt x="104" y="179"/>
                    <a:pt x="141" y="193"/>
                    <a:pt x="141" y="193"/>
                  </a:cubicBezTo>
                  <a:cubicBezTo>
                    <a:pt x="141" y="193"/>
                    <a:pt x="163" y="216"/>
                    <a:pt x="168" y="210"/>
                  </a:cubicBezTo>
                  <a:cubicBezTo>
                    <a:pt x="173" y="204"/>
                    <a:pt x="174" y="195"/>
                    <a:pt x="166" y="188"/>
                  </a:cubicBezTo>
                  <a:cubicBezTo>
                    <a:pt x="158" y="181"/>
                    <a:pt x="142" y="168"/>
                    <a:pt x="139" y="167"/>
                  </a:cubicBezTo>
                  <a:cubicBezTo>
                    <a:pt x="136" y="166"/>
                    <a:pt x="117" y="157"/>
                    <a:pt x="117" y="157"/>
                  </a:cubicBezTo>
                  <a:cubicBezTo>
                    <a:pt x="117" y="157"/>
                    <a:pt x="124" y="151"/>
                    <a:pt x="128" y="152"/>
                  </a:cubicBezTo>
                  <a:cubicBezTo>
                    <a:pt x="132" y="153"/>
                    <a:pt x="155" y="176"/>
                    <a:pt x="169" y="178"/>
                  </a:cubicBezTo>
                  <a:cubicBezTo>
                    <a:pt x="183" y="180"/>
                    <a:pt x="189" y="164"/>
                    <a:pt x="176" y="162"/>
                  </a:cubicBezTo>
                  <a:cubicBezTo>
                    <a:pt x="163" y="160"/>
                    <a:pt x="153" y="156"/>
                    <a:pt x="153" y="156"/>
                  </a:cubicBezTo>
                  <a:cubicBezTo>
                    <a:pt x="153" y="156"/>
                    <a:pt x="139" y="148"/>
                    <a:pt x="137" y="141"/>
                  </a:cubicBezTo>
                  <a:cubicBezTo>
                    <a:pt x="135" y="134"/>
                    <a:pt x="123" y="117"/>
                    <a:pt x="123" y="117"/>
                  </a:cubicBezTo>
                  <a:cubicBezTo>
                    <a:pt x="123" y="117"/>
                    <a:pt x="112" y="100"/>
                    <a:pt x="107" y="94"/>
                  </a:cubicBezTo>
                  <a:cubicBezTo>
                    <a:pt x="102" y="88"/>
                    <a:pt x="97" y="67"/>
                    <a:pt x="104" y="64"/>
                  </a:cubicBezTo>
                  <a:cubicBezTo>
                    <a:pt x="111" y="61"/>
                    <a:pt x="113" y="78"/>
                    <a:pt x="121" y="78"/>
                  </a:cubicBezTo>
                  <a:cubicBezTo>
                    <a:pt x="123" y="78"/>
                    <a:pt x="126" y="78"/>
                    <a:pt x="129" y="78"/>
                  </a:cubicBezTo>
                  <a:cubicBezTo>
                    <a:pt x="133" y="86"/>
                    <a:pt x="137" y="95"/>
                    <a:pt x="139" y="96"/>
                  </a:cubicBezTo>
                  <a:cubicBezTo>
                    <a:pt x="142" y="98"/>
                    <a:pt x="148" y="94"/>
                    <a:pt x="148" y="94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1" y="79"/>
                    <a:pt x="142" y="79"/>
                    <a:pt x="143" y="79"/>
                  </a:cubicBezTo>
                  <a:cubicBezTo>
                    <a:pt x="161" y="90"/>
                    <a:pt x="161" y="90"/>
                    <a:pt x="161" y="90"/>
                  </a:cubicBezTo>
                  <a:cubicBezTo>
                    <a:pt x="152" y="77"/>
                    <a:pt x="152" y="77"/>
                    <a:pt x="152" y="77"/>
                  </a:cubicBezTo>
                  <a:cubicBezTo>
                    <a:pt x="152" y="77"/>
                    <a:pt x="153" y="77"/>
                    <a:pt x="153" y="77"/>
                  </a:cubicBezTo>
                  <a:cubicBezTo>
                    <a:pt x="156" y="74"/>
                    <a:pt x="157" y="66"/>
                    <a:pt x="156" y="58"/>
                  </a:cubicBezTo>
                  <a:cubicBezTo>
                    <a:pt x="155" y="50"/>
                    <a:pt x="173" y="46"/>
                    <a:pt x="182" y="49"/>
                  </a:cubicBezTo>
                  <a:cubicBezTo>
                    <a:pt x="191" y="52"/>
                    <a:pt x="184" y="65"/>
                    <a:pt x="193" y="62"/>
                  </a:cubicBezTo>
                  <a:cubicBezTo>
                    <a:pt x="202" y="59"/>
                    <a:pt x="205" y="44"/>
                    <a:pt x="210" y="43"/>
                  </a:cubicBezTo>
                  <a:cubicBezTo>
                    <a:pt x="215" y="42"/>
                    <a:pt x="258" y="52"/>
                    <a:pt x="258" y="52"/>
                  </a:cubicBezTo>
                  <a:cubicBezTo>
                    <a:pt x="258" y="52"/>
                    <a:pt x="261" y="47"/>
                    <a:pt x="263" y="40"/>
                  </a:cubicBezTo>
                  <a:cubicBezTo>
                    <a:pt x="265" y="33"/>
                    <a:pt x="260" y="30"/>
                    <a:pt x="261" y="24"/>
                  </a:cubicBezTo>
                  <a:cubicBezTo>
                    <a:pt x="262" y="18"/>
                    <a:pt x="275" y="22"/>
                    <a:pt x="275" y="22"/>
                  </a:cubicBezTo>
                  <a:cubicBezTo>
                    <a:pt x="275" y="22"/>
                    <a:pt x="276" y="14"/>
                    <a:pt x="273" y="9"/>
                  </a:cubicBezTo>
                  <a:cubicBezTo>
                    <a:pt x="270" y="4"/>
                    <a:pt x="263" y="5"/>
                    <a:pt x="263" y="5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249" y="6"/>
                    <a:pt x="249" y="6"/>
                    <a:pt x="249" y="6"/>
                  </a:cubicBezTo>
                  <a:cubicBezTo>
                    <a:pt x="249" y="6"/>
                    <a:pt x="255" y="14"/>
                    <a:pt x="253" y="19"/>
                  </a:cubicBezTo>
                  <a:cubicBezTo>
                    <a:pt x="251" y="24"/>
                    <a:pt x="237" y="25"/>
                    <a:pt x="237" y="25"/>
                  </a:cubicBezTo>
                  <a:cubicBezTo>
                    <a:pt x="227" y="17"/>
                    <a:pt x="227" y="17"/>
                    <a:pt x="227" y="17"/>
                  </a:cubicBezTo>
                  <a:cubicBezTo>
                    <a:pt x="227" y="17"/>
                    <a:pt x="222" y="24"/>
                    <a:pt x="214" y="25"/>
                  </a:cubicBezTo>
                  <a:cubicBezTo>
                    <a:pt x="206" y="26"/>
                    <a:pt x="205" y="17"/>
                    <a:pt x="205" y="17"/>
                  </a:cubicBezTo>
                  <a:cubicBezTo>
                    <a:pt x="205" y="17"/>
                    <a:pt x="199" y="20"/>
                    <a:pt x="191" y="20"/>
                  </a:cubicBezTo>
                  <a:cubicBezTo>
                    <a:pt x="183" y="20"/>
                    <a:pt x="179" y="6"/>
                    <a:pt x="179" y="6"/>
                  </a:cubicBezTo>
                  <a:cubicBezTo>
                    <a:pt x="161" y="9"/>
                    <a:pt x="161" y="9"/>
                    <a:pt x="161" y="9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41" y="15"/>
                    <a:pt x="141" y="15"/>
                    <a:pt x="141" y="15"/>
                  </a:cubicBezTo>
                  <a:cubicBezTo>
                    <a:pt x="141" y="15"/>
                    <a:pt x="131" y="25"/>
                    <a:pt x="123" y="25"/>
                  </a:cubicBezTo>
                  <a:cubicBezTo>
                    <a:pt x="118" y="25"/>
                    <a:pt x="114" y="21"/>
                    <a:pt x="111" y="18"/>
                  </a:cubicBezTo>
                  <a:cubicBezTo>
                    <a:pt x="107" y="23"/>
                    <a:pt x="102" y="26"/>
                    <a:pt x="97" y="32"/>
                  </a:cubicBezTo>
                  <a:cubicBezTo>
                    <a:pt x="89" y="40"/>
                    <a:pt x="70" y="36"/>
                    <a:pt x="70" y="36"/>
                  </a:cubicBezTo>
                  <a:cubicBezTo>
                    <a:pt x="70" y="36"/>
                    <a:pt x="71" y="41"/>
                    <a:pt x="67" y="47"/>
                  </a:cubicBezTo>
                  <a:cubicBezTo>
                    <a:pt x="63" y="53"/>
                    <a:pt x="43" y="45"/>
                    <a:pt x="43" y="45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5"/>
                    <a:pt x="39" y="62"/>
                    <a:pt x="36" y="64"/>
                  </a:cubicBezTo>
                  <a:cubicBezTo>
                    <a:pt x="31" y="68"/>
                    <a:pt x="21" y="70"/>
                    <a:pt x="21" y="70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4" y="86"/>
                    <a:pt x="3" y="93"/>
                  </a:cubicBezTo>
                  <a:cubicBezTo>
                    <a:pt x="2" y="100"/>
                    <a:pt x="3" y="109"/>
                    <a:pt x="3" y="109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5" y="116"/>
                    <a:pt x="0" y="133"/>
                    <a:pt x="9" y="136"/>
                  </a:cubicBezTo>
                  <a:cubicBezTo>
                    <a:pt x="18" y="139"/>
                    <a:pt x="29" y="156"/>
                    <a:pt x="29" y="156"/>
                  </a:cubicBezTo>
                  <a:cubicBezTo>
                    <a:pt x="29" y="156"/>
                    <a:pt x="39" y="179"/>
                    <a:pt x="47" y="179"/>
                  </a:cubicBezTo>
                  <a:cubicBezTo>
                    <a:pt x="55" y="179"/>
                    <a:pt x="76" y="178"/>
                    <a:pt x="76" y="178"/>
                  </a:cubicBezTo>
                  <a:close/>
                  <a:moveTo>
                    <a:pt x="266" y="168"/>
                  </a:moveTo>
                  <a:cubicBezTo>
                    <a:pt x="253" y="168"/>
                    <a:pt x="253" y="168"/>
                    <a:pt x="253" y="168"/>
                  </a:cubicBezTo>
                  <a:cubicBezTo>
                    <a:pt x="252" y="180"/>
                    <a:pt x="252" y="180"/>
                    <a:pt x="252" y="180"/>
                  </a:cubicBezTo>
                  <a:cubicBezTo>
                    <a:pt x="261" y="196"/>
                    <a:pt x="261" y="196"/>
                    <a:pt x="261" y="196"/>
                  </a:cubicBezTo>
                  <a:lnTo>
                    <a:pt x="266" y="168"/>
                  </a:lnTo>
                  <a:close/>
                  <a:moveTo>
                    <a:pt x="19" y="207"/>
                  </a:moveTo>
                  <a:cubicBezTo>
                    <a:pt x="10" y="214"/>
                    <a:pt x="30" y="220"/>
                    <a:pt x="30" y="220"/>
                  </a:cubicBezTo>
                  <a:cubicBezTo>
                    <a:pt x="36" y="216"/>
                    <a:pt x="28" y="200"/>
                    <a:pt x="19" y="207"/>
                  </a:cubicBezTo>
                  <a:close/>
                  <a:moveTo>
                    <a:pt x="255" y="261"/>
                  </a:moveTo>
                  <a:cubicBezTo>
                    <a:pt x="255" y="270"/>
                    <a:pt x="255" y="270"/>
                    <a:pt x="255" y="270"/>
                  </a:cubicBezTo>
                  <a:cubicBezTo>
                    <a:pt x="264" y="260"/>
                    <a:pt x="264" y="260"/>
                    <a:pt x="264" y="260"/>
                  </a:cubicBezTo>
                  <a:lnTo>
                    <a:pt x="255" y="261"/>
                  </a:lnTo>
                  <a:close/>
                  <a:moveTo>
                    <a:pt x="275" y="220"/>
                  </a:moveTo>
                  <a:cubicBezTo>
                    <a:pt x="271" y="216"/>
                    <a:pt x="259" y="219"/>
                    <a:pt x="259" y="227"/>
                  </a:cubicBezTo>
                  <a:cubicBezTo>
                    <a:pt x="259" y="232"/>
                    <a:pt x="279" y="224"/>
                    <a:pt x="275" y="220"/>
                  </a:cubicBezTo>
                  <a:close/>
                  <a:moveTo>
                    <a:pt x="269" y="127"/>
                  </a:moveTo>
                  <a:cubicBezTo>
                    <a:pt x="250" y="132"/>
                    <a:pt x="250" y="132"/>
                    <a:pt x="250" y="132"/>
                  </a:cubicBezTo>
                  <a:cubicBezTo>
                    <a:pt x="251" y="148"/>
                    <a:pt x="264" y="141"/>
                    <a:pt x="264" y="141"/>
                  </a:cubicBezTo>
                  <a:cubicBezTo>
                    <a:pt x="264" y="141"/>
                    <a:pt x="269" y="152"/>
                    <a:pt x="278" y="148"/>
                  </a:cubicBezTo>
                  <a:cubicBezTo>
                    <a:pt x="287" y="144"/>
                    <a:pt x="269" y="127"/>
                    <a:pt x="269" y="127"/>
                  </a:cubicBezTo>
                  <a:close/>
                  <a:moveTo>
                    <a:pt x="230" y="247"/>
                  </a:moveTo>
                  <a:cubicBezTo>
                    <a:pt x="232" y="259"/>
                    <a:pt x="242" y="262"/>
                    <a:pt x="247" y="254"/>
                  </a:cubicBezTo>
                  <a:cubicBezTo>
                    <a:pt x="253" y="244"/>
                    <a:pt x="228" y="235"/>
                    <a:pt x="230" y="247"/>
                  </a:cubicBezTo>
                  <a:close/>
                  <a:moveTo>
                    <a:pt x="299" y="210"/>
                  </a:moveTo>
                  <a:cubicBezTo>
                    <a:pt x="289" y="202"/>
                    <a:pt x="291" y="220"/>
                    <a:pt x="291" y="220"/>
                  </a:cubicBezTo>
                  <a:cubicBezTo>
                    <a:pt x="305" y="227"/>
                    <a:pt x="309" y="218"/>
                    <a:pt x="299" y="210"/>
                  </a:cubicBezTo>
                  <a:close/>
                  <a:moveTo>
                    <a:pt x="298" y="249"/>
                  </a:moveTo>
                  <a:cubicBezTo>
                    <a:pt x="307" y="236"/>
                    <a:pt x="307" y="236"/>
                    <a:pt x="307" y="236"/>
                  </a:cubicBezTo>
                  <a:cubicBezTo>
                    <a:pt x="295" y="236"/>
                    <a:pt x="295" y="236"/>
                    <a:pt x="295" y="236"/>
                  </a:cubicBezTo>
                  <a:lnTo>
                    <a:pt x="298" y="249"/>
                  </a:lnTo>
                  <a:close/>
                  <a:moveTo>
                    <a:pt x="186" y="146"/>
                  </a:moveTo>
                  <a:cubicBezTo>
                    <a:pt x="186" y="146"/>
                    <a:pt x="180" y="158"/>
                    <a:pt x="196" y="158"/>
                  </a:cubicBezTo>
                  <a:lnTo>
                    <a:pt x="186" y="146"/>
                  </a:lnTo>
                  <a:close/>
                  <a:moveTo>
                    <a:pt x="361" y="281"/>
                  </a:moveTo>
                  <a:cubicBezTo>
                    <a:pt x="357" y="274"/>
                    <a:pt x="336" y="302"/>
                    <a:pt x="342" y="312"/>
                  </a:cubicBezTo>
                  <a:cubicBezTo>
                    <a:pt x="347" y="321"/>
                    <a:pt x="365" y="288"/>
                    <a:pt x="361" y="281"/>
                  </a:cubicBezTo>
                  <a:close/>
                  <a:moveTo>
                    <a:pt x="310" y="258"/>
                  </a:moveTo>
                  <a:cubicBezTo>
                    <a:pt x="309" y="273"/>
                    <a:pt x="309" y="273"/>
                    <a:pt x="309" y="273"/>
                  </a:cubicBezTo>
                  <a:cubicBezTo>
                    <a:pt x="334" y="254"/>
                    <a:pt x="334" y="254"/>
                    <a:pt x="334" y="254"/>
                  </a:cubicBezTo>
                  <a:cubicBezTo>
                    <a:pt x="326" y="249"/>
                    <a:pt x="326" y="249"/>
                    <a:pt x="326" y="249"/>
                  </a:cubicBezTo>
                  <a:lnTo>
                    <a:pt x="310" y="258"/>
                  </a:lnTo>
                  <a:close/>
                  <a:moveTo>
                    <a:pt x="311" y="342"/>
                  </a:moveTo>
                  <a:cubicBezTo>
                    <a:pt x="324" y="339"/>
                    <a:pt x="324" y="339"/>
                    <a:pt x="324" y="339"/>
                  </a:cubicBezTo>
                  <a:cubicBezTo>
                    <a:pt x="317" y="312"/>
                    <a:pt x="317" y="312"/>
                    <a:pt x="317" y="312"/>
                  </a:cubicBezTo>
                  <a:lnTo>
                    <a:pt x="311" y="342"/>
                  </a:lnTo>
                  <a:close/>
                  <a:moveTo>
                    <a:pt x="186" y="221"/>
                  </a:moveTo>
                  <a:cubicBezTo>
                    <a:pt x="181" y="226"/>
                    <a:pt x="184" y="232"/>
                    <a:pt x="189" y="231"/>
                  </a:cubicBezTo>
                  <a:cubicBezTo>
                    <a:pt x="198" y="229"/>
                    <a:pt x="191" y="216"/>
                    <a:pt x="186" y="221"/>
                  </a:cubicBezTo>
                  <a:close/>
                  <a:moveTo>
                    <a:pt x="127" y="288"/>
                  </a:moveTo>
                  <a:cubicBezTo>
                    <a:pt x="121" y="290"/>
                    <a:pt x="126" y="307"/>
                    <a:pt x="133" y="301"/>
                  </a:cubicBezTo>
                  <a:cubicBezTo>
                    <a:pt x="140" y="295"/>
                    <a:pt x="134" y="286"/>
                    <a:pt x="127" y="288"/>
                  </a:cubicBezTo>
                  <a:close/>
                  <a:moveTo>
                    <a:pt x="259" y="352"/>
                  </a:moveTo>
                  <a:cubicBezTo>
                    <a:pt x="255" y="354"/>
                    <a:pt x="252" y="342"/>
                    <a:pt x="252" y="342"/>
                  </a:cubicBezTo>
                  <a:cubicBezTo>
                    <a:pt x="230" y="341"/>
                    <a:pt x="230" y="341"/>
                    <a:pt x="230" y="341"/>
                  </a:cubicBezTo>
                  <a:cubicBezTo>
                    <a:pt x="209" y="336"/>
                    <a:pt x="209" y="336"/>
                    <a:pt x="209" y="336"/>
                  </a:cubicBezTo>
                  <a:cubicBezTo>
                    <a:pt x="188" y="336"/>
                    <a:pt x="188" y="336"/>
                    <a:pt x="188" y="336"/>
                  </a:cubicBezTo>
                  <a:cubicBezTo>
                    <a:pt x="168" y="325"/>
                    <a:pt x="168" y="325"/>
                    <a:pt x="168" y="325"/>
                  </a:cubicBezTo>
                  <a:cubicBezTo>
                    <a:pt x="168" y="325"/>
                    <a:pt x="152" y="332"/>
                    <a:pt x="161" y="342"/>
                  </a:cubicBezTo>
                  <a:cubicBezTo>
                    <a:pt x="170" y="352"/>
                    <a:pt x="175" y="345"/>
                    <a:pt x="175" y="345"/>
                  </a:cubicBezTo>
                  <a:cubicBezTo>
                    <a:pt x="181" y="351"/>
                    <a:pt x="181" y="351"/>
                    <a:pt x="181" y="351"/>
                  </a:cubicBezTo>
                  <a:cubicBezTo>
                    <a:pt x="205" y="352"/>
                    <a:pt x="205" y="352"/>
                    <a:pt x="205" y="352"/>
                  </a:cubicBezTo>
                  <a:cubicBezTo>
                    <a:pt x="213" y="367"/>
                    <a:pt x="213" y="367"/>
                    <a:pt x="213" y="367"/>
                  </a:cubicBezTo>
                  <a:cubicBezTo>
                    <a:pt x="238" y="366"/>
                    <a:pt x="238" y="366"/>
                    <a:pt x="238" y="366"/>
                  </a:cubicBezTo>
                  <a:cubicBezTo>
                    <a:pt x="241" y="362"/>
                    <a:pt x="241" y="362"/>
                    <a:pt x="241" y="362"/>
                  </a:cubicBezTo>
                  <a:cubicBezTo>
                    <a:pt x="241" y="362"/>
                    <a:pt x="279" y="367"/>
                    <a:pt x="281" y="353"/>
                  </a:cubicBezTo>
                  <a:cubicBezTo>
                    <a:pt x="283" y="339"/>
                    <a:pt x="263" y="350"/>
                    <a:pt x="259" y="352"/>
                  </a:cubicBezTo>
                  <a:close/>
                  <a:moveTo>
                    <a:pt x="285" y="272"/>
                  </a:moveTo>
                  <a:cubicBezTo>
                    <a:pt x="276" y="268"/>
                    <a:pt x="272" y="276"/>
                    <a:pt x="277" y="279"/>
                  </a:cubicBezTo>
                  <a:cubicBezTo>
                    <a:pt x="284" y="284"/>
                    <a:pt x="294" y="276"/>
                    <a:pt x="285" y="272"/>
                  </a:cubicBezTo>
                  <a:close/>
                  <a:moveTo>
                    <a:pt x="79" y="186"/>
                  </a:moveTo>
                  <a:cubicBezTo>
                    <a:pt x="65" y="192"/>
                    <a:pt x="65" y="192"/>
                    <a:pt x="65" y="192"/>
                  </a:cubicBezTo>
                  <a:cubicBezTo>
                    <a:pt x="58" y="192"/>
                    <a:pt x="58" y="192"/>
                    <a:pt x="58" y="192"/>
                  </a:cubicBezTo>
                  <a:cubicBezTo>
                    <a:pt x="47" y="207"/>
                    <a:pt x="47" y="207"/>
                    <a:pt x="47" y="207"/>
                  </a:cubicBezTo>
                  <a:cubicBezTo>
                    <a:pt x="66" y="224"/>
                    <a:pt x="66" y="224"/>
                    <a:pt x="66" y="224"/>
                  </a:cubicBezTo>
                  <a:cubicBezTo>
                    <a:pt x="66" y="224"/>
                    <a:pt x="63" y="241"/>
                    <a:pt x="63" y="251"/>
                  </a:cubicBezTo>
                  <a:cubicBezTo>
                    <a:pt x="63" y="261"/>
                    <a:pt x="78" y="267"/>
                    <a:pt x="81" y="260"/>
                  </a:cubicBezTo>
                  <a:cubicBezTo>
                    <a:pt x="84" y="253"/>
                    <a:pt x="93" y="254"/>
                    <a:pt x="93" y="254"/>
                  </a:cubicBezTo>
                  <a:cubicBezTo>
                    <a:pt x="107" y="280"/>
                    <a:pt x="107" y="280"/>
                    <a:pt x="107" y="280"/>
                  </a:cubicBezTo>
                  <a:cubicBezTo>
                    <a:pt x="113" y="262"/>
                    <a:pt x="113" y="262"/>
                    <a:pt x="113" y="262"/>
                  </a:cubicBezTo>
                  <a:cubicBezTo>
                    <a:pt x="122" y="275"/>
                    <a:pt x="122" y="275"/>
                    <a:pt x="122" y="275"/>
                  </a:cubicBezTo>
                  <a:cubicBezTo>
                    <a:pt x="138" y="281"/>
                    <a:pt x="138" y="281"/>
                    <a:pt x="138" y="281"/>
                  </a:cubicBezTo>
                  <a:cubicBezTo>
                    <a:pt x="129" y="270"/>
                    <a:pt x="129" y="270"/>
                    <a:pt x="129" y="270"/>
                  </a:cubicBezTo>
                  <a:cubicBezTo>
                    <a:pt x="133" y="265"/>
                    <a:pt x="133" y="265"/>
                    <a:pt x="133" y="265"/>
                  </a:cubicBezTo>
                  <a:cubicBezTo>
                    <a:pt x="131" y="250"/>
                    <a:pt x="131" y="250"/>
                    <a:pt x="131" y="250"/>
                  </a:cubicBezTo>
                  <a:cubicBezTo>
                    <a:pt x="131" y="250"/>
                    <a:pt x="114" y="229"/>
                    <a:pt x="117" y="221"/>
                  </a:cubicBezTo>
                  <a:cubicBezTo>
                    <a:pt x="120" y="213"/>
                    <a:pt x="143" y="232"/>
                    <a:pt x="143" y="232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228"/>
                    <a:pt x="141" y="221"/>
                    <a:pt x="132" y="212"/>
                  </a:cubicBezTo>
                  <a:cubicBezTo>
                    <a:pt x="123" y="203"/>
                    <a:pt x="79" y="186"/>
                    <a:pt x="79" y="186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45" name="Freeform 61"/>
            <p:cNvSpPr>
              <a:spLocks/>
            </p:cNvSpPr>
            <p:nvPr/>
          </p:nvSpPr>
          <p:spPr bwMode="auto">
            <a:xfrm>
              <a:off x="3000" y="1885"/>
              <a:ext cx="38" cy="62"/>
            </a:xfrm>
            <a:custGeom>
              <a:avLst/>
              <a:gdLst>
                <a:gd name="T0" fmla="*/ 0 w 100"/>
                <a:gd name="T1" fmla="*/ 0 h 165"/>
                <a:gd name="T2" fmla="*/ 0 w 100"/>
                <a:gd name="T3" fmla="*/ 0 h 165"/>
                <a:gd name="T4" fmla="*/ 0 w 100"/>
                <a:gd name="T5" fmla="*/ 0 h 165"/>
                <a:gd name="T6" fmla="*/ 0 w 100"/>
                <a:gd name="T7" fmla="*/ 0 h 165"/>
                <a:gd name="T8" fmla="*/ 0 w 100"/>
                <a:gd name="T9" fmla="*/ 0 h 165"/>
                <a:gd name="T10" fmla="*/ 0 w 100"/>
                <a:gd name="T11" fmla="*/ 0 h 165"/>
                <a:gd name="T12" fmla="*/ 0 w 100"/>
                <a:gd name="T13" fmla="*/ 0 h 165"/>
                <a:gd name="T14" fmla="*/ 0 w 100"/>
                <a:gd name="T15" fmla="*/ 0 h 165"/>
                <a:gd name="T16" fmla="*/ 0 w 100"/>
                <a:gd name="T17" fmla="*/ 0 h 165"/>
                <a:gd name="T18" fmla="*/ 0 w 100"/>
                <a:gd name="T19" fmla="*/ 0 h 165"/>
                <a:gd name="T20" fmla="*/ 0 w 100"/>
                <a:gd name="T21" fmla="*/ 0 h 165"/>
                <a:gd name="T22" fmla="*/ 0 w 100"/>
                <a:gd name="T23" fmla="*/ 0 h 165"/>
                <a:gd name="T24" fmla="*/ 0 w 100"/>
                <a:gd name="T25" fmla="*/ 0 h 165"/>
                <a:gd name="T26" fmla="*/ 0 w 100"/>
                <a:gd name="T27" fmla="*/ 0 h 165"/>
                <a:gd name="T28" fmla="*/ 0 w 100"/>
                <a:gd name="T29" fmla="*/ 0 h 165"/>
                <a:gd name="T30" fmla="*/ 0 w 100"/>
                <a:gd name="T31" fmla="*/ 0 h 165"/>
                <a:gd name="T32" fmla="*/ 0 w 100"/>
                <a:gd name="T33" fmla="*/ 0 h 165"/>
                <a:gd name="T34" fmla="*/ 0 w 100"/>
                <a:gd name="T35" fmla="*/ 0 h 165"/>
                <a:gd name="T36" fmla="*/ 0 w 100"/>
                <a:gd name="T37" fmla="*/ 0 h 165"/>
                <a:gd name="T38" fmla="*/ 0 w 100"/>
                <a:gd name="T39" fmla="*/ 0 h 165"/>
                <a:gd name="T40" fmla="*/ 0 w 100"/>
                <a:gd name="T41" fmla="*/ 0 h 165"/>
                <a:gd name="T42" fmla="*/ 0 w 100"/>
                <a:gd name="T43" fmla="*/ 0 h 165"/>
                <a:gd name="T44" fmla="*/ 0 w 100"/>
                <a:gd name="T45" fmla="*/ 0 h 165"/>
                <a:gd name="T46" fmla="*/ 0 w 100"/>
                <a:gd name="T47" fmla="*/ 0 h 165"/>
                <a:gd name="T48" fmla="*/ 0 w 100"/>
                <a:gd name="T49" fmla="*/ 0 h 165"/>
                <a:gd name="T50" fmla="*/ 0 w 100"/>
                <a:gd name="T51" fmla="*/ 0 h 165"/>
                <a:gd name="T52" fmla="*/ 0 w 100"/>
                <a:gd name="T53" fmla="*/ 0 h 165"/>
                <a:gd name="T54" fmla="*/ 0 w 100"/>
                <a:gd name="T55" fmla="*/ 0 h 165"/>
                <a:gd name="T56" fmla="*/ 0 w 100"/>
                <a:gd name="T57" fmla="*/ 0 h 165"/>
                <a:gd name="T58" fmla="*/ 0 w 100"/>
                <a:gd name="T59" fmla="*/ 0 h 165"/>
                <a:gd name="T60" fmla="*/ 0 w 100"/>
                <a:gd name="T61" fmla="*/ 0 h 165"/>
                <a:gd name="T62" fmla="*/ 0 w 100"/>
                <a:gd name="T63" fmla="*/ 0 h 165"/>
                <a:gd name="T64" fmla="*/ 0 w 100"/>
                <a:gd name="T65" fmla="*/ 0 h 165"/>
                <a:gd name="T66" fmla="*/ 0 w 100"/>
                <a:gd name="T67" fmla="*/ 0 h 16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00"/>
                <a:gd name="T103" fmla="*/ 0 h 165"/>
                <a:gd name="T104" fmla="*/ 100 w 100"/>
                <a:gd name="T105" fmla="*/ 165 h 16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00" h="165">
                  <a:moveTo>
                    <a:pt x="62" y="142"/>
                  </a:moveTo>
                  <a:cubicBezTo>
                    <a:pt x="63" y="135"/>
                    <a:pt x="72" y="138"/>
                    <a:pt x="72" y="138"/>
                  </a:cubicBezTo>
                  <a:cubicBezTo>
                    <a:pt x="80" y="133"/>
                    <a:pt x="80" y="133"/>
                    <a:pt x="80" y="133"/>
                  </a:cubicBezTo>
                  <a:cubicBezTo>
                    <a:pt x="80" y="119"/>
                    <a:pt x="80" y="119"/>
                    <a:pt x="80" y="119"/>
                  </a:cubicBezTo>
                  <a:cubicBezTo>
                    <a:pt x="80" y="119"/>
                    <a:pt x="90" y="117"/>
                    <a:pt x="95" y="113"/>
                  </a:cubicBezTo>
                  <a:cubicBezTo>
                    <a:pt x="100" y="109"/>
                    <a:pt x="95" y="92"/>
                    <a:pt x="95" y="92"/>
                  </a:cubicBezTo>
                  <a:cubicBezTo>
                    <a:pt x="77" y="99"/>
                    <a:pt x="77" y="99"/>
                    <a:pt x="77" y="99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7" y="85"/>
                    <a:pt x="69" y="84"/>
                    <a:pt x="69" y="79"/>
                  </a:cubicBezTo>
                  <a:cubicBezTo>
                    <a:pt x="69" y="74"/>
                    <a:pt x="71" y="67"/>
                    <a:pt x="71" y="67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45"/>
                    <a:pt x="25" y="84"/>
                    <a:pt x="24" y="96"/>
                  </a:cubicBezTo>
                  <a:cubicBezTo>
                    <a:pt x="23" y="108"/>
                    <a:pt x="12" y="124"/>
                    <a:pt x="17" y="129"/>
                  </a:cubicBezTo>
                  <a:cubicBezTo>
                    <a:pt x="22" y="134"/>
                    <a:pt x="40" y="144"/>
                    <a:pt x="40" y="144"/>
                  </a:cubicBezTo>
                  <a:cubicBezTo>
                    <a:pt x="40" y="144"/>
                    <a:pt x="37" y="164"/>
                    <a:pt x="41" y="163"/>
                  </a:cubicBezTo>
                  <a:cubicBezTo>
                    <a:pt x="45" y="162"/>
                    <a:pt x="64" y="165"/>
                    <a:pt x="64" y="165"/>
                  </a:cubicBezTo>
                  <a:cubicBezTo>
                    <a:pt x="62" y="158"/>
                    <a:pt x="62" y="158"/>
                    <a:pt x="62" y="158"/>
                  </a:cubicBezTo>
                  <a:cubicBezTo>
                    <a:pt x="62" y="158"/>
                    <a:pt x="61" y="149"/>
                    <a:pt x="62" y="142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46" name="Freeform 62"/>
            <p:cNvSpPr>
              <a:spLocks/>
            </p:cNvSpPr>
            <p:nvPr/>
          </p:nvSpPr>
          <p:spPr bwMode="auto">
            <a:xfrm>
              <a:off x="3053" y="1854"/>
              <a:ext cx="102" cy="59"/>
            </a:xfrm>
            <a:custGeom>
              <a:avLst/>
              <a:gdLst>
                <a:gd name="T0" fmla="*/ 0 w 267"/>
                <a:gd name="T1" fmla="*/ 0 h 155"/>
                <a:gd name="T2" fmla="*/ 0 w 267"/>
                <a:gd name="T3" fmla="*/ 0 h 155"/>
                <a:gd name="T4" fmla="*/ 0 w 267"/>
                <a:gd name="T5" fmla="*/ 0 h 155"/>
                <a:gd name="T6" fmla="*/ 0 w 267"/>
                <a:gd name="T7" fmla="*/ 0 h 155"/>
                <a:gd name="T8" fmla="*/ 0 w 267"/>
                <a:gd name="T9" fmla="*/ 0 h 155"/>
                <a:gd name="T10" fmla="*/ 0 w 267"/>
                <a:gd name="T11" fmla="*/ 0 h 155"/>
                <a:gd name="T12" fmla="*/ 0 w 267"/>
                <a:gd name="T13" fmla="*/ 0 h 155"/>
                <a:gd name="T14" fmla="*/ 0 w 267"/>
                <a:gd name="T15" fmla="*/ 0 h 155"/>
                <a:gd name="T16" fmla="*/ 0 w 267"/>
                <a:gd name="T17" fmla="*/ 0 h 155"/>
                <a:gd name="T18" fmla="*/ 0 w 267"/>
                <a:gd name="T19" fmla="*/ 0 h 155"/>
                <a:gd name="T20" fmla="*/ 0 w 267"/>
                <a:gd name="T21" fmla="*/ 0 h 155"/>
                <a:gd name="T22" fmla="*/ 0 w 267"/>
                <a:gd name="T23" fmla="*/ 0 h 155"/>
                <a:gd name="T24" fmla="*/ 0 w 267"/>
                <a:gd name="T25" fmla="*/ 0 h 155"/>
                <a:gd name="T26" fmla="*/ 0 w 267"/>
                <a:gd name="T27" fmla="*/ 0 h 155"/>
                <a:gd name="T28" fmla="*/ 0 w 267"/>
                <a:gd name="T29" fmla="*/ 0 h 155"/>
                <a:gd name="T30" fmla="*/ 0 w 267"/>
                <a:gd name="T31" fmla="*/ 0 h 155"/>
                <a:gd name="T32" fmla="*/ 0 w 267"/>
                <a:gd name="T33" fmla="*/ 0 h 155"/>
                <a:gd name="T34" fmla="*/ 0 w 267"/>
                <a:gd name="T35" fmla="*/ 0 h 155"/>
                <a:gd name="T36" fmla="*/ 0 w 267"/>
                <a:gd name="T37" fmla="*/ 0 h 155"/>
                <a:gd name="T38" fmla="*/ 0 w 267"/>
                <a:gd name="T39" fmla="*/ 0 h 155"/>
                <a:gd name="T40" fmla="*/ 0 w 267"/>
                <a:gd name="T41" fmla="*/ 0 h 155"/>
                <a:gd name="T42" fmla="*/ 0 w 267"/>
                <a:gd name="T43" fmla="*/ 0 h 155"/>
                <a:gd name="T44" fmla="*/ 0 w 267"/>
                <a:gd name="T45" fmla="*/ 0 h 155"/>
                <a:gd name="T46" fmla="*/ 0 w 267"/>
                <a:gd name="T47" fmla="*/ 0 h 155"/>
                <a:gd name="T48" fmla="*/ 0 w 267"/>
                <a:gd name="T49" fmla="*/ 0 h 155"/>
                <a:gd name="T50" fmla="*/ 0 w 267"/>
                <a:gd name="T51" fmla="*/ 0 h 155"/>
                <a:gd name="T52" fmla="*/ 0 w 267"/>
                <a:gd name="T53" fmla="*/ 0 h 155"/>
                <a:gd name="T54" fmla="*/ 0 w 267"/>
                <a:gd name="T55" fmla="*/ 0 h 155"/>
                <a:gd name="T56" fmla="*/ 0 w 267"/>
                <a:gd name="T57" fmla="*/ 0 h 155"/>
                <a:gd name="T58" fmla="*/ 0 w 267"/>
                <a:gd name="T59" fmla="*/ 0 h 155"/>
                <a:gd name="T60" fmla="*/ 0 w 267"/>
                <a:gd name="T61" fmla="*/ 0 h 155"/>
                <a:gd name="T62" fmla="*/ 0 w 267"/>
                <a:gd name="T63" fmla="*/ 0 h 15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67"/>
                <a:gd name="T97" fmla="*/ 0 h 155"/>
                <a:gd name="T98" fmla="*/ 267 w 267"/>
                <a:gd name="T99" fmla="*/ 155 h 15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67" h="155">
                  <a:moveTo>
                    <a:pt x="248" y="115"/>
                  </a:moveTo>
                  <a:cubicBezTo>
                    <a:pt x="225" y="87"/>
                    <a:pt x="225" y="87"/>
                    <a:pt x="225" y="87"/>
                  </a:cubicBezTo>
                  <a:cubicBezTo>
                    <a:pt x="225" y="87"/>
                    <a:pt x="235" y="82"/>
                    <a:pt x="239" y="75"/>
                  </a:cubicBezTo>
                  <a:cubicBezTo>
                    <a:pt x="243" y="68"/>
                    <a:pt x="232" y="54"/>
                    <a:pt x="241" y="47"/>
                  </a:cubicBezTo>
                  <a:cubicBezTo>
                    <a:pt x="250" y="40"/>
                    <a:pt x="267" y="44"/>
                    <a:pt x="267" y="44"/>
                  </a:cubicBezTo>
                  <a:cubicBezTo>
                    <a:pt x="267" y="44"/>
                    <a:pt x="265" y="35"/>
                    <a:pt x="264" y="23"/>
                  </a:cubicBezTo>
                  <a:cubicBezTo>
                    <a:pt x="257" y="24"/>
                    <a:pt x="248" y="24"/>
                    <a:pt x="245" y="22"/>
                  </a:cubicBezTo>
                  <a:cubicBezTo>
                    <a:pt x="240" y="19"/>
                    <a:pt x="237" y="12"/>
                    <a:pt x="237" y="12"/>
                  </a:cubicBezTo>
                  <a:cubicBezTo>
                    <a:pt x="237" y="12"/>
                    <a:pt x="228" y="10"/>
                    <a:pt x="219" y="10"/>
                  </a:cubicBezTo>
                  <a:cubicBezTo>
                    <a:pt x="210" y="10"/>
                    <a:pt x="203" y="2"/>
                    <a:pt x="194" y="2"/>
                  </a:cubicBezTo>
                  <a:cubicBezTo>
                    <a:pt x="185" y="2"/>
                    <a:pt x="188" y="8"/>
                    <a:pt x="188" y="8"/>
                  </a:cubicBezTo>
                  <a:cubicBezTo>
                    <a:pt x="169" y="6"/>
                    <a:pt x="169" y="6"/>
                    <a:pt x="169" y="6"/>
                  </a:cubicBezTo>
                  <a:cubicBezTo>
                    <a:pt x="170" y="11"/>
                    <a:pt x="170" y="11"/>
                    <a:pt x="170" y="11"/>
                  </a:cubicBezTo>
                  <a:cubicBezTo>
                    <a:pt x="170" y="11"/>
                    <a:pt x="164" y="10"/>
                    <a:pt x="157" y="12"/>
                  </a:cubicBezTo>
                  <a:cubicBezTo>
                    <a:pt x="150" y="14"/>
                    <a:pt x="151" y="30"/>
                    <a:pt x="140" y="29"/>
                  </a:cubicBezTo>
                  <a:cubicBezTo>
                    <a:pt x="129" y="28"/>
                    <a:pt x="118" y="23"/>
                    <a:pt x="118" y="23"/>
                  </a:cubicBezTo>
                  <a:cubicBezTo>
                    <a:pt x="105" y="22"/>
                    <a:pt x="105" y="22"/>
                    <a:pt x="105" y="22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17"/>
                    <a:pt x="97" y="26"/>
                    <a:pt x="84" y="26"/>
                  </a:cubicBezTo>
                  <a:cubicBezTo>
                    <a:pt x="71" y="26"/>
                    <a:pt x="62" y="21"/>
                    <a:pt x="62" y="2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22" y="22"/>
                    <a:pt x="22" y="18"/>
                  </a:cubicBezTo>
                  <a:cubicBezTo>
                    <a:pt x="22" y="14"/>
                    <a:pt x="31" y="9"/>
                    <a:pt x="29" y="5"/>
                  </a:cubicBezTo>
                  <a:cubicBezTo>
                    <a:pt x="27" y="1"/>
                    <a:pt x="17" y="1"/>
                    <a:pt x="17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8" y="53"/>
                    <a:pt x="26" y="57"/>
                  </a:cubicBezTo>
                  <a:cubicBezTo>
                    <a:pt x="24" y="61"/>
                    <a:pt x="20" y="68"/>
                    <a:pt x="20" y="68"/>
                  </a:cubicBezTo>
                  <a:cubicBezTo>
                    <a:pt x="20" y="68"/>
                    <a:pt x="9" y="65"/>
                    <a:pt x="7" y="69"/>
                  </a:cubicBezTo>
                  <a:cubicBezTo>
                    <a:pt x="5" y="73"/>
                    <a:pt x="8" y="80"/>
                    <a:pt x="8" y="80"/>
                  </a:cubicBezTo>
                  <a:cubicBezTo>
                    <a:pt x="8" y="80"/>
                    <a:pt x="11" y="88"/>
                    <a:pt x="10" y="91"/>
                  </a:cubicBezTo>
                  <a:cubicBezTo>
                    <a:pt x="9" y="93"/>
                    <a:pt x="5" y="94"/>
                    <a:pt x="2" y="95"/>
                  </a:cubicBezTo>
                  <a:cubicBezTo>
                    <a:pt x="2" y="95"/>
                    <a:pt x="2" y="95"/>
                    <a:pt x="2" y="95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25" y="121"/>
                    <a:pt x="25" y="121"/>
                    <a:pt x="25" y="121"/>
                  </a:cubicBezTo>
                  <a:cubicBezTo>
                    <a:pt x="25" y="121"/>
                    <a:pt x="36" y="128"/>
                    <a:pt x="33" y="139"/>
                  </a:cubicBezTo>
                  <a:cubicBezTo>
                    <a:pt x="32" y="142"/>
                    <a:pt x="31" y="145"/>
                    <a:pt x="29" y="147"/>
                  </a:cubicBezTo>
                  <a:cubicBezTo>
                    <a:pt x="32" y="150"/>
                    <a:pt x="36" y="154"/>
                    <a:pt x="41" y="154"/>
                  </a:cubicBezTo>
                  <a:cubicBezTo>
                    <a:pt x="49" y="154"/>
                    <a:pt x="59" y="144"/>
                    <a:pt x="59" y="144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9" y="138"/>
                    <a:pt x="79" y="138"/>
                    <a:pt x="79" y="138"/>
                  </a:cubicBezTo>
                  <a:cubicBezTo>
                    <a:pt x="97" y="135"/>
                    <a:pt x="97" y="135"/>
                    <a:pt x="97" y="135"/>
                  </a:cubicBezTo>
                  <a:cubicBezTo>
                    <a:pt x="97" y="135"/>
                    <a:pt x="101" y="149"/>
                    <a:pt x="109" y="149"/>
                  </a:cubicBezTo>
                  <a:cubicBezTo>
                    <a:pt x="117" y="149"/>
                    <a:pt x="123" y="146"/>
                    <a:pt x="123" y="146"/>
                  </a:cubicBezTo>
                  <a:cubicBezTo>
                    <a:pt x="123" y="146"/>
                    <a:pt x="124" y="155"/>
                    <a:pt x="132" y="154"/>
                  </a:cubicBezTo>
                  <a:cubicBezTo>
                    <a:pt x="140" y="153"/>
                    <a:pt x="145" y="146"/>
                    <a:pt x="145" y="146"/>
                  </a:cubicBezTo>
                  <a:cubicBezTo>
                    <a:pt x="155" y="154"/>
                    <a:pt x="155" y="154"/>
                    <a:pt x="155" y="154"/>
                  </a:cubicBezTo>
                  <a:cubicBezTo>
                    <a:pt x="155" y="154"/>
                    <a:pt x="169" y="153"/>
                    <a:pt x="171" y="148"/>
                  </a:cubicBezTo>
                  <a:cubicBezTo>
                    <a:pt x="173" y="143"/>
                    <a:pt x="167" y="135"/>
                    <a:pt x="167" y="135"/>
                  </a:cubicBezTo>
                  <a:cubicBezTo>
                    <a:pt x="179" y="129"/>
                    <a:pt x="179" y="129"/>
                    <a:pt x="179" y="129"/>
                  </a:cubicBezTo>
                  <a:cubicBezTo>
                    <a:pt x="188" y="114"/>
                    <a:pt x="188" y="114"/>
                    <a:pt x="188" y="114"/>
                  </a:cubicBezTo>
                  <a:cubicBezTo>
                    <a:pt x="208" y="116"/>
                    <a:pt x="208" y="116"/>
                    <a:pt x="208" y="116"/>
                  </a:cubicBezTo>
                  <a:cubicBezTo>
                    <a:pt x="216" y="106"/>
                    <a:pt x="216" y="106"/>
                    <a:pt x="216" y="106"/>
                  </a:cubicBezTo>
                  <a:cubicBezTo>
                    <a:pt x="226" y="119"/>
                    <a:pt x="226" y="119"/>
                    <a:pt x="226" y="119"/>
                  </a:cubicBezTo>
                  <a:cubicBezTo>
                    <a:pt x="226" y="119"/>
                    <a:pt x="240" y="121"/>
                    <a:pt x="249" y="120"/>
                  </a:cubicBezTo>
                  <a:cubicBezTo>
                    <a:pt x="248" y="117"/>
                    <a:pt x="248" y="115"/>
                    <a:pt x="248" y="115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47" name="Freeform 63"/>
            <p:cNvSpPr>
              <a:spLocks/>
            </p:cNvSpPr>
            <p:nvPr/>
          </p:nvSpPr>
          <p:spPr bwMode="auto">
            <a:xfrm>
              <a:off x="3025" y="1890"/>
              <a:ext cx="42" cy="33"/>
            </a:xfrm>
            <a:custGeom>
              <a:avLst/>
              <a:gdLst>
                <a:gd name="T0" fmla="*/ 0 w 111"/>
                <a:gd name="T1" fmla="*/ 0 h 87"/>
                <a:gd name="T2" fmla="*/ 0 w 111"/>
                <a:gd name="T3" fmla="*/ 0 h 87"/>
                <a:gd name="T4" fmla="*/ 0 w 111"/>
                <a:gd name="T5" fmla="*/ 0 h 87"/>
                <a:gd name="T6" fmla="*/ 0 w 111"/>
                <a:gd name="T7" fmla="*/ 0 h 87"/>
                <a:gd name="T8" fmla="*/ 0 w 111"/>
                <a:gd name="T9" fmla="*/ 0 h 87"/>
                <a:gd name="T10" fmla="*/ 0 w 111"/>
                <a:gd name="T11" fmla="*/ 0 h 87"/>
                <a:gd name="T12" fmla="*/ 0 w 111"/>
                <a:gd name="T13" fmla="*/ 0 h 87"/>
                <a:gd name="T14" fmla="*/ 0 w 111"/>
                <a:gd name="T15" fmla="*/ 0 h 87"/>
                <a:gd name="T16" fmla="*/ 0 w 111"/>
                <a:gd name="T17" fmla="*/ 0 h 87"/>
                <a:gd name="T18" fmla="*/ 0 w 111"/>
                <a:gd name="T19" fmla="*/ 0 h 87"/>
                <a:gd name="T20" fmla="*/ 0 w 111"/>
                <a:gd name="T21" fmla="*/ 0 h 87"/>
                <a:gd name="T22" fmla="*/ 0 w 111"/>
                <a:gd name="T23" fmla="*/ 0 h 87"/>
                <a:gd name="T24" fmla="*/ 0 w 111"/>
                <a:gd name="T25" fmla="*/ 0 h 87"/>
                <a:gd name="T26" fmla="*/ 0 w 111"/>
                <a:gd name="T27" fmla="*/ 0 h 87"/>
                <a:gd name="T28" fmla="*/ 0 w 111"/>
                <a:gd name="T29" fmla="*/ 0 h 87"/>
                <a:gd name="T30" fmla="*/ 0 w 111"/>
                <a:gd name="T31" fmla="*/ 0 h 87"/>
                <a:gd name="T32" fmla="*/ 0 w 111"/>
                <a:gd name="T33" fmla="*/ 0 h 87"/>
                <a:gd name="T34" fmla="*/ 0 w 111"/>
                <a:gd name="T35" fmla="*/ 0 h 87"/>
                <a:gd name="T36" fmla="*/ 0 w 111"/>
                <a:gd name="T37" fmla="*/ 0 h 87"/>
                <a:gd name="T38" fmla="*/ 0 w 111"/>
                <a:gd name="T39" fmla="*/ 0 h 87"/>
                <a:gd name="T40" fmla="*/ 0 w 111"/>
                <a:gd name="T41" fmla="*/ 0 h 87"/>
                <a:gd name="T42" fmla="*/ 0 w 111"/>
                <a:gd name="T43" fmla="*/ 0 h 87"/>
                <a:gd name="T44" fmla="*/ 0 w 111"/>
                <a:gd name="T45" fmla="*/ 0 h 87"/>
                <a:gd name="T46" fmla="*/ 0 w 111"/>
                <a:gd name="T47" fmla="*/ 0 h 87"/>
                <a:gd name="T48" fmla="*/ 0 w 111"/>
                <a:gd name="T49" fmla="*/ 0 h 87"/>
                <a:gd name="T50" fmla="*/ 0 w 111"/>
                <a:gd name="T51" fmla="*/ 0 h 8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1"/>
                <a:gd name="T79" fmla="*/ 0 h 87"/>
                <a:gd name="T80" fmla="*/ 111 w 111"/>
                <a:gd name="T81" fmla="*/ 87 h 8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1" h="87">
                  <a:moveTo>
                    <a:pt x="100" y="26"/>
                  </a:moveTo>
                  <a:cubicBezTo>
                    <a:pt x="88" y="17"/>
                    <a:pt x="88" y="17"/>
                    <a:pt x="88" y="17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6" y="0"/>
                    <a:pt x="76" y="0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3" y="6"/>
                    <a:pt x="37" y="14"/>
                    <a:pt x="30" y="14"/>
                  </a:cubicBezTo>
                  <a:cubicBezTo>
                    <a:pt x="23" y="14"/>
                    <a:pt x="18" y="14"/>
                    <a:pt x="18" y="14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3" y="59"/>
                    <a:pt x="3" y="64"/>
                  </a:cubicBezTo>
                  <a:cubicBezTo>
                    <a:pt x="3" y="69"/>
                    <a:pt x="11" y="70"/>
                    <a:pt x="11" y="70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30" y="80"/>
                    <a:pt x="31" y="84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56" y="87"/>
                    <a:pt x="60" y="81"/>
                  </a:cubicBezTo>
                  <a:cubicBezTo>
                    <a:pt x="64" y="75"/>
                    <a:pt x="63" y="70"/>
                    <a:pt x="63" y="70"/>
                  </a:cubicBezTo>
                  <a:cubicBezTo>
                    <a:pt x="63" y="70"/>
                    <a:pt x="82" y="74"/>
                    <a:pt x="90" y="66"/>
                  </a:cubicBezTo>
                  <a:cubicBezTo>
                    <a:pt x="98" y="58"/>
                    <a:pt x="105" y="55"/>
                    <a:pt x="108" y="44"/>
                  </a:cubicBezTo>
                  <a:cubicBezTo>
                    <a:pt x="111" y="33"/>
                    <a:pt x="100" y="26"/>
                    <a:pt x="100" y="26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48" name="Freeform 64"/>
            <p:cNvSpPr>
              <a:spLocks/>
            </p:cNvSpPr>
            <p:nvPr/>
          </p:nvSpPr>
          <p:spPr bwMode="auto">
            <a:xfrm>
              <a:off x="3117" y="1768"/>
              <a:ext cx="54" cy="60"/>
            </a:xfrm>
            <a:custGeom>
              <a:avLst/>
              <a:gdLst>
                <a:gd name="T0" fmla="*/ 0 w 143"/>
                <a:gd name="T1" fmla="*/ 0 h 158"/>
                <a:gd name="T2" fmla="*/ 0 w 143"/>
                <a:gd name="T3" fmla="*/ 0 h 158"/>
                <a:gd name="T4" fmla="*/ 0 w 143"/>
                <a:gd name="T5" fmla="*/ 0 h 158"/>
                <a:gd name="T6" fmla="*/ 0 w 143"/>
                <a:gd name="T7" fmla="*/ 0 h 158"/>
                <a:gd name="T8" fmla="*/ 0 w 143"/>
                <a:gd name="T9" fmla="*/ 0 h 158"/>
                <a:gd name="T10" fmla="*/ 0 w 143"/>
                <a:gd name="T11" fmla="*/ 0 h 158"/>
                <a:gd name="T12" fmla="*/ 0 w 143"/>
                <a:gd name="T13" fmla="*/ 0 h 158"/>
                <a:gd name="T14" fmla="*/ 0 w 143"/>
                <a:gd name="T15" fmla="*/ 0 h 158"/>
                <a:gd name="T16" fmla="*/ 0 w 143"/>
                <a:gd name="T17" fmla="*/ 0 h 158"/>
                <a:gd name="T18" fmla="*/ 0 w 143"/>
                <a:gd name="T19" fmla="*/ 0 h 158"/>
                <a:gd name="T20" fmla="*/ 0 w 143"/>
                <a:gd name="T21" fmla="*/ 0 h 158"/>
                <a:gd name="T22" fmla="*/ 0 w 143"/>
                <a:gd name="T23" fmla="*/ 0 h 158"/>
                <a:gd name="T24" fmla="*/ 0 w 143"/>
                <a:gd name="T25" fmla="*/ 0 h 158"/>
                <a:gd name="T26" fmla="*/ 0 w 143"/>
                <a:gd name="T27" fmla="*/ 0 h 158"/>
                <a:gd name="T28" fmla="*/ 0 w 143"/>
                <a:gd name="T29" fmla="*/ 0 h 158"/>
                <a:gd name="T30" fmla="*/ 0 w 143"/>
                <a:gd name="T31" fmla="*/ 0 h 158"/>
                <a:gd name="T32" fmla="*/ 0 w 143"/>
                <a:gd name="T33" fmla="*/ 0 h 158"/>
                <a:gd name="T34" fmla="*/ 0 w 143"/>
                <a:gd name="T35" fmla="*/ 0 h 158"/>
                <a:gd name="T36" fmla="*/ 0 w 143"/>
                <a:gd name="T37" fmla="*/ 0 h 158"/>
                <a:gd name="T38" fmla="*/ 0 w 143"/>
                <a:gd name="T39" fmla="*/ 0 h 158"/>
                <a:gd name="T40" fmla="*/ 0 w 143"/>
                <a:gd name="T41" fmla="*/ 0 h 158"/>
                <a:gd name="T42" fmla="*/ 0 w 143"/>
                <a:gd name="T43" fmla="*/ 0 h 158"/>
                <a:gd name="T44" fmla="*/ 0 w 143"/>
                <a:gd name="T45" fmla="*/ 0 h 158"/>
                <a:gd name="T46" fmla="*/ 0 w 143"/>
                <a:gd name="T47" fmla="*/ 0 h 158"/>
                <a:gd name="T48" fmla="*/ 0 w 143"/>
                <a:gd name="T49" fmla="*/ 0 h 158"/>
                <a:gd name="T50" fmla="*/ 0 w 143"/>
                <a:gd name="T51" fmla="*/ 0 h 158"/>
                <a:gd name="T52" fmla="*/ 0 w 143"/>
                <a:gd name="T53" fmla="*/ 0 h 158"/>
                <a:gd name="T54" fmla="*/ 0 w 143"/>
                <a:gd name="T55" fmla="*/ 0 h 158"/>
                <a:gd name="T56" fmla="*/ 0 w 143"/>
                <a:gd name="T57" fmla="*/ 0 h 158"/>
                <a:gd name="T58" fmla="*/ 0 w 143"/>
                <a:gd name="T59" fmla="*/ 0 h 158"/>
                <a:gd name="T60" fmla="*/ 0 w 143"/>
                <a:gd name="T61" fmla="*/ 0 h 158"/>
                <a:gd name="T62" fmla="*/ 0 w 143"/>
                <a:gd name="T63" fmla="*/ 0 h 158"/>
                <a:gd name="T64" fmla="*/ 0 w 143"/>
                <a:gd name="T65" fmla="*/ 0 h 158"/>
                <a:gd name="T66" fmla="*/ 0 w 143"/>
                <a:gd name="T67" fmla="*/ 0 h 158"/>
                <a:gd name="T68" fmla="*/ 0 w 143"/>
                <a:gd name="T69" fmla="*/ 0 h 158"/>
                <a:gd name="T70" fmla="*/ 0 w 143"/>
                <a:gd name="T71" fmla="*/ 0 h 158"/>
                <a:gd name="T72" fmla="*/ 0 w 143"/>
                <a:gd name="T73" fmla="*/ 0 h 158"/>
                <a:gd name="T74" fmla="*/ 0 w 143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3"/>
                <a:gd name="T115" fmla="*/ 0 h 158"/>
                <a:gd name="T116" fmla="*/ 143 w 143"/>
                <a:gd name="T117" fmla="*/ 158 h 15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3" h="158">
                  <a:moveTo>
                    <a:pt x="0" y="11"/>
                  </a:moveTo>
                  <a:cubicBezTo>
                    <a:pt x="17" y="14"/>
                    <a:pt x="24" y="30"/>
                    <a:pt x="24" y="3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4"/>
                    <a:pt x="70" y="75"/>
                    <a:pt x="71" y="84"/>
                  </a:cubicBezTo>
                  <a:cubicBezTo>
                    <a:pt x="72" y="93"/>
                    <a:pt x="69" y="106"/>
                    <a:pt x="69" y="106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67" y="122"/>
                    <a:pt x="67" y="129"/>
                  </a:cubicBezTo>
                  <a:cubicBezTo>
                    <a:pt x="67" y="136"/>
                    <a:pt x="73" y="143"/>
                    <a:pt x="73" y="143"/>
                  </a:cubicBezTo>
                  <a:cubicBezTo>
                    <a:pt x="73" y="143"/>
                    <a:pt x="72" y="151"/>
                    <a:pt x="75" y="158"/>
                  </a:cubicBezTo>
                  <a:cubicBezTo>
                    <a:pt x="92" y="155"/>
                    <a:pt x="92" y="155"/>
                    <a:pt x="92" y="155"/>
                  </a:cubicBezTo>
                  <a:cubicBezTo>
                    <a:pt x="92" y="155"/>
                    <a:pt x="88" y="145"/>
                    <a:pt x="88" y="141"/>
                  </a:cubicBezTo>
                  <a:cubicBezTo>
                    <a:pt x="88" y="137"/>
                    <a:pt x="104" y="129"/>
                    <a:pt x="104" y="129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3" y="120"/>
                    <a:pt x="98" y="110"/>
                    <a:pt x="97" y="106"/>
                  </a:cubicBezTo>
                  <a:cubicBezTo>
                    <a:pt x="96" y="102"/>
                    <a:pt x="113" y="102"/>
                    <a:pt x="113" y="102"/>
                  </a:cubicBezTo>
                  <a:cubicBezTo>
                    <a:pt x="113" y="102"/>
                    <a:pt x="119" y="110"/>
                    <a:pt x="126" y="109"/>
                  </a:cubicBezTo>
                  <a:cubicBezTo>
                    <a:pt x="133" y="108"/>
                    <a:pt x="143" y="104"/>
                    <a:pt x="143" y="104"/>
                  </a:cubicBezTo>
                  <a:cubicBezTo>
                    <a:pt x="143" y="104"/>
                    <a:pt x="142" y="90"/>
                    <a:pt x="141" y="83"/>
                  </a:cubicBezTo>
                  <a:cubicBezTo>
                    <a:pt x="140" y="76"/>
                    <a:pt x="127" y="79"/>
                    <a:pt x="120" y="77"/>
                  </a:cubicBezTo>
                  <a:cubicBezTo>
                    <a:pt x="113" y="75"/>
                    <a:pt x="122" y="61"/>
                    <a:pt x="122" y="61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08" y="58"/>
                    <a:pt x="105" y="58"/>
                  </a:cubicBezTo>
                  <a:cubicBezTo>
                    <a:pt x="102" y="58"/>
                    <a:pt x="105" y="43"/>
                    <a:pt x="105" y="43"/>
                  </a:cubicBezTo>
                  <a:cubicBezTo>
                    <a:pt x="105" y="43"/>
                    <a:pt x="114" y="34"/>
                    <a:pt x="103" y="26"/>
                  </a:cubicBezTo>
                  <a:cubicBezTo>
                    <a:pt x="92" y="18"/>
                    <a:pt x="83" y="24"/>
                    <a:pt x="83" y="24"/>
                  </a:cubicBezTo>
                  <a:cubicBezTo>
                    <a:pt x="83" y="24"/>
                    <a:pt x="83" y="17"/>
                    <a:pt x="78" y="13"/>
                  </a:cubicBezTo>
                  <a:cubicBezTo>
                    <a:pt x="73" y="9"/>
                    <a:pt x="66" y="12"/>
                    <a:pt x="57" y="12"/>
                  </a:cubicBezTo>
                  <a:cubicBezTo>
                    <a:pt x="48" y="12"/>
                    <a:pt x="52" y="7"/>
                    <a:pt x="52" y="7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2" y="0"/>
                    <a:pt x="33" y="1"/>
                  </a:cubicBezTo>
                  <a:cubicBezTo>
                    <a:pt x="24" y="2"/>
                    <a:pt x="24" y="7"/>
                    <a:pt x="18" y="8"/>
                  </a:cubicBezTo>
                  <a:cubicBezTo>
                    <a:pt x="12" y="9"/>
                    <a:pt x="2" y="3"/>
                    <a:pt x="2" y="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49" name="Freeform 65"/>
            <p:cNvSpPr>
              <a:spLocks/>
            </p:cNvSpPr>
            <p:nvPr/>
          </p:nvSpPr>
          <p:spPr bwMode="auto">
            <a:xfrm>
              <a:off x="2841" y="1791"/>
              <a:ext cx="6" cy="6"/>
            </a:xfrm>
            <a:custGeom>
              <a:avLst/>
              <a:gdLst>
                <a:gd name="T0" fmla="*/ 0 w 15"/>
                <a:gd name="T1" fmla="*/ 0 h 16"/>
                <a:gd name="T2" fmla="*/ 0 w 15"/>
                <a:gd name="T3" fmla="*/ 0 h 16"/>
                <a:gd name="T4" fmla="*/ 0 w 15"/>
                <a:gd name="T5" fmla="*/ 0 h 16"/>
                <a:gd name="T6" fmla="*/ 0 w 15"/>
                <a:gd name="T7" fmla="*/ 0 h 16"/>
                <a:gd name="T8" fmla="*/ 0 w 15"/>
                <a:gd name="T9" fmla="*/ 0 h 16"/>
                <a:gd name="T10" fmla="*/ 0 w 15"/>
                <a:gd name="T11" fmla="*/ 0 h 16"/>
                <a:gd name="T12" fmla="*/ 0 w 15"/>
                <a:gd name="T13" fmla="*/ 0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16"/>
                <a:gd name="T23" fmla="*/ 15 w 15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16">
                  <a:moveTo>
                    <a:pt x="11" y="1"/>
                  </a:moveTo>
                  <a:cubicBezTo>
                    <a:pt x="6" y="3"/>
                    <a:pt x="0" y="11"/>
                    <a:pt x="4" y="14"/>
                  </a:cubicBezTo>
                  <a:cubicBezTo>
                    <a:pt x="8" y="16"/>
                    <a:pt x="12" y="16"/>
                    <a:pt x="12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4"/>
                    <a:pt x="15" y="9"/>
                    <a:pt x="15" y="6"/>
                  </a:cubicBezTo>
                  <a:cubicBezTo>
                    <a:pt x="15" y="4"/>
                    <a:pt x="14" y="2"/>
                    <a:pt x="13" y="0"/>
                  </a:cubicBezTo>
                  <a:cubicBezTo>
                    <a:pt x="12" y="0"/>
                    <a:pt x="12" y="1"/>
                    <a:pt x="11" y="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50" name="Freeform 66"/>
            <p:cNvSpPr>
              <a:spLocks/>
            </p:cNvSpPr>
            <p:nvPr/>
          </p:nvSpPr>
          <p:spPr bwMode="auto">
            <a:xfrm>
              <a:off x="3017" y="1772"/>
              <a:ext cx="156" cy="94"/>
            </a:xfrm>
            <a:custGeom>
              <a:avLst/>
              <a:gdLst>
                <a:gd name="T0" fmla="*/ 0 w 411"/>
                <a:gd name="T1" fmla="*/ 0 h 248"/>
                <a:gd name="T2" fmla="*/ 0 w 411"/>
                <a:gd name="T3" fmla="*/ 0 h 248"/>
                <a:gd name="T4" fmla="*/ 0 w 411"/>
                <a:gd name="T5" fmla="*/ 0 h 248"/>
                <a:gd name="T6" fmla="*/ 0 w 411"/>
                <a:gd name="T7" fmla="*/ 0 h 248"/>
                <a:gd name="T8" fmla="*/ 0 w 411"/>
                <a:gd name="T9" fmla="*/ 0 h 248"/>
                <a:gd name="T10" fmla="*/ 0 w 411"/>
                <a:gd name="T11" fmla="*/ 0 h 248"/>
                <a:gd name="T12" fmla="*/ 0 w 411"/>
                <a:gd name="T13" fmla="*/ 0 h 248"/>
                <a:gd name="T14" fmla="*/ 0 w 411"/>
                <a:gd name="T15" fmla="*/ 0 h 248"/>
                <a:gd name="T16" fmla="*/ 0 w 411"/>
                <a:gd name="T17" fmla="*/ 0 h 248"/>
                <a:gd name="T18" fmla="*/ 0 w 411"/>
                <a:gd name="T19" fmla="*/ 0 h 248"/>
                <a:gd name="T20" fmla="*/ 0 w 411"/>
                <a:gd name="T21" fmla="*/ 0 h 248"/>
                <a:gd name="T22" fmla="*/ 0 w 411"/>
                <a:gd name="T23" fmla="*/ 0 h 248"/>
                <a:gd name="T24" fmla="*/ 0 w 411"/>
                <a:gd name="T25" fmla="*/ 0 h 248"/>
                <a:gd name="T26" fmla="*/ 0 w 411"/>
                <a:gd name="T27" fmla="*/ 0 h 248"/>
                <a:gd name="T28" fmla="*/ 0 w 411"/>
                <a:gd name="T29" fmla="*/ 0 h 248"/>
                <a:gd name="T30" fmla="*/ 0 w 411"/>
                <a:gd name="T31" fmla="*/ 0 h 248"/>
                <a:gd name="T32" fmla="*/ 0 w 411"/>
                <a:gd name="T33" fmla="*/ 0 h 248"/>
                <a:gd name="T34" fmla="*/ 0 w 411"/>
                <a:gd name="T35" fmla="*/ 0 h 248"/>
                <a:gd name="T36" fmla="*/ 0 w 411"/>
                <a:gd name="T37" fmla="*/ 0 h 248"/>
                <a:gd name="T38" fmla="*/ 0 w 411"/>
                <a:gd name="T39" fmla="*/ 0 h 248"/>
                <a:gd name="T40" fmla="*/ 0 w 411"/>
                <a:gd name="T41" fmla="*/ 0 h 248"/>
                <a:gd name="T42" fmla="*/ 0 w 411"/>
                <a:gd name="T43" fmla="*/ 0 h 248"/>
                <a:gd name="T44" fmla="*/ 0 w 411"/>
                <a:gd name="T45" fmla="*/ 0 h 248"/>
                <a:gd name="T46" fmla="*/ 0 w 411"/>
                <a:gd name="T47" fmla="*/ 0 h 248"/>
                <a:gd name="T48" fmla="*/ 0 w 411"/>
                <a:gd name="T49" fmla="*/ 0 h 248"/>
                <a:gd name="T50" fmla="*/ 0 w 411"/>
                <a:gd name="T51" fmla="*/ 0 h 248"/>
                <a:gd name="T52" fmla="*/ 0 w 411"/>
                <a:gd name="T53" fmla="*/ 0 h 248"/>
                <a:gd name="T54" fmla="*/ 0 w 411"/>
                <a:gd name="T55" fmla="*/ 0 h 248"/>
                <a:gd name="T56" fmla="*/ 0 w 411"/>
                <a:gd name="T57" fmla="*/ 0 h 248"/>
                <a:gd name="T58" fmla="*/ 0 w 411"/>
                <a:gd name="T59" fmla="*/ 0 h 248"/>
                <a:gd name="T60" fmla="*/ 0 w 411"/>
                <a:gd name="T61" fmla="*/ 0 h 248"/>
                <a:gd name="T62" fmla="*/ 0 w 411"/>
                <a:gd name="T63" fmla="*/ 0 h 248"/>
                <a:gd name="T64" fmla="*/ 0 w 411"/>
                <a:gd name="T65" fmla="*/ 0 h 248"/>
                <a:gd name="T66" fmla="*/ 0 w 411"/>
                <a:gd name="T67" fmla="*/ 0 h 248"/>
                <a:gd name="T68" fmla="*/ 0 w 411"/>
                <a:gd name="T69" fmla="*/ 0 h 248"/>
                <a:gd name="T70" fmla="*/ 0 w 411"/>
                <a:gd name="T71" fmla="*/ 0 h 248"/>
                <a:gd name="T72" fmla="*/ 0 w 411"/>
                <a:gd name="T73" fmla="*/ 0 h 248"/>
                <a:gd name="T74" fmla="*/ 0 w 411"/>
                <a:gd name="T75" fmla="*/ 0 h 24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11"/>
                <a:gd name="T115" fmla="*/ 0 h 248"/>
                <a:gd name="T116" fmla="*/ 411 w 411"/>
                <a:gd name="T117" fmla="*/ 248 h 24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11" h="248">
                  <a:moveTo>
                    <a:pt x="341" y="240"/>
                  </a:moveTo>
                  <a:cubicBezTo>
                    <a:pt x="344" y="242"/>
                    <a:pt x="353" y="242"/>
                    <a:pt x="360" y="241"/>
                  </a:cubicBezTo>
                  <a:cubicBezTo>
                    <a:pt x="358" y="230"/>
                    <a:pt x="359" y="216"/>
                    <a:pt x="364" y="209"/>
                  </a:cubicBezTo>
                  <a:cubicBezTo>
                    <a:pt x="373" y="197"/>
                    <a:pt x="379" y="187"/>
                    <a:pt x="379" y="187"/>
                  </a:cubicBezTo>
                  <a:cubicBezTo>
                    <a:pt x="379" y="187"/>
                    <a:pt x="411" y="197"/>
                    <a:pt x="407" y="174"/>
                  </a:cubicBezTo>
                  <a:cubicBezTo>
                    <a:pt x="404" y="158"/>
                    <a:pt x="399" y="149"/>
                    <a:pt x="396" y="146"/>
                  </a:cubicBezTo>
                  <a:cubicBezTo>
                    <a:pt x="395" y="148"/>
                    <a:pt x="391" y="152"/>
                    <a:pt x="382" y="151"/>
                  </a:cubicBezTo>
                  <a:cubicBezTo>
                    <a:pt x="370" y="150"/>
                    <a:pt x="374" y="164"/>
                    <a:pt x="353" y="161"/>
                  </a:cubicBezTo>
                  <a:cubicBezTo>
                    <a:pt x="332" y="158"/>
                    <a:pt x="336" y="135"/>
                    <a:pt x="336" y="135"/>
                  </a:cubicBezTo>
                  <a:cubicBezTo>
                    <a:pt x="336" y="135"/>
                    <a:pt x="330" y="128"/>
                    <a:pt x="330" y="121"/>
                  </a:cubicBezTo>
                  <a:cubicBezTo>
                    <a:pt x="330" y="114"/>
                    <a:pt x="337" y="101"/>
                    <a:pt x="337" y="101"/>
                  </a:cubicBezTo>
                  <a:cubicBezTo>
                    <a:pt x="332" y="98"/>
                    <a:pt x="332" y="98"/>
                    <a:pt x="332" y="98"/>
                  </a:cubicBezTo>
                  <a:cubicBezTo>
                    <a:pt x="332" y="98"/>
                    <a:pt x="335" y="85"/>
                    <a:pt x="334" y="76"/>
                  </a:cubicBezTo>
                  <a:cubicBezTo>
                    <a:pt x="333" y="67"/>
                    <a:pt x="317" y="66"/>
                    <a:pt x="317" y="66"/>
                  </a:cubicBezTo>
                  <a:cubicBezTo>
                    <a:pt x="315" y="56"/>
                    <a:pt x="315" y="56"/>
                    <a:pt x="315" y="56"/>
                  </a:cubicBezTo>
                  <a:cubicBezTo>
                    <a:pt x="307" y="55"/>
                    <a:pt x="307" y="55"/>
                    <a:pt x="307" y="55"/>
                  </a:cubicBezTo>
                  <a:cubicBezTo>
                    <a:pt x="301" y="41"/>
                    <a:pt x="301" y="41"/>
                    <a:pt x="301" y="41"/>
                  </a:cubicBezTo>
                  <a:cubicBezTo>
                    <a:pt x="286" y="32"/>
                    <a:pt x="286" y="32"/>
                    <a:pt x="286" y="32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0" y="6"/>
                    <a:pt x="263" y="3"/>
                  </a:cubicBezTo>
                  <a:cubicBezTo>
                    <a:pt x="246" y="0"/>
                    <a:pt x="248" y="18"/>
                    <a:pt x="238" y="18"/>
                  </a:cubicBezTo>
                  <a:cubicBezTo>
                    <a:pt x="228" y="18"/>
                    <a:pt x="225" y="17"/>
                    <a:pt x="225" y="17"/>
                  </a:cubicBezTo>
                  <a:cubicBezTo>
                    <a:pt x="221" y="24"/>
                    <a:pt x="221" y="24"/>
                    <a:pt x="221" y="24"/>
                  </a:cubicBezTo>
                  <a:cubicBezTo>
                    <a:pt x="204" y="21"/>
                    <a:pt x="204" y="21"/>
                    <a:pt x="204" y="21"/>
                  </a:cubicBezTo>
                  <a:cubicBezTo>
                    <a:pt x="204" y="21"/>
                    <a:pt x="204" y="30"/>
                    <a:pt x="194" y="33"/>
                  </a:cubicBezTo>
                  <a:cubicBezTo>
                    <a:pt x="184" y="36"/>
                    <a:pt x="178" y="17"/>
                    <a:pt x="172" y="16"/>
                  </a:cubicBezTo>
                  <a:cubicBezTo>
                    <a:pt x="166" y="15"/>
                    <a:pt x="151" y="23"/>
                    <a:pt x="151" y="23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29" y="21"/>
                    <a:pt x="127" y="14"/>
                    <a:pt x="123" y="14"/>
                  </a:cubicBezTo>
                  <a:cubicBezTo>
                    <a:pt x="119" y="14"/>
                    <a:pt x="110" y="14"/>
                    <a:pt x="110" y="14"/>
                  </a:cubicBezTo>
                  <a:cubicBezTo>
                    <a:pt x="110" y="14"/>
                    <a:pt x="100" y="27"/>
                    <a:pt x="90" y="28"/>
                  </a:cubicBezTo>
                  <a:cubicBezTo>
                    <a:pt x="80" y="29"/>
                    <a:pt x="71" y="29"/>
                    <a:pt x="70" y="35"/>
                  </a:cubicBezTo>
                  <a:cubicBezTo>
                    <a:pt x="69" y="41"/>
                    <a:pt x="69" y="53"/>
                    <a:pt x="69" y="53"/>
                  </a:cubicBezTo>
                  <a:cubicBezTo>
                    <a:pt x="69" y="53"/>
                    <a:pt x="72" y="65"/>
                    <a:pt x="62" y="70"/>
                  </a:cubicBezTo>
                  <a:cubicBezTo>
                    <a:pt x="52" y="75"/>
                    <a:pt x="46" y="83"/>
                    <a:pt x="46" y="83"/>
                  </a:cubicBezTo>
                  <a:cubicBezTo>
                    <a:pt x="46" y="83"/>
                    <a:pt x="51" y="91"/>
                    <a:pt x="45" y="97"/>
                  </a:cubicBezTo>
                  <a:cubicBezTo>
                    <a:pt x="39" y="103"/>
                    <a:pt x="29" y="107"/>
                    <a:pt x="29" y="107"/>
                  </a:cubicBezTo>
                  <a:cubicBezTo>
                    <a:pt x="18" y="105"/>
                    <a:pt x="18" y="105"/>
                    <a:pt x="18" y="105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1" y="119"/>
                    <a:pt x="1" y="119"/>
                    <a:pt x="1" y="119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22" y="131"/>
                    <a:pt x="22" y="131"/>
                    <a:pt x="22" y="131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4"/>
                    <a:pt x="36" y="165"/>
                    <a:pt x="38" y="160"/>
                  </a:cubicBezTo>
                  <a:cubicBezTo>
                    <a:pt x="40" y="155"/>
                    <a:pt x="52" y="156"/>
                    <a:pt x="54" y="162"/>
                  </a:cubicBezTo>
                  <a:cubicBezTo>
                    <a:pt x="56" y="168"/>
                    <a:pt x="51" y="177"/>
                    <a:pt x="51" y="177"/>
                  </a:cubicBezTo>
                  <a:cubicBezTo>
                    <a:pt x="56" y="188"/>
                    <a:pt x="56" y="188"/>
                    <a:pt x="56" y="188"/>
                  </a:cubicBezTo>
                  <a:cubicBezTo>
                    <a:pt x="72" y="190"/>
                    <a:pt x="72" y="190"/>
                    <a:pt x="72" y="190"/>
                  </a:cubicBezTo>
                  <a:cubicBezTo>
                    <a:pt x="78" y="197"/>
                    <a:pt x="78" y="197"/>
                    <a:pt x="78" y="197"/>
                  </a:cubicBezTo>
                  <a:cubicBezTo>
                    <a:pt x="94" y="190"/>
                    <a:pt x="94" y="190"/>
                    <a:pt x="94" y="190"/>
                  </a:cubicBezTo>
                  <a:cubicBezTo>
                    <a:pt x="110" y="194"/>
                    <a:pt x="110" y="194"/>
                    <a:pt x="110" y="194"/>
                  </a:cubicBezTo>
                  <a:cubicBezTo>
                    <a:pt x="107" y="200"/>
                    <a:pt x="107" y="200"/>
                    <a:pt x="107" y="200"/>
                  </a:cubicBezTo>
                  <a:cubicBezTo>
                    <a:pt x="100" y="208"/>
                    <a:pt x="100" y="208"/>
                    <a:pt x="100" y="208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6" y="218"/>
                    <a:pt x="106" y="218"/>
                    <a:pt x="106" y="218"/>
                  </a:cubicBezTo>
                  <a:cubicBezTo>
                    <a:pt x="113" y="219"/>
                    <a:pt x="113" y="219"/>
                    <a:pt x="113" y="219"/>
                  </a:cubicBezTo>
                  <a:cubicBezTo>
                    <a:pt x="113" y="219"/>
                    <a:pt x="123" y="219"/>
                    <a:pt x="125" y="223"/>
                  </a:cubicBezTo>
                  <a:cubicBezTo>
                    <a:pt x="127" y="227"/>
                    <a:pt x="118" y="232"/>
                    <a:pt x="118" y="236"/>
                  </a:cubicBezTo>
                  <a:cubicBezTo>
                    <a:pt x="118" y="240"/>
                    <a:pt x="135" y="239"/>
                    <a:pt x="135" y="239"/>
                  </a:cubicBezTo>
                  <a:cubicBezTo>
                    <a:pt x="142" y="232"/>
                    <a:pt x="142" y="232"/>
                    <a:pt x="142" y="232"/>
                  </a:cubicBezTo>
                  <a:cubicBezTo>
                    <a:pt x="158" y="239"/>
                    <a:pt x="158" y="239"/>
                    <a:pt x="158" y="239"/>
                  </a:cubicBezTo>
                  <a:cubicBezTo>
                    <a:pt x="158" y="239"/>
                    <a:pt x="167" y="244"/>
                    <a:pt x="180" y="244"/>
                  </a:cubicBezTo>
                  <a:cubicBezTo>
                    <a:pt x="193" y="244"/>
                    <a:pt x="188" y="235"/>
                    <a:pt x="188" y="235"/>
                  </a:cubicBezTo>
                  <a:cubicBezTo>
                    <a:pt x="201" y="240"/>
                    <a:pt x="201" y="240"/>
                    <a:pt x="201" y="240"/>
                  </a:cubicBezTo>
                  <a:cubicBezTo>
                    <a:pt x="214" y="241"/>
                    <a:pt x="214" y="241"/>
                    <a:pt x="214" y="241"/>
                  </a:cubicBezTo>
                  <a:cubicBezTo>
                    <a:pt x="214" y="241"/>
                    <a:pt x="225" y="246"/>
                    <a:pt x="236" y="247"/>
                  </a:cubicBezTo>
                  <a:cubicBezTo>
                    <a:pt x="247" y="248"/>
                    <a:pt x="246" y="232"/>
                    <a:pt x="253" y="230"/>
                  </a:cubicBezTo>
                  <a:cubicBezTo>
                    <a:pt x="260" y="228"/>
                    <a:pt x="266" y="229"/>
                    <a:pt x="266" y="229"/>
                  </a:cubicBezTo>
                  <a:cubicBezTo>
                    <a:pt x="265" y="224"/>
                    <a:pt x="265" y="224"/>
                    <a:pt x="265" y="224"/>
                  </a:cubicBezTo>
                  <a:cubicBezTo>
                    <a:pt x="284" y="226"/>
                    <a:pt x="284" y="226"/>
                    <a:pt x="284" y="226"/>
                  </a:cubicBezTo>
                  <a:cubicBezTo>
                    <a:pt x="284" y="226"/>
                    <a:pt x="281" y="220"/>
                    <a:pt x="290" y="220"/>
                  </a:cubicBezTo>
                  <a:cubicBezTo>
                    <a:pt x="299" y="220"/>
                    <a:pt x="306" y="228"/>
                    <a:pt x="315" y="228"/>
                  </a:cubicBezTo>
                  <a:cubicBezTo>
                    <a:pt x="324" y="228"/>
                    <a:pt x="333" y="230"/>
                    <a:pt x="333" y="230"/>
                  </a:cubicBezTo>
                  <a:cubicBezTo>
                    <a:pt x="333" y="230"/>
                    <a:pt x="336" y="237"/>
                    <a:pt x="341" y="240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51" name="Freeform 67"/>
            <p:cNvSpPr>
              <a:spLocks/>
            </p:cNvSpPr>
            <p:nvPr/>
          </p:nvSpPr>
          <p:spPr bwMode="auto">
            <a:xfrm>
              <a:off x="2942" y="1832"/>
              <a:ext cx="66" cy="58"/>
            </a:xfrm>
            <a:custGeom>
              <a:avLst/>
              <a:gdLst>
                <a:gd name="T0" fmla="*/ 0 w 173"/>
                <a:gd name="T1" fmla="*/ 0 h 153"/>
                <a:gd name="T2" fmla="*/ 0 w 173"/>
                <a:gd name="T3" fmla="*/ 0 h 153"/>
                <a:gd name="T4" fmla="*/ 0 w 173"/>
                <a:gd name="T5" fmla="*/ 0 h 153"/>
                <a:gd name="T6" fmla="*/ 0 w 173"/>
                <a:gd name="T7" fmla="*/ 0 h 153"/>
                <a:gd name="T8" fmla="*/ 0 w 173"/>
                <a:gd name="T9" fmla="*/ 0 h 153"/>
                <a:gd name="T10" fmla="*/ 0 w 173"/>
                <a:gd name="T11" fmla="*/ 0 h 153"/>
                <a:gd name="T12" fmla="*/ 0 w 173"/>
                <a:gd name="T13" fmla="*/ 0 h 153"/>
                <a:gd name="T14" fmla="*/ 0 w 173"/>
                <a:gd name="T15" fmla="*/ 0 h 153"/>
                <a:gd name="T16" fmla="*/ 0 w 173"/>
                <a:gd name="T17" fmla="*/ 0 h 153"/>
                <a:gd name="T18" fmla="*/ 0 w 173"/>
                <a:gd name="T19" fmla="*/ 0 h 153"/>
                <a:gd name="T20" fmla="*/ 0 w 173"/>
                <a:gd name="T21" fmla="*/ 0 h 153"/>
                <a:gd name="T22" fmla="*/ 0 w 173"/>
                <a:gd name="T23" fmla="*/ 0 h 153"/>
                <a:gd name="T24" fmla="*/ 0 w 173"/>
                <a:gd name="T25" fmla="*/ 0 h 153"/>
                <a:gd name="T26" fmla="*/ 0 w 173"/>
                <a:gd name="T27" fmla="*/ 0 h 153"/>
                <a:gd name="T28" fmla="*/ 0 w 173"/>
                <a:gd name="T29" fmla="*/ 0 h 153"/>
                <a:gd name="T30" fmla="*/ 0 w 173"/>
                <a:gd name="T31" fmla="*/ 0 h 153"/>
                <a:gd name="T32" fmla="*/ 0 w 173"/>
                <a:gd name="T33" fmla="*/ 0 h 153"/>
                <a:gd name="T34" fmla="*/ 0 w 173"/>
                <a:gd name="T35" fmla="*/ 0 h 153"/>
                <a:gd name="T36" fmla="*/ 0 w 173"/>
                <a:gd name="T37" fmla="*/ 0 h 153"/>
                <a:gd name="T38" fmla="*/ 0 w 173"/>
                <a:gd name="T39" fmla="*/ 0 h 153"/>
                <a:gd name="T40" fmla="*/ 0 w 173"/>
                <a:gd name="T41" fmla="*/ 0 h 153"/>
                <a:gd name="T42" fmla="*/ 0 w 173"/>
                <a:gd name="T43" fmla="*/ 0 h 153"/>
                <a:gd name="T44" fmla="*/ 0 w 173"/>
                <a:gd name="T45" fmla="*/ 0 h 153"/>
                <a:gd name="T46" fmla="*/ 0 w 173"/>
                <a:gd name="T47" fmla="*/ 0 h 153"/>
                <a:gd name="T48" fmla="*/ 0 w 173"/>
                <a:gd name="T49" fmla="*/ 0 h 153"/>
                <a:gd name="T50" fmla="*/ 0 w 173"/>
                <a:gd name="T51" fmla="*/ 0 h 153"/>
                <a:gd name="T52" fmla="*/ 0 w 173"/>
                <a:gd name="T53" fmla="*/ 0 h 153"/>
                <a:gd name="T54" fmla="*/ 0 w 173"/>
                <a:gd name="T55" fmla="*/ 0 h 153"/>
                <a:gd name="T56" fmla="*/ 0 w 173"/>
                <a:gd name="T57" fmla="*/ 0 h 153"/>
                <a:gd name="T58" fmla="*/ 0 w 173"/>
                <a:gd name="T59" fmla="*/ 0 h 153"/>
                <a:gd name="T60" fmla="*/ 0 w 173"/>
                <a:gd name="T61" fmla="*/ 0 h 153"/>
                <a:gd name="T62" fmla="*/ 0 w 173"/>
                <a:gd name="T63" fmla="*/ 0 h 153"/>
                <a:gd name="T64" fmla="*/ 0 w 173"/>
                <a:gd name="T65" fmla="*/ 0 h 153"/>
                <a:gd name="T66" fmla="*/ 0 w 173"/>
                <a:gd name="T67" fmla="*/ 0 h 153"/>
                <a:gd name="T68" fmla="*/ 0 w 173"/>
                <a:gd name="T69" fmla="*/ 0 h 153"/>
                <a:gd name="T70" fmla="*/ 0 w 173"/>
                <a:gd name="T71" fmla="*/ 0 h 153"/>
                <a:gd name="T72" fmla="*/ 0 w 173"/>
                <a:gd name="T73" fmla="*/ 0 h 153"/>
                <a:gd name="T74" fmla="*/ 0 w 173"/>
                <a:gd name="T75" fmla="*/ 0 h 153"/>
                <a:gd name="T76" fmla="*/ 0 w 173"/>
                <a:gd name="T77" fmla="*/ 0 h 153"/>
                <a:gd name="T78" fmla="*/ 0 w 173"/>
                <a:gd name="T79" fmla="*/ 0 h 1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73"/>
                <a:gd name="T121" fmla="*/ 0 h 153"/>
                <a:gd name="T122" fmla="*/ 173 w 173"/>
                <a:gd name="T123" fmla="*/ 153 h 1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73" h="153">
                  <a:moveTo>
                    <a:pt x="162" y="51"/>
                  </a:moveTo>
                  <a:cubicBezTo>
                    <a:pt x="155" y="49"/>
                    <a:pt x="151" y="52"/>
                    <a:pt x="151" y="52"/>
                  </a:cubicBezTo>
                  <a:cubicBezTo>
                    <a:pt x="151" y="41"/>
                    <a:pt x="151" y="41"/>
                    <a:pt x="151" y="41"/>
                  </a:cubicBezTo>
                  <a:cubicBezTo>
                    <a:pt x="151" y="41"/>
                    <a:pt x="163" y="27"/>
                    <a:pt x="163" y="22"/>
                  </a:cubicBezTo>
                  <a:cubicBezTo>
                    <a:pt x="163" y="17"/>
                    <a:pt x="144" y="23"/>
                    <a:pt x="144" y="23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8"/>
                    <a:pt x="115" y="8"/>
                    <a:pt x="109" y="7"/>
                  </a:cubicBezTo>
                  <a:cubicBezTo>
                    <a:pt x="103" y="6"/>
                    <a:pt x="96" y="8"/>
                    <a:pt x="93" y="8"/>
                  </a:cubicBezTo>
                  <a:cubicBezTo>
                    <a:pt x="90" y="8"/>
                    <a:pt x="80" y="5"/>
                    <a:pt x="80" y="5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8"/>
                    <a:pt x="16" y="0"/>
                    <a:pt x="12" y="1"/>
                  </a:cubicBezTo>
                  <a:cubicBezTo>
                    <a:pt x="8" y="2"/>
                    <a:pt x="9" y="15"/>
                    <a:pt x="9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23" y="39"/>
                    <a:pt x="26" y="43"/>
                  </a:cubicBezTo>
                  <a:cubicBezTo>
                    <a:pt x="29" y="47"/>
                    <a:pt x="26" y="57"/>
                    <a:pt x="26" y="57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51" y="84"/>
                    <a:pt x="75" y="99"/>
                  </a:cubicBezTo>
                  <a:cubicBezTo>
                    <a:pt x="90" y="108"/>
                    <a:pt x="86" y="116"/>
                    <a:pt x="81" y="120"/>
                  </a:cubicBezTo>
                  <a:cubicBezTo>
                    <a:pt x="89" y="121"/>
                    <a:pt x="89" y="121"/>
                    <a:pt x="89" y="121"/>
                  </a:cubicBezTo>
                  <a:cubicBezTo>
                    <a:pt x="89" y="121"/>
                    <a:pt x="116" y="148"/>
                    <a:pt x="125" y="153"/>
                  </a:cubicBezTo>
                  <a:cubicBezTo>
                    <a:pt x="138" y="137"/>
                    <a:pt x="138" y="137"/>
                    <a:pt x="138" y="137"/>
                  </a:cubicBezTo>
                  <a:cubicBezTo>
                    <a:pt x="138" y="137"/>
                    <a:pt x="127" y="131"/>
                    <a:pt x="124" y="128"/>
                  </a:cubicBezTo>
                  <a:cubicBezTo>
                    <a:pt x="121" y="125"/>
                    <a:pt x="125" y="118"/>
                    <a:pt x="125" y="118"/>
                  </a:cubicBezTo>
                  <a:cubicBezTo>
                    <a:pt x="130" y="118"/>
                    <a:pt x="130" y="118"/>
                    <a:pt x="130" y="118"/>
                  </a:cubicBezTo>
                  <a:cubicBezTo>
                    <a:pt x="130" y="118"/>
                    <a:pt x="136" y="107"/>
                    <a:pt x="139" y="103"/>
                  </a:cubicBezTo>
                  <a:cubicBezTo>
                    <a:pt x="142" y="99"/>
                    <a:pt x="150" y="104"/>
                    <a:pt x="150" y="104"/>
                  </a:cubicBezTo>
                  <a:cubicBezTo>
                    <a:pt x="150" y="89"/>
                    <a:pt x="150" y="89"/>
                    <a:pt x="150" y="89"/>
                  </a:cubicBezTo>
                  <a:cubicBezTo>
                    <a:pt x="150" y="89"/>
                    <a:pt x="169" y="93"/>
                    <a:pt x="171" y="86"/>
                  </a:cubicBezTo>
                  <a:cubicBezTo>
                    <a:pt x="173" y="79"/>
                    <a:pt x="159" y="66"/>
                    <a:pt x="159" y="66"/>
                  </a:cubicBezTo>
                  <a:cubicBezTo>
                    <a:pt x="173" y="64"/>
                    <a:pt x="173" y="64"/>
                    <a:pt x="173" y="64"/>
                  </a:cubicBezTo>
                  <a:cubicBezTo>
                    <a:pt x="173" y="64"/>
                    <a:pt x="169" y="53"/>
                    <a:pt x="162" y="5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52" name="Freeform 68"/>
            <p:cNvSpPr>
              <a:spLocks/>
            </p:cNvSpPr>
            <p:nvPr/>
          </p:nvSpPr>
          <p:spPr bwMode="auto">
            <a:xfrm>
              <a:off x="2910" y="1807"/>
              <a:ext cx="94" cy="71"/>
            </a:xfrm>
            <a:custGeom>
              <a:avLst/>
              <a:gdLst>
                <a:gd name="T0" fmla="*/ 0 w 246"/>
                <a:gd name="T1" fmla="*/ 0 h 186"/>
                <a:gd name="T2" fmla="*/ 0 w 246"/>
                <a:gd name="T3" fmla="*/ 0 h 186"/>
                <a:gd name="T4" fmla="*/ 0 w 246"/>
                <a:gd name="T5" fmla="*/ 0 h 186"/>
                <a:gd name="T6" fmla="*/ 0 w 246"/>
                <a:gd name="T7" fmla="*/ 0 h 186"/>
                <a:gd name="T8" fmla="*/ 0 w 246"/>
                <a:gd name="T9" fmla="*/ 0 h 186"/>
                <a:gd name="T10" fmla="*/ 0 w 246"/>
                <a:gd name="T11" fmla="*/ 0 h 186"/>
                <a:gd name="T12" fmla="*/ 0 w 246"/>
                <a:gd name="T13" fmla="*/ 0 h 186"/>
                <a:gd name="T14" fmla="*/ 0 w 246"/>
                <a:gd name="T15" fmla="*/ 0 h 186"/>
                <a:gd name="T16" fmla="*/ 0 w 246"/>
                <a:gd name="T17" fmla="*/ 0 h 186"/>
                <a:gd name="T18" fmla="*/ 0 w 246"/>
                <a:gd name="T19" fmla="*/ 0 h 186"/>
                <a:gd name="T20" fmla="*/ 0 w 246"/>
                <a:gd name="T21" fmla="*/ 0 h 186"/>
                <a:gd name="T22" fmla="*/ 0 w 246"/>
                <a:gd name="T23" fmla="*/ 0 h 186"/>
                <a:gd name="T24" fmla="*/ 0 w 246"/>
                <a:gd name="T25" fmla="*/ 0 h 186"/>
                <a:gd name="T26" fmla="*/ 0 w 246"/>
                <a:gd name="T27" fmla="*/ 0 h 186"/>
                <a:gd name="T28" fmla="*/ 0 w 246"/>
                <a:gd name="T29" fmla="*/ 0 h 186"/>
                <a:gd name="T30" fmla="*/ 0 w 246"/>
                <a:gd name="T31" fmla="*/ 0 h 186"/>
                <a:gd name="T32" fmla="*/ 0 w 246"/>
                <a:gd name="T33" fmla="*/ 0 h 186"/>
                <a:gd name="T34" fmla="*/ 0 w 246"/>
                <a:gd name="T35" fmla="*/ 0 h 186"/>
                <a:gd name="T36" fmla="*/ 0 w 246"/>
                <a:gd name="T37" fmla="*/ 0 h 186"/>
                <a:gd name="T38" fmla="*/ 0 w 246"/>
                <a:gd name="T39" fmla="*/ 0 h 186"/>
                <a:gd name="T40" fmla="*/ 0 w 246"/>
                <a:gd name="T41" fmla="*/ 0 h 186"/>
                <a:gd name="T42" fmla="*/ 0 w 246"/>
                <a:gd name="T43" fmla="*/ 0 h 186"/>
                <a:gd name="T44" fmla="*/ 0 w 246"/>
                <a:gd name="T45" fmla="*/ 0 h 186"/>
                <a:gd name="T46" fmla="*/ 0 w 246"/>
                <a:gd name="T47" fmla="*/ 0 h 186"/>
                <a:gd name="T48" fmla="*/ 0 w 246"/>
                <a:gd name="T49" fmla="*/ 0 h 186"/>
                <a:gd name="T50" fmla="*/ 0 w 246"/>
                <a:gd name="T51" fmla="*/ 0 h 186"/>
                <a:gd name="T52" fmla="*/ 0 w 246"/>
                <a:gd name="T53" fmla="*/ 0 h 186"/>
                <a:gd name="T54" fmla="*/ 0 w 246"/>
                <a:gd name="T55" fmla="*/ 0 h 186"/>
                <a:gd name="T56" fmla="*/ 0 w 246"/>
                <a:gd name="T57" fmla="*/ 0 h 186"/>
                <a:gd name="T58" fmla="*/ 0 w 246"/>
                <a:gd name="T59" fmla="*/ 0 h 186"/>
                <a:gd name="T60" fmla="*/ 0 w 246"/>
                <a:gd name="T61" fmla="*/ 0 h 186"/>
                <a:gd name="T62" fmla="*/ 0 w 246"/>
                <a:gd name="T63" fmla="*/ 0 h 18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46"/>
                <a:gd name="T97" fmla="*/ 0 h 186"/>
                <a:gd name="T98" fmla="*/ 246 w 246"/>
                <a:gd name="T99" fmla="*/ 186 h 18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46" h="186">
                  <a:moveTo>
                    <a:pt x="230" y="84"/>
                  </a:moveTo>
                  <a:cubicBezTo>
                    <a:pt x="232" y="77"/>
                    <a:pt x="232" y="77"/>
                    <a:pt x="232" y="77"/>
                  </a:cubicBezTo>
                  <a:cubicBezTo>
                    <a:pt x="232" y="77"/>
                    <a:pt x="246" y="74"/>
                    <a:pt x="245" y="71"/>
                  </a:cubicBezTo>
                  <a:cubicBezTo>
                    <a:pt x="244" y="68"/>
                    <a:pt x="228" y="65"/>
                    <a:pt x="228" y="65"/>
                  </a:cubicBezTo>
                  <a:cubicBezTo>
                    <a:pt x="231" y="53"/>
                    <a:pt x="231" y="53"/>
                    <a:pt x="231" y="53"/>
                  </a:cubicBezTo>
                  <a:cubicBezTo>
                    <a:pt x="226" y="52"/>
                    <a:pt x="226" y="52"/>
                    <a:pt x="226" y="52"/>
                  </a:cubicBezTo>
                  <a:cubicBezTo>
                    <a:pt x="222" y="34"/>
                    <a:pt x="222" y="34"/>
                    <a:pt x="222" y="34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1" y="38"/>
                    <a:pt x="211" y="38"/>
                    <a:pt x="211" y="38"/>
                  </a:cubicBezTo>
                  <a:cubicBezTo>
                    <a:pt x="183" y="41"/>
                    <a:pt x="183" y="41"/>
                    <a:pt x="183" y="41"/>
                  </a:cubicBezTo>
                  <a:cubicBezTo>
                    <a:pt x="180" y="34"/>
                    <a:pt x="180" y="34"/>
                    <a:pt x="180" y="34"/>
                  </a:cubicBezTo>
                  <a:cubicBezTo>
                    <a:pt x="168" y="34"/>
                    <a:pt x="168" y="34"/>
                    <a:pt x="168" y="34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41" y="16"/>
                    <a:pt x="139" y="13"/>
                  </a:cubicBezTo>
                  <a:cubicBezTo>
                    <a:pt x="137" y="10"/>
                    <a:pt x="125" y="0"/>
                    <a:pt x="125" y="0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2" y="2"/>
                    <a:pt x="115" y="6"/>
                    <a:pt x="109" y="10"/>
                  </a:cubicBezTo>
                  <a:cubicBezTo>
                    <a:pt x="103" y="14"/>
                    <a:pt x="93" y="14"/>
                    <a:pt x="93" y="14"/>
                  </a:cubicBezTo>
                  <a:cubicBezTo>
                    <a:pt x="93" y="14"/>
                    <a:pt x="84" y="14"/>
                    <a:pt x="84" y="18"/>
                  </a:cubicBezTo>
                  <a:cubicBezTo>
                    <a:pt x="84" y="22"/>
                    <a:pt x="87" y="31"/>
                    <a:pt x="87" y="31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4" y="51"/>
                    <a:pt x="69" y="53"/>
                  </a:cubicBezTo>
                  <a:cubicBezTo>
                    <a:pt x="64" y="55"/>
                    <a:pt x="59" y="53"/>
                    <a:pt x="59" y="53"/>
                  </a:cubicBezTo>
                  <a:cubicBezTo>
                    <a:pt x="59" y="53"/>
                    <a:pt x="52" y="54"/>
                    <a:pt x="46" y="53"/>
                  </a:cubicBezTo>
                  <a:cubicBezTo>
                    <a:pt x="40" y="52"/>
                    <a:pt x="40" y="45"/>
                    <a:pt x="40" y="45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3" y="62"/>
                    <a:pt x="1" y="67"/>
                    <a:pt x="1" y="67"/>
                  </a:cubicBezTo>
                  <a:cubicBezTo>
                    <a:pt x="1" y="67"/>
                    <a:pt x="0" y="97"/>
                    <a:pt x="8" y="88"/>
                  </a:cubicBezTo>
                  <a:cubicBezTo>
                    <a:pt x="16" y="79"/>
                    <a:pt x="27" y="64"/>
                    <a:pt x="31" y="70"/>
                  </a:cubicBezTo>
                  <a:cubicBezTo>
                    <a:pt x="35" y="76"/>
                    <a:pt x="35" y="91"/>
                    <a:pt x="35" y="91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48" y="107"/>
                    <a:pt x="60" y="111"/>
                  </a:cubicBezTo>
                  <a:cubicBezTo>
                    <a:pt x="72" y="115"/>
                    <a:pt x="68" y="123"/>
                    <a:pt x="68" y="123"/>
                  </a:cubicBezTo>
                  <a:cubicBezTo>
                    <a:pt x="97" y="144"/>
                    <a:pt x="97" y="144"/>
                    <a:pt x="97" y="144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125" y="162"/>
                    <a:pt x="125" y="162"/>
                    <a:pt x="125" y="162"/>
                  </a:cubicBezTo>
                  <a:cubicBezTo>
                    <a:pt x="125" y="162"/>
                    <a:pt x="142" y="163"/>
                    <a:pt x="146" y="171"/>
                  </a:cubicBezTo>
                  <a:cubicBezTo>
                    <a:pt x="146" y="171"/>
                    <a:pt x="142" y="180"/>
                    <a:pt x="148" y="184"/>
                  </a:cubicBezTo>
                  <a:cubicBezTo>
                    <a:pt x="165" y="186"/>
                    <a:pt x="165" y="186"/>
                    <a:pt x="165" y="186"/>
                  </a:cubicBezTo>
                  <a:cubicBezTo>
                    <a:pt x="170" y="182"/>
                    <a:pt x="174" y="174"/>
                    <a:pt x="159" y="165"/>
                  </a:cubicBezTo>
                  <a:cubicBezTo>
                    <a:pt x="135" y="150"/>
                    <a:pt x="131" y="146"/>
                    <a:pt x="131" y="146"/>
                  </a:cubicBezTo>
                  <a:cubicBezTo>
                    <a:pt x="121" y="126"/>
                    <a:pt x="121" y="126"/>
                    <a:pt x="121" y="126"/>
                  </a:cubicBezTo>
                  <a:cubicBezTo>
                    <a:pt x="110" y="123"/>
                    <a:pt x="110" y="123"/>
                    <a:pt x="110" y="123"/>
                  </a:cubicBezTo>
                  <a:cubicBezTo>
                    <a:pt x="110" y="123"/>
                    <a:pt x="113" y="113"/>
                    <a:pt x="110" y="109"/>
                  </a:cubicBezTo>
                  <a:cubicBezTo>
                    <a:pt x="107" y="105"/>
                    <a:pt x="102" y="105"/>
                    <a:pt x="102" y="105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84" y="86"/>
                    <a:pt x="84" y="86"/>
                    <a:pt x="84" y="86"/>
                  </a:cubicBezTo>
                  <a:cubicBezTo>
                    <a:pt x="93" y="81"/>
                    <a:pt x="93" y="81"/>
                    <a:pt x="93" y="81"/>
                  </a:cubicBezTo>
                  <a:cubicBezTo>
                    <a:pt x="93" y="81"/>
                    <a:pt x="92" y="68"/>
                    <a:pt x="96" y="67"/>
                  </a:cubicBezTo>
                  <a:cubicBezTo>
                    <a:pt x="100" y="66"/>
                    <a:pt x="112" y="74"/>
                    <a:pt x="112" y="74"/>
                  </a:cubicBezTo>
                  <a:cubicBezTo>
                    <a:pt x="127" y="70"/>
                    <a:pt x="127" y="70"/>
                    <a:pt x="127" y="70"/>
                  </a:cubicBezTo>
                  <a:cubicBezTo>
                    <a:pt x="142" y="68"/>
                    <a:pt x="142" y="68"/>
                    <a:pt x="142" y="68"/>
                  </a:cubicBezTo>
                  <a:cubicBezTo>
                    <a:pt x="155" y="75"/>
                    <a:pt x="155" y="75"/>
                    <a:pt x="155" y="75"/>
                  </a:cubicBezTo>
                  <a:cubicBezTo>
                    <a:pt x="164" y="71"/>
                    <a:pt x="164" y="71"/>
                    <a:pt x="164" y="71"/>
                  </a:cubicBezTo>
                  <a:cubicBezTo>
                    <a:pt x="164" y="71"/>
                    <a:pt x="174" y="74"/>
                    <a:pt x="177" y="74"/>
                  </a:cubicBezTo>
                  <a:cubicBezTo>
                    <a:pt x="180" y="74"/>
                    <a:pt x="187" y="72"/>
                    <a:pt x="193" y="73"/>
                  </a:cubicBezTo>
                  <a:cubicBezTo>
                    <a:pt x="199" y="74"/>
                    <a:pt x="210" y="74"/>
                    <a:pt x="210" y="74"/>
                  </a:cubicBezTo>
                  <a:cubicBezTo>
                    <a:pt x="220" y="85"/>
                    <a:pt x="220" y="85"/>
                    <a:pt x="220" y="85"/>
                  </a:cubicBezTo>
                  <a:lnTo>
                    <a:pt x="230" y="84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53" name="Freeform 69"/>
            <p:cNvSpPr>
              <a:spLocks/>
            </p:cNvSpPr>
            <p:nvPr/>
          </p:nvSpPr>
          <p:spPr bwMode="auto">
            <a:xfrm>
              <a:off x="2906" y="1799"/>
              <a:ext cx="52" cy="30"/>
            </a:xfrm>
            <a:custGeom>
              <a:avLst/>
              <a:gdLst>
                <a:gd name="T0" fmla="*/ 0 w 138"/>
                <a:gd name="T1" fmla="*/ 0 h 80"/>
                <a:gd name="T2" fmla="*/ 0 w 138"/>
                <a:gd name="T3" fmla="*/ 0 h 80"/>
                <a:gd name="T4" fmla="*/ 0 w 138"/>
                <a:gd name="T5" fmla="*/ 0 h 80"/>
                <a:gd name="T6" fmla="*/ 0 w 138"/>
                <a:gd name="T7" fmla="*/ 0 h 80"/>
                <a:gd name="T8" fmla="*/ 0 w 138"/>
                <a:gd name="T9" fmla="*/ 0 h 80"/>
                <a:gd name="T10" fmla="*/ 0 w 138"/>
                <a:gd name="T11" fmla="*/ 0 h 80"/>
                <a:gd name="T12" fmla="*/ 0 w 138"/>
                <a:gd name="T13" fmla="*/ 0 h 80"/>
                <a:gd name="T14" fmla="*/ 0 w 138"/>
                <a:gd name="T15" fmla="*/ 0 h 80"/>
                <a:gd name="T16" fmla="*/ 0 w 138"/>
                <a:gd name="T17" fmla="*/ 0 h 80"/>
                <a:gd name="T18" fmla="*/ 0 w 138"/>
                <a:gd name="T19" fmla="*/ 0 h 80"/>
                <a:gd name="T20" fmla="*/ 0 w 138"/>
                <a:gd name="T21" fmla="*/ 0 h 80"/>
                <a:gd name="T22" fmla="*/ 0 w 138"/>
                <a:gd name="T23" fmla="*/ 0 h 80"/>
                <a:gd name="T24" fmla="*/ 0 w 138"/>
                <a:gd name="T25" fmla="*/ 0 h 80"/>
                <a:gd name="T26" fmla="*/ 0 w 138"/>
                <a:gd name="T27" fmla="*/ 0 h 80"/>
                <a:gd name="T28" fmla="*/ 0 w 138"/>
                <a:gd name="T29" fmla="*/ 0 h 80"/>
                <a:gd name="T30" fmla="*/ 0 w 138"/>
                <a:gd name="T31" fmla="*/ 0 h 80"/>
                <a:gd name="T32" fmla="*/ 0 w 138"/>
                <a:gd name="T33" fmla="*/ 0 h 80"/>
                <a:gd name="T34" fmla="*/ 0 w 138"/>
                <a:gd name="T35" fmla="*/ 0 h 80"/>
                <a:gd name="T36" fmla="*/ 0 w 138"/>
                <a:gd name="T37" fmla="*/ 0 h 80"/>
                <a:gd name="T38" fmla="*/ 0 w 138"/>
                <a:gd name="T39" fmla="*/ 0 h 80"/>
                <a:gd name="T40" fmla="*/ 0 w 138"/>
                <a:gd name="T41" fmla="*/ 0 h 80"/>
                <a:gd name="T42" fmla="*/ 0 w 138"/>
                <a:gd name="T43" fmla="*/ 0 h 80"/>
                <a:gd name="T44" fmla="*/ 0 w 138"/>
                <a:gd name="T45" fmla="*/ 0 h 80"/>
                <a:gd name="T46" fmla="*/ 0 w 138"/>
                <a:gd name="T47" fmla="*/ 0 h 80"/>
                <a:gd name="T48" fmla="*/ 0 w 138"/>
                <a:gd name="T49" fmla="*/ 0 h 80"/>
                <a:gd name="T50" fmla="*/ 0 w 138"/>
                <a:gd name="T51" fmla="*/ 0 h 80"/>
                <a:gd name="T52" fmla="*/ 0 w 138"/>
                <a:gd name="T53" fmla="*/ 0 h 80"/>
                <a:gd name="T54" fmla="*/ 0 w 138"/>
                <a:gd name="T55" fmla="*/ 0 h 80"/>
                <a:gd name="T56" fmla="*/ 0 w 138"/>
                <a:gd name="T57" fmla="*/ 0 h 80"/>
                <a:gd name="T58" fmla="*/ 0 w 138"/>
                <a:gd name="T59" fmla="*/ 0 h 80"/>
                <a:gd name="T60" fmla="*/ 0 w 138"/>
                <a:gd name="T61" fmla="*/ 0 h 80"/>
                <a:gd name="T62" fmla="*/ 0 w 138"/>
                <a:gd name="T63" fmla="*/ 0 h 80"/>
                <a:gd name="T64" fmla="*/ 0 w 138"/>
                <a:gd name="T65" fmla="*/ 0 h 80"/>
                <a:gd name="T66" fmla="*/ 0 w 138"/>
                <a:gd name="T67" fmla="*/ 0 h 80"/>
                <a:gd name="T68" fmla="*/ 0 w 138"/>
                <a:gd name="T69" fmla="*/ 0 h 8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38"/>
                <a:gd name="T106" fmla="*/ 0 h 80"/>
                <a:gd name="T107" fmla="*/ 138 w 138"/>
                <a:gd name="T108" fmla="*/ 80 h 8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38" h="80">
                  <a:moveTo>
                    <a:pt x="18" y="80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3" y="67"/>
                    <a:pt x="53" y="74"/>
                    <a:pt x="59" y="75"/>
                  </a:cubicBezTo>
                  <a:cubicBezTo>
                    <a:pt x="65" y="76"/>
                    <a:pt x="72" y="75"/>
                    <a:pt x="72" y="75"/>
                  </a:cubicBezTo>
                  <a:cubicBezTo>
                    <a:pt x="72" y="75"/>
                    <a:pt x="77" y="77"/>
                    <a:pt x="82" y="75"/>
                  </a:cubicBezTo>
                  <a:cubicBezTo>
                    <a:pt x="87" y="73"/>
                    <a:pt x="83" y="62"/>
                    <a:pt x="83" y="62"/>
                  </a:cubicBezTo>
                  <a:cubicBezTo>
                    <a:pt x="93" y="61"/>
                    <a:pt x="93" y="61"/>
                    <a:pt x="93" y="61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100" y="53"/>
                    <a:pt x="97" y="44"/>
                    <a:pt x="97" y="40"/>
                  </a:cubicBezTo>
                  <a:cubicBezTo>
                    <a:pt x="97" y="36"/>
                    <a:pt x="106" y="36"/>
                    <a:pt x="106" y="36"/>
                  </a:cubicBezTo>
                  <a:cubicBezTo>
                    <a:pt x="106" y="36"/>
                    <a:pt x="116" y="36"/>
                    <a:pt x="122" y="32"/>
                  </a:cubicBezTo>
                  <a:cubicBezTo>
                    <a:pt x="128" y="28"/>
                    <a:pt x="125" y="24"/>
                    <a:pt x="125" y="24"/>
                  </a:cubicBezTo>
                  <a:cubicBezTo>
                    <a:pt x="138" y="22"/>
                    <a:pt x="138" y="22"/>
                    <a:pt x="138" y="22"/>
                  </a:cubicBezTo>
                  <a:cubicBezTo>
                    <a:pt x="128" y="15"/>
                    <a:pt x="128" y="15"/>
                    <a:pt x="128" y="15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5" y="8"/>
                    <a:pt x="115" y="8"/>
                    <a:pt x="115" y="8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27"/>
                    <a:pt x="50" y="27"/>
                  </a:cubicBezTo>
                  <a:cubicBezTo>
                    <a:pt x="43" y="27"/>
                    <a:pt x="35" y="25"/>
                    <a:pt x="35" y="25"/>
                  </a:cubicBezTo>
                  <a:cubicBezTo>
                    <a:pt x="35" y="25"/>
                    <a:pt x="29" y="21"/>
                    <a:pt x="26" y="21"/>
                  </a:cubicBezTo>
                  <a:cubicBezTo>
                    <a:pt x="23" y="21"/>
                    <a:pt x="14" y="25"/>
                    <a:pt x="14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4" y="30"/>
                    <a:pt x="0" y="34"/>
                    <a:pt x="0" y="34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62"/>
                    <a:pt x="26" y="66"/>
                    <a:pt x="23" y="70"/>
                  </a:cubicBezTo>
                  <a:cubicBezTo>
                    <a:pt x="22" y="72"/>
                    <a:pt x="20" y="76"/>
                    <a:pt x="18" y="80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54" name="Freeform 70"/>
            <p:cNvSpPr>
              <a:spLocks/>
            </p:cNvSpPr>
            <p:nvPr/>
          </p:nvSpPr>
          <p:spPr bwMode="auto">
            <a:xfrm>
              <a:off x="2960" y="1746"/>
              <a:ext cx="90" cy="38"/>
            </a:xfrm>
            <a:custGeom>
              <a:avLst/>
              <a:gdLst>
                <a:gd name="T0" fmla="*/ 0 w 239"/>
                <a:gd name="T1" fmla="*/ 0 h 98"/>
                <a:gd name="T2" fmla="*/ 0 w 239"/>
                <a:gd name="T3" fmla="*/ 0 h 98"/>
                <a:gd name="T4" fmla="*/ 0 w 239"/>
                <a:gd name="T5" fmla="*/ 0 h 98"/>
                <a:gd name="T6" fmla="*/ 0 w 239"/>
                <a:gd name="T7" fmla="*/ 0 h 98"/>
                <a:gd name="T8" fmla="*/ 0 w 239"/>
                <a:gd name="T9" fmla="*/ 0 h 98"/>
                <a:gd name="T10" fmla="*/ 0 w 239"/>
                <a:gd name="T11" fmla="*/ 0 h 98"/>
                <a:gd name="T12" fmla="*/ 0 w 239"/>
                <a:gd name="T13" fmla="*/ 0 h 98"/>
                <a:gd name="T14" fmla="*/ 0 w 239"/>
                <a:gd name="T15" fmla="*/ 0 h 98"/>
                <a:gd name="T16" fmla="*/ 0 w 239"/>
                <a:gd name="T17" fmla="*/ 0 h 98"/>
                <a:gd name="T18" fmla="*/ 0 w 239"/>
                <a:gd name="T19" fmla="*/ 0 h 98"/>
                <a:gd name="T20" fmla="*/ 0 w 239"/>
                <a:gd name="T21" fmla="*/ 0 h 98"/>
                <a:gd name="T22" fmla="*/ 0 w 239"/>
                <a:gd name="T23" fmla="*/ 0 h 98"/>
                <a:gd name="T24" fmla="*/ 0 w 239"/>
                <a:gd name="T25" fmla="*/ 0 h 98"/>
                <a:gd name="T26" fmla="*/ 0 w 239"/>
                <a:gd name="T27" fmla="*/ 0 h 98"/>
                <a:gd name="T28" fmla="*/ 0 w 239"/>
                <a:gd name="T29" fmla="*/ 0 h 98"/>
                <a:gd name="T30" fmla="*/ 0 w 239"/>
                <a:gd name="T31" fmla="*/ 0 h 98"/>
                <a:gd name="T32" fmla="*/ 0 w 239"/>
                <a:gd name="T33" fmla="*/ 0 h 98"/>
                <a:gd name="T34" fmla="*/ 0 w 239"/>
                <a:gd name="T35" fmla="*/ 0 h 98"/>
                <a:gd name="T36" fmla="*/ 0 w 239"/>
                <a:gd name="T37" fmla="*/ 0 h 98"/>
                <a:gd name="T38" fmla="*/ 0 w 239"/>
                <a:gd name="T39" fmla="*/ 0 h 98"/>
                <a:gd name="T40" fmla="*/ 0 w 239"/>
                <a:gd name="T41" fmla="*/ 0 h 98"/>
                <a:gd name="T42" fmla="*/ 0 w 239"/>
                <a:gd name="T43" fmla="*/ 0 h 98"/>
                <a:gd name="T44" fmla="*/ 0 w 239"/>
                <a:gd name="T45" fmla="*/ 0 h 98"/>
                <a:gd name="T46" fmla="*/ 0 w 239"/>
                <a:gd name="T47" fmla="*/ 0 h 98"/>
                <a:gd name="T48" fmla="*/ 0 w 239"/>
                <a:gd name="T49" fmla="*/ 0 h 98"/>
                <a:gd name="T50" fmla="*/ 0 w 239"/>
                <a:gd name="T51" fmla="*/ 0 h 98"/>
                <a:gd name="T52" fmla="*/ 0 w 239"/>
                <a:gd name="T53" fmla="*/ 0 h 98"/>
                <a:gd name="T54" fmla="*/ 0 w 239"/>
                <a:gd name="T55" fmla="*/ 0 h 98"/>
                <a:gd name="T56" fmla="*/ 0 w 239"/>
                <a:gd name="T57" fmla="*/ 0 h 98"/>
                <a:gd name="T58" fmla="*/ 0 w 239"/>
                <a:gd name="T59" fmla="*/ 0 h 98"/>
                <a:gd name="T60" fmla="*/ 0 w 239"/>
                <a:gd name="T61" fmla="*/ 0 h 98"/>
                <a:gd name="T62" fmla="*/ 0 w 239"/>
                <a:gd name="T63" fmla="*/ 0 h 98"/>
                <a:gd name="T64" fmla="*/ 0 w 239"/>
                <a:gd name="T65" fmla="*/ 0 h 98"/>
                <a:gd name="T66" fmla="*/ 0 w 239"/>
                <a:gd name="T67" fmla="*/ 0 h 98"/>
                <a:gd name="T68" fmla="*/ 0 w 239"/>
                <a:gd name="T69" fmla="*/ 0 h 98"/>
                <a:gd name="T70" fmla="*/ 0 w 239"/>
                <a:gd name="T71" fmla="*/ 0 h 98"/>
                <a:gd name="T72" fmla="*/ 0 w 239"/>
                <a:gd name="T73" fmla="*/ 0 h 98"/>
                <a:gd name="T74" fmla="*/ 0 w 239"/>
                <a:gd name="T75" fmla="*/ 0 h 98"/>
                <a:gd name="T76" fmla="*/ 0 w 239"/>
                <a:gd name="T77" fmla="*/ 0 h 98"/>
                <a:gd name="T78" fmla="*/ 0 w 239"/>
                <a:gd name="T79" fmla="*/ 0 h 98"/>
                <a:gd name="T80" fmla="*/ 0 w 239"/>
                <a:gd name="T81" fmla="*/ 0 h 98"/>
                <a:gd name="T82" fmla="*/ 0 w 239"/>
                <a:gd name="T83" fmla="*/ 0 h 98"/>
                <a:gd name="T84" fmla="*/ 0 w 239"/>
                <a:gd name="T85" fmla="*/ 0 h 98"/>
                <a:gd name="T86" fmla="*/ 0 w 239"/>
                <a:gd name="T87" fmla="*/ 0 h 9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39"/>
                <a:gd name="T133" fmla="*/ 0 h 98"/>
                <a:gd name="T134" fmla="*/ 239 w 239"/>
                <a:gd name="T135" fmla="*/ 98 h 9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39" h="98">
                  <a:moveTo>
                    <a:pt x="233" y="23"/>
                  </a:moveTo>
                  <a:cubicBezTo>
                    <a:pt x="227" y="23"/>
                    <a:pt x="221" y="25"/>
                    <a:pt x="214" y="19"/>
                  </a:cubicBezTo>
                  <a:cubicBezTo>
                    <a:pt x="207" y="13"/>
                    <a:pt x="208" y="6"/>
                    <a:pt x="194" y="6"/>
                  </a:cubicBezTo>
                  <a:cubicBezTo>
                    <a:pt x="180" y="6"/>
                    <a:pt x="175" y="14"/>
                    <a:pt x="170" y="14"/>
                  </a:cubicBezTo>
                  <a:cubicBezTo>
                    <a:pt x="165" y="14"/>
                    <a:pt x="159" y="10"/>
                    <a:pt x="159" y="10"/>
                  </a:cubicBezTo>
                  <a:cubicBezTo>
                    <a:pt x="140" y="9"/>
                    <a:pt x="140" y="9"/>
                    <a:pt x="140" y="9"/>
                  </a:cubicBezTo>
                  <a:cubicBezTo>
                    <a:pt x="140" y="9"/>
                    <a:pt x="141" y="18"/>
                    <a:pt x="132" y="18"/>
                  </a:cubicBezTo>
                  <a:cubicBezTo>
                    <a:pt x="123" y="18"/>
                    <a:pt x="126" y="11"/>
                    <a:pt x="126" y="11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19" y="11"/>
                    <a:pt x="118" y="4"/>
                    <a:pt x="111" y="2"/>
                  </a:cubicBezTo>
                  <a:cubicBezTo>
                    <a:pt x="104" y="0"/>
                    <a:pt x="94" y="8"/>
                    <a:pt x="91" y="8"/>
                  </a:cubicBezTo>
                  <a:cubicBezTo>
                    <a:pt x="89" y="8"/>
                    <a:pt x="86" y="5"/>
                    <a:pt x="83" y="2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28"/>
                    <a:pt x="43" y="35"/>
                    <a:pt x="36" y="40"/>
                  </a:cubicBezTo>
                  <a:cubicBezTo>
                    <a:pt x="31" y="43"/>
                    <a:pt x="25" y="41"/>
                    <a:pt x="24" y="39"/>
                  </a:cubicBezTo>
                  <a:cubicBezTo>
                    <a:pt x="21" y="40"/>
                    <a:pt x="15" y="40"/>
                    <a:pt x="12" y="41"/>
                  </a:cubicBezTo>
                  <a:cubicBezTo>
                    <a:pt x="8" y="42"/>
                    <a:pt x="3" y="46"/>
                    <a:pt x="3" y="46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6" y="69"/>
                    <a:pt x="7" y="75"/>
                  </a:cubicBezTo>
                  <a:cubicBezTo>
                    <a:pt x="7" y="78"/>
                    <a:pt x="7" y="83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20" y="81"/>
                    <a:pt x="23" y="98"/>
                    <a:pt x="40" y="97"/>
                  </a:cubicBezTo>
                  <a:cubicBezTo>
                    <a:pt x="57" y="96"/>
                    <a:pt x="81" y="94"/>
                    <a:pt x="81" y="94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18" y="73"/>
                    <a:pt x="118" y="73"/>
                    <a:pt x="118" y="73"/>
                  </a:cubicBezTo>
                  <a:cubicBezTo>
                    <a:pt x="118" y="73"/>
                    <a:pt x="141" y="72"/>
                    <a:pt x="144" y="69"/>
                  </a:cubicBezTo>
                  <a:cubicBezTo>
                    <a:pt x="147" y="66"/>
                    <a:pt x="155" y="53"/>
                    <a:pt x="155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74" y="63"/>
                    <a:pt x="174" y="63"/>
                    <a:pt x="174" y="63"/>
                  </a:cubicBezTo>
                  <a:cubicBezTo>
                    <a:pt x="183" y="64"/>
                    <a:pt x="183" y="64"/>
                    <a:pt x="183" y="64"/>
                  </a:cubicBezTo>
                  <a:cubicBezTo>
                    <a:pt x="183" y="64"/>
                    <a:pt x="183" y="53"/>
                    <a:pt x="188" y="53"/>
                  </a:cubicBezTo>
                  <a:cubicBezTo>
                    <a:pt x="193" y="53"/>
                    <a:pt x="194" y="63"/>
                    <a:pt x="194" y="63"/>
                  </a:cubicBezTo>
                  <a:cubicBezTo>
                    <a:pt x="194" y="63"/>
                    <a:pt x="215" y="57"/>
                    <a:pt x="223" y="59"/>
                  </a:cubicBezTo>
                  <a:cubicBezTo>
                    <a:pt x="223" y="59"/>
                    <a:pt x="223" y="59"/>
                    <a:pt x="223" y="59"/>
                  </a:cubicBezTo>
                  <a:cubicBezTo>
                    <a:pt x="224" y="51"/>
                    <a:pt x="224" y="51"/>
                    <a:pt x="224" y="51"/>
                  </a:cubicBezTo>
                  <a:cubicBezTo>
                    <a:pt x="224" y="51"/>
                    <a:pt x="232" y="49"/>
                    <a:pt x="234" y="43"/>
                  </a:cubicBezTo>
                  <a:cubicBezTo>
                    <a:pt x="236" y="37"/>
                    <a:pt x="237" y="30"/>
                    <a:pt x="237" y="30"/>
                  </a:cubicBezTo>
                  <a:cubicBezTo>
                    <a:pt x="237" y="30"/>
                    <a:pt x="239" y="23"/>
                    <a:pt x="233" y="23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55" name="Freeform 71"/>
            <p:cNvSpPr>
              <a:spLocks/>
            </p:cNvSpPr>
            <p:nvPr/>
          </p:nvSpPr>
          <p:spPr bwMode="auto">
            <a:xfrm>
              <a:off x="2950" y="1767"/>
              <a:ext cx="109" cy="56"/>
            </a:xfrm>
            <a:custGeom>
              <a:avLst/>
              <a:gdLst>
                <a:gd name="T0" fmla="*/ 0 w 286"/>
                <a:gd name="T1" fmla="*/ 0 h 148"/>
                <a:gd name="T2" fmla="*/ 0 w 286"/>
                <a:gd name="T3" fmla="*/ 0 h 148"/>
                <a:gd name="T4" fmla="*/ 0 w 286"/>
                <a:gd name="T5" fmla="*/ 0 h 148"/>
                <a:gd name="T6" fmla="*/ 0 w 286"/>
                <a:gd name="T7" fmla="*/ 0 h 148"/>
                <a:gd name="T8" fmla="*/ 0 w 286"/>
                <a:gd name="T9" fmla="*/ 0 h 148"/>
                <a:gd name="T10" fmla="*/ 0 w 286"/>
                <a:gd name="T11" fmla="*/ 0 h 148"/>
                <a:gd name="T12" fmla="*/ 0 w 286"/>
                <a:gd name="T13" fmla="*/ 0 h 148"/>
                <a:gd name="T14" fmla="*/ 0 w 286"/>
                <a:gd name="T15" fmla="*/ 0 h 148"/>
                <a:gd name="T16" fmla="*/ 0 w 286"/>
                <a:gd name="T17" fmla="*/ 0 h 148"/>
                <a:gd name="T18" fmla="*/ 0 w 286"/>
                <a:gd name="T19" fmla="*/ 0 h 148"/>
                <a:gd name="T20" fmla="*/ 0 w 286"/>
                <a:gd name="T21" fmla="*/ 0 h 148"/>
                <a:gd name="T22" fmla="*/ 0 w 286"/>
                <a:gd name="T23" fmla="*/ 0 h 148"/>
                <a:gd name="T24" fmla="*/ 0 w 286"/>
                <a:gd name="T25" fmla="*/ 0 h 148"/>
                <a:gd name="T26" fmla="*/ 0 w 286"/>
                <a:gd name="T27" fmla="*/ 0 h 148"/>
                <a:gd name="T28" fmla="*/ 0 w 286"/>
                <a:gd name="T29" fmla="*/ 0 h 148"/>
                <a:gd name="T30" fmla="*/ 0 w 286"/>
                <a:gd name="T31" fmla="*/ 0 h 148"/>
                <a:gd name="T32" fmla="*/ 0 w 286"/>
                <a:gd name="T33" fmla="*/ 0 h 148"/>
                <a:gd name="T34" fmla="*/ 0 w 286"/>
                <a:gd name="T35" fmla="*/ 0 h 148"/>
                <a:gd name="T36" fmla="*/ 0 w 286"/>
                <a:gd name="T37" fmla="*/ 0 h 148"/>
                <a:gd name="T38" fmla="*/ 0 w 286"/>
                <a:gd name="T39" fmla="*/ 0 h 148"/>
                <a:gd name="T40" fmla="*/ 0 w 286"/>
                <a:gd name="T41" fmla="*/ 0 h 148"/>
                <a:gd name="T42" fmla="*/ 0 w 286"/>
                <a:gd name="T43" fmla="*/ 0 h 148"/>
                <a:gd name="T44" fmla="*/ 0 w 286"/>
                <a:gd name="T45" fmla="*/ 0 h 148"/>
                <a:gd name="T46" fmla="*/ 0 w 286"/>
                <a:gd name="T47" fmla="*/ 0 h 148"/>
                <a:gd name="T48" fmla="*/ 0 w 286"/>
                <a:gd name="T49" fmla="*/ 0 h 148"/>
                <a:gd name="T50" fmla="*/ 0 w 286"/>
                <a:gd name="T51" fmla="*/ 0 h 148"/>
                <a:gd name="T52" fmla="*/ 0 w 286"/>
                <a:gd name="T53" fmla="*/ 0 h 148"/>
                <a:gd name="T54" fmla="*/ 0 w 286"/>
                <a:gd name="T55" fmla="*/ 0 h 148"/>
                <a:gd name="T56" fmla="*/ 0 w 286"/>
                <a:gd name="T57" fmla="*/ 0 h 148"/>
                <a:gd name="T58" fmla="*/ 0 w 286"/>
                <a:gd name="T59" fmla="*/ 0 h 148"/>
                <a:gd name="T60" fmla="*/ 0 w 286"/>
                <a:gd name="T61" fmla="*/ 0 h 148"/>
                <a:gd name="T62" fmla="*/ 0 w 286"/>
                <a:gd name="T63" fmla="*/ 0 h 148"/>
                <a:gd name="T64" fmla="*/ 0 w 286"/>
                <a:gd name="T65" fmla="*/ 0 h 148"/>
                <a:gd name="T66" fmla="*/ 0 w 286"/>
                <a:gd name="T67" fmla="*/ 0 h 148"/>
                <a:gd name="T68" fmla="*/ 0 w 286"/>
                <a:gd name="T69" fmla="*/ 0 h 148"/>
                <a:gd name="T70" fmla="*/ 0 w 286"/>
                <a:gd name="T71" fmla="*/ 0 h 148"/>
                <a:gd name="T72" fmla="*/ 0 w 286"/>
                <a:gd name="T73" fmla="*/ 0 h 148"/>
                <a:gd name="T74" fmla="*/ 0 w 286"/>
                <a:gd name="T75" fmla="*/ 0 h 148"/>
                <a:gd name="T76" fmla="*/ 0 w 286"/>
                <a:gd name="T77" fmla="*/ 0 h 148"/>
                <a:gd name="T78" fmla="*/ 0 w 286"/>
                <a:gd name="T79" fmla="*/ 0 h 148"/>
                <a:gd name="T80" fmla="*/ 0 w 286"/>
                <a:gd name="T81" fmla="*/ 0 h 148"/>
                <a:gd name="T82" fmla="*/ 0 w 286"/>
                <a:gd name="T83" fmla="*/ 0 h 148"/>
                <a:gd name="T84" fmla="*/ 0 w 286"/>
                <a:gd name="T85" fmla="*/ 0 h 148"/>
                <a:gd name="T86" fmla="*/ 0 w 286"/>
                <a:gd name="T87" fmla="*/ 0 h 148"/>
                <a:gd name="T88" fmla="*/ 0 w 286"/>
                <a:gd name="T89" fmla="*/ 0 h 148"/>
                <a:gd name="T90" fmla="*/ 0 w 286"/>
                <a:gd name="T91" fmla="*/ 0 h 148"/>
                <a:gd name="T92" fmla="*/ 0 w 286"/>
                <a:gd name="T93" fmla="*/ 0 h 148"/>
                <a:gd name="T94" fmla="*/ 0 w 286"/>
                <a:gd name="T95" fmla="*/ 0 h 148"/>
                <a:gd name="T96" fmla="*/ 0 w 286"/>
                <a:gd name="T97" fmla="*/ 0 h 148"/>
                <a:gd name="T98" fmla="*/ 0 w 286"/>
                <a:gd name="T99" fmla="*/ 0 h 148"/>
                <a:gd name="T100" fmla="*/ 0 w 286"/>
                <a:gd name="T101" fmla="*/ 0 h 148"/>
                <a:gd name="T102" fmla="*/ 0 w 286"/>
                <a:gd name="T103" fmla="*/ 0 h 14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86"/>
                <a:gd name="T157" fmla="*/ 0 h 148"/>
                <a:gd name="T158" fmla="*/ 286 w 286"/>
                <a:gd name="T159" fmla="*/ 148 h 14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86" h="148">
                  <a:moveTo>
                    <a:pt x="31" y="43"/>
                  </a:moveTo>
                  <a:cubicBezTo>
                    <a:pt x="16" y="43"/>
                    <a:pt x="16" y="43"/>
                    <a:pt x="16" y="43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20" y="107"/>
                    <a:pt x="20" y="107"/>
                    <a:pt x="20" y="107"/>
                  </a:cubicBezTo>
                  <a:cubicBezTo>
                    <a:pt x="20" y="107"/>
                    <a:pt x="32" y="117"/>
                    <a:pt x="34" y="120"/>
                  </a:cubicBezTo>
                  <a:cubicBezTo>
                    <a:pt x="36" y="123"/>
                    <a:pt x="54" y="137"/>
                    <a:pt x="54" y="137"/>
                  </a:cubicBezTo>
                  <a:cubicBezTo>
                    <a:pt x="63" y="141"/>
                    <a:pt x="63" y="141"/>
                    <a:pt x="63" y="141"/>
                  </a:cubicBezTo>
                  <a:cubicBezTo>
                    <a:pt x="75" y="141"/>
                    <a:pt x="75" y="141"/>
                    <a:pt x="75" y="141"/>
                  </a:cubicBezTo>
                  <a:cubicBezTo>
                    <a:pt x="78" y="148"/>
                    <a:pt x="78" y="148"/>
                    <a:pt x="78" y="148"/>
                  </a:cubicBezTo>
                  <a:cubicBezTo>
                    <a:pt x="106" y="145"/>
                    <a:pt x="106" y="145"/>
                    <a:pt x="106" y="145"/>
                  </a:cubicBezTo>
                  <a:cubicBezTo>
                    <a:pt x="112" y="139"/>
                    <a:pt x="112" y="139"/>
                    <a:pt x="112" y="139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8" y="136"/>
                    <a:pt x="118" y="136"/>
                    <a:pt x="118" y="136"/>
                  </a:cubicBezTo>
                  <a:cubicBezTo>
                    <a:pt x="133" y="136"/>
                    <a:pt x="133" y="136"/>
                    <a:pt x="133" y="136"/>
                  </a:cubicBezTo>
                  <a:cubicBezTo>
                    <a:pt x="133" y="136"/>
                    <a:pt x="142" y="131"/>
                    <a:pt x="145" y="125"/>
                  </a:cubicBezTo>
                  <a:cubicBezTo>
                    <a:pt x="148" y="119"/>
                    <a:pt x="163" y="125"/>
                    <a:pt x="163" y="125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92" y="127"/>
                    <a:pt x="192" y="127"/>
                    <a:pt x="192" y="127"/>
                  </a:cubicBezTo>
                  <a:cubicBezTo>
                    <a:pt x="194" y="118"/>
                    <a:pt x="194" y="118"/>
                    <a:pt x="194" y="118"/>
                  </a:cubicBezTo>
                  <a:cubicBezTo>
                    <a:pt x="205" y="120"/>
                    <a:pt x="205" y="120"/>
                    <a:pt x="205" y="120"/>
                  </a:cubicBezTo>
                  <a:cubicBezTo>
                    <a:pt x="205" y="120"/>
                    <a:pt x="215" y="116"/>
                    <a:pt x="221" y="110"/>
                  </a:cubicBezTo>
                  <a:cubicBezTo>
                    <a:pt x="227" y="104"/>
                    <a:pt x="222" y="96"/>
                    <a:pt x="222" y="96"/>
                  </a:cubicBezTo>
                  <a:cubicBezTo>
                    <a:pt x="222" y="96"/>
                    <a:pt x="228" y="88"/>
                    <a:pt x="238" y="83"/>
                  </a:cubicBezTo>
                  <a:cubicBezTo>
                    <a:pt x="248" y="78"/>
                    <a:pt x="245" y="66"/>
                    <a:pt x="245" y="66"/>
                  </a:cubicBezTo>
                  <a:cubicBezTo>
                    <a:pt x="245" y="66"/>
                    <a:pt x="245" y="54"/>
                    <a:pt x="246" y="48"/>
                  </a:cubicBezTo>
                  <a:cubicBezTo>
                    <a:pt x="247" y="42"/>
                    <a:pt x="256" y="42"/>
                    <a:pt x="266" y="41"/>
                  </a:cubicBezTo>
                  <a:cubicBezTo>
                    <a:pt x="276" y="40"/>
                    <a:pt x="286" y="27"/>
                    <a:pt x="286" y="27"/>
                  </a:cubicBezTo>
                  <a:cubicBezTo>
                    <a:pt x="286" y="27"/>
                    <a:pt x="270" y="20"/>
                    <a:pt x="264" y="19"/>
                  </a:cubicBezTo>
                  <a:cubicBezTo>
                    <a:pt x="258" y="18"/>
                    <a:pt x="256" y="8"/>
                    <a:pt x="248" y="6"/>
                  </a:cubicBezTo>
                  <a:cubicBezTo>
                    <a:pt x="240" y="4"/>
                    <a:pt x="219" y="10"/>
                    <a:pt x="219" y="10"/>
                  </a:cubicBezTo>
                  <a:cubicBezTo>
                    <a:pt x="219" y="10"/>
                    <a:pt x="218" y="0"/>
                    <a:pt x="213" y="0"/>
                  </a:cubicBezTo>
                  <a:cubicBezTo>
                    <a:pt x="208" y="0"/>
                    <a:pt x="208" y="11"/>
                    <a:pt x="208" y="11"/>
                  </a:cubicBezTo>
                  <a:cubicBezTo>
                    <a:pt x="199" y="10"/>
                    <a:pt x="199" y="10"/>
                    <a:pt x="199" y="10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0" y="0"/>
                    <a:pt x="172" y="13"/>
                    <a:pt x="169" y="16"/>
                  </a:cubicBezTo>
                  <a:cubicBezTo>
                    <a:pt x="166" y="19"/>
                    <a:pt x="143" y="20"/>
                    <a:pt x="143" y="2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82" y="43"/>
                    <a:pt x="65" y="44"/>
                  </a:cubicBezTo>
                  <a:cubicBezTo>
                    <a:pt x="48" y="45"/>
                    <a:pt x="45" y="28"/>
                    <a:pt x="45" y="28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1" y="39"/>
                    <a:pt x="31" y="43"/>
                    <a:pt x="31" y="43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56" name="Freeform 72"/>
            <p:cNvSpPr>
              <a:spLocks/>
            </p:cNvSpPr>
            <p:nvPr/>
          </p:nvSpPr>
          <p:spPr bwMode="auto">
            <a:xfrm>
              <a:off x="3017" y="1611"/>
              <a:ext cx="88" cy="51"/>
            </a:xfrm>
            <a:custGeom>
              <a:avLst/>
              <a:gdLst>
                <a:gd name="T0" fmla="*/ 0 w 230"/>
                <a:gd name="T1" fmla="*/ 0 h 132"/>
                <a:gd name="T2" fmla="*/ 0 w 230"/>
                <a:gd name="T3" fmla="*/ 0 h 132"/>
                <a:gd name="T4" fmla="*/ 0 w 230"/>
                <a:gd name="T5" fmla="*/ 0 h 132"/>
                <a:gd name="T6" fmla="*/ 0 w 230"/>
                <a:gd name="T7" fmla="*/ 0 h 132"/>
                <a:gd name="T8" fmla="*/ 0 w 230"/>
                <a:gd name="T9" fmla="*/ 0 h 132"/>
                <a:gd name="T10" fmla="*/ 0 w 230"/>
                <a:gd name="T11" fmla="*/ 0 h 132"/>
                <a:gd name="T12" fmla="*/ 0 w 230"/>
                <a:gd name="T13" fmla="*/ 0 h 132"/>
                <a:gd name="T14" fmla="*/ 0 w 230"/>
                <a:gd name="T15" fmla="*/ 0 h 132"/>
                <a:gd name="T16" fmla="*/ 0 w 230"/>
                <a:gd name="T17" fmla="*/ 0 h 132"/>
                <a:gd name="T18" fmla="*/ 0 w 230"/>
                <a:gd name="T19" fmla="*/ 0 h 132"/>
                <a:gd name="T20" fmla="*/ 0 w 230"/>
                <a:gd name="T21" fmla="*/ 0 h 132"/>
                <a:gd name="T22" fmla="*/ 0 w 230"/>
                <a:gd name="T23" fmla="*/ 0 h 132"/>
                <a:gd name="T24" fmla="*/ 0 w 230"/>
                <a:gd name="T25" fmla="*/ 0 h 132"/>
                <a:gd name="T26" fmla="*/ 0 w 230"/>
                <a:gd name="T27" fmla="*/ 0 h 132"/>
                <a:gd name="T28" fmla="*/ 0 w 230"/>
                <a:gd name="T29" fmla="*/ 0 h 132"/>
                <a:gd name="T30" fmla="*/ 0 w 230"/>
                <a:gd name="T31" fmla="*/ 0 h 132"/>
                <a:gd name="T32" fmla="*/ 0 w 230"/>
                <a:gd name="T33" fmla="*/ 0 h 132"/>
                <a:gd name="T34" fmla="*/ 0 w 230"/>
                <a:gd name="T35" fmla="*/ 0 h 132"/>
                <a:gd name="T36" fmla="*/ 0 w 230"/>
                <a:gd name="T37" fmla="*/ 0 h 132"/>
                <a:gd name="T38" fmla="*/ 0 w 230"/>
                <a:gd name="T39" fmla="*/ 0 h 132"/>
                <a:gd name="T40" fmla="*/ 0 w 230"/>
                <a:gd name="T41" fmla="*/ 0 h 132"/>
                <a:gd name="T42" fmla="*/ 0 w 230"/>
                <a:gd name="T43" fmla="*/ 0 h 132"/>
                <a:gd name="T44" fmla="*/ 0 w 230"/>
                <a:gd name="T45" fmla="*/ 0 h 132"/>
                <a:gd name="T46" fmla="*/ 0 w 230"/>
                <a:gd name="T47" fmla="*/ 0 h 132"/>
                <a:gd name="T48" fmla="*/ 0 w 230"/>
                <a:gd name="T49" fmla="*/ 0 h 132"/>
                <a:gd name="T50" fmla="*/ 0 w 230"/>
                <a:gd name="T51" fmla="*/ 0 h 132"/>
                <a:gd name="T52" fmla="*/ 0 w 230"/>
                <a:gd name="T53" fmla="*/ 0 h 132"/>
                <a:gd name="T54" fmla="*/ 0 w 230"/>
                <a:gd name="T55" fmla="*/ 0 h 132"/>
                <a:gd name="T56" fmla="*/ 0 w 230"/>
                <a:gd name="T57" fmla="*/ 0 h 132"/>
                <a:gd name="T58" fmla="*/ 0 w 230"/>
                <a:gd name="T59" fmla="*/ 0 h 132"/>
                <a:gd name="T60" fmla="*/ 0 w 230"/>
                <a:gd name="T61" fmla="*/ 0 h 132"/>
                <a:gd name="T62" fmla="*/ 0 w 230"/>
                <a:gd name="T63" fmla="*/ 0 h 132"/>
                <a:gd name="T64" fmla="*/ 0 w 230"/>
                <a:gd name="T65" fmla="*/ 0 h 132"/>
                <a:gd name="T66" fmla="*/ 0 w 230"/>
                <a:gd name="T67" fmla="*/ 0 h 132"/>
                <a:gd name="T68" fmla="*/ 0 w 230"/>
                <a:gd name="T69" fmla="*/ 0 h 132"/>
                <a:gd name="T70" fmla="*/ 0 w 230"/>
                <a:gd name="T71" fmla="*/ 0 h 132"/>
                <a:gd name="T72" fmla="*/ 0 w 230"/>
                <a:gd name="T73" fmla="*/ 0 h 132"/>
                <a:gd name="T74" fmla="*/ 0 w 230"/>
                <a:gd name="T75" fmla="*/ 0 h 132"/>
                <a:gd name="T76" fmla="*/ 0 w 230"/>
                <a:gd name="T77" fmla="*/ 0 h 132"/>
                <a:gd name="T78" fmla="*/ 0 w 230"/>
                <a:gd name="T79" fmla="*/ 0 h 132"/>
                <a:gd name="T80" fmla="*/ 0 w 230"/>
                <a:gd name="T81" fmla="*/ 0 h 132"/>
                <a:gd name="T82" fmla="*/ 0 w 230"/>
                <a:gd name="T83" fmla="*/ 0 h 132"/>
                <a:gd name="T84" fmla="*/ 0 w 230"/>
                <a:gd name="T85" fmla="*/ 0 h 132"/>
                <a:gd name="T86" fmla="*/ 0 w 230"/>
                <a:gd name="T87" fmla="*/ 0 h 132"/>
                <a:gd name="T88" fmla="*/ 0 w 230"/>
                <a:gd name="T89" fmla="*/ 0 h 132"/>
                <a:gd name="T90" fmla="*/ 0 w 230"/>
                <a:gd name="T91" fmla="*/ 0 h 13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30"/>
                <a:gd name="T139" fmla="*/ 0 h 132"/>
                <a:gd name="T140" fmla="*/ 230 w 230"/>
                <a:gd name="T141" fmla="*/ 132 h 13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30" h="132">
                  <a:moveTo>
                    <a:pt x="222" y="42"/>
                  </a:moveTo>
                  <a:cubicBezTo>
                    <a:pt x="210" y="38"/>
                    <a:pt x="210" y="38"/>
                    <a:pt x="210" y="38"/>
                  </a:cubicBezTo>
                  <a:cubicBezTo>
                    <a:pt x="195" y="30"/>
                    <a:pt x="195" y="30"/>
                    <a:pt x="195" y="30"/>
                  </a:cubicBezTo>
                  <a:cubicBezTo>
                    <a:pt x="195" y="30"/>
                    <a:pt x="190" y="22"/>
                    <a:pt x="184" y="20"/>
                  </a:cubicBezTo>
                  <a:cubicBezTo>
                    <a:pt x="178" y="18"/>
                    <a:pt x="157" y="17"/>
                    <a:pt x="157" y="17"/>
                  </a:cubicBezTo>
                  <a:cubicBezTo>
                    <a:pt x="157" y="17"/>
                    <a:pt x="151" y="4"/>
                    <a:pt x="145" y="4"/>
                  </a:cubicBezTo>
                  <a:cubicBezTo>
                    <a:pt x="139" y="4"/>
                    <a:pt x="136" y="12"/>
                    <a:pt x="128" y="12"/>
                  </a:cubicBezTo>
                  <a:cubicBezTo>
                    <a:pt x="120" y="12"/>
                    <a:pt x="118" y="8"/>
                    <a:pt x="113" y="8"/>
                  </a:cubicBezTo>
                  <a:cubicBezTo>
                    <a:pt x="108" y="8"/>
                    <a:pt x="104" y="13"/>
                    <a:pt x="104" y="13"/>
                  </a:cubicBezTo>
                  <a:cubicBezTo>
                    <a:pt x="104" y="13"/>
                    <a:pt x="84" y="6"/>
                    <a:pt x="81" y="7"/>
                  </a:cubicBezTo>
                  <a:cubicBezTo>
                    <a:pt x="78" y="8"/>
                    <a:pt x="73" y="9"/>
                    <a:pt x="73" y="9"/>
                  </a:cubicBezTo>
                  <a:cubicBezTo>
                    <a:pt x="73" y="9"/>
                    <a:pt x="66" y="4"/>
                    <a:pt x="60" y="2"/>
                  </a:cubicBezTo>
                  <a:cubicBezTo>
                    <a:pt x="54" y="0"/>
                    <a:pt x="52" y="2"/>
                    <a:pt x="46" y="5"/>
                  </a:cubicBezTo>
                  <a:cubicBezTo>
                    <a:pt x="40" y="8"/>
                    <a:pt x="33" y="8"/>
                    <a:pt x="13" y="11"/>
                  </a:cubicBezTo>
                  <a:cubicBezTo>
                    <a:pt x="7" y="12"/>
                    <a:pt x="3" y="14"/>
                    <a:pt x="0" y="16"/>
                  </a:cubicBezTo>
                  <a:cubicBezTo>
                    <a:pt x="0" y="20"/>
                    <a:pt x="1" y="23"/>
                    <a:pt x="1" y="23"/>
                  </a:cubicBezTo>
                  <a:cubicBezTo>
                    <a:pt x="1" y="23"/>
                    <a:pt x="2" y="58"/>
                    <a:pt x="11" y="60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56" y="72"/>
                    <a:pt x="64" y="71"/>
                  </a:cubicBezTo>
                  <a:cubicBezTo>
                    <a:pt x="72" y="70"/>
                    <a:pt x="75" y="81"/>
                    <a:pt x="74" y="86"/>
                  </a:cubicBezTo>
                  <a:cubicBezTo>
                    <a:pt x="73" y="91"/>
                    <a:pt x="65" y="98"/>
                    <a:pt x="65" y="98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1" y="108"/>
                    <a:pt x="73" y="108"/>
                    <a:pt x="74" y="108"/>
                  </a:cubicBezTo>
                  <a:cubicBezTo>
                    <a:pt x="87" y="110"/>
                    <a:pt x="103" y="119"/>
                    <a:pt x="103" y="119"/>
                  </a:cubicBezTo>
                  <a:cubicBezTo>
                    <a:pt x="103" y="132"/>
                    <a:pt x="103" y="132"/>
                    <a:pt x="103" y="132"/>
                  </a:cubicBezTo>
                  <a:cubicBezTo>
                    <a:pt x="103" y="132"/>
                    <a:pt x="119" y="128"/>
                    <a:pt x="127" y="127"/>
                  </a:cubicBezTo>
                  <a:cubicBezTo>
                    <a:pt x="135" y="126"/>
                    <a:pt x="137" y="132"/>
                    <a:pt x="137" y="132"/>
                  </a:cubicBezTo>
                  <a:cubicBezTo>
                    <a:pt x="155" y="132"/>
                    <a:pt x="155" y="132"/>
                    <a:pt x="155" y="132"/>
                  </a:cubicBezTo>
                  <a:cubicBezTo>
                    <a:pt x="157" y="122"/>
                    <a:pt x="157" y="122"/>
                    <a:pt x="157" y="122"/>
                  </a:cubicBezTo>
                  <a:cubicBezTo>
                    <a:pt x="165" y="130"/>
                    <a:pt x="165" y="130"/>
                    <a:pt x="165" y="130"/>
                  </a:cubicBezTo>
                  <a:cubicBezTo>
                    <a:pt x="169" y="122"/>
                    <a:pt x="169" y="122"/>
                    <a:pt x="169" y="122"/>
                  </a:cubicBezTo>
                  <a:cubicBezTo>
                    <a:pt x="169" y="122"/>
                    <a:pt x="177" y="115"/>
                    <a:pt x="187" y="115"/>
                  </a:cubicBezTo>
                  <a:cubicBezTo>
                    <a:pt x="197" y="115"/>
                    <a:pt x="186" y="124"/>
                    <a:pt x="193" y="123"/>
                  </a:cubicBezTo>
                  <a:cubicBezTo>
                    <a:pt x="200" y="122"/>
                    <a:pt x="193" y="111"/>
                    <a:pt x="188" y="103"/>
                  </a:cubicBezTo>
                  <a:cubicBezTo>
                    <a:pt x="183" y="95"/>
                    <a:pt x="195" y="96"/>
                    <a:pt x="195" y="96"/>
                  </a:cubicBezTo>
                  <a:cubicBezTo>
                    <a:pt x="195" y="96"/>
                    <a:pt x="191" y="88"/>
                    <a:pt x="193" y="81"/>
                  </a:cubicBezTo>
                  <a:cubicBezTo>
                    <a:pt x="195" y="74"/>
                    <a:pt x="208" y="79"/>
                    <a:pt x="208" y="79"/>
                  </a:cubicBezTo>
                  <a:cubicBezTo>
                    <a:pt x="204" y="66"/>
                    <a:pt x="204" y="66"/>
                    <a:pt x="204" y="66"/>
                  </a:cubicBezTo>
                  <a:cubicBezTo>
                    <a:pt x="204" y="66"/>
                    <a:pt x="211" y="71"/>
                    <a:pt x="217" y="71"/>
                  </a:cubicBezTo>
                  <a:cubicBezTo>
                    <a:pt x="223" y="71"/>
                    <a:pt x="230" y="65"/>
                    <a:pt x="230" y="65"/>
                  </a:cubicBezTo>
                  <a:cubicBezTo>
                    <a:pt x="230" y="65"/>
                    <a:pt x="214" y="55"/>
                    <a:pt x="216" y="50"/>
                  </a:cubicBezTo>
                  <a:cubicBezTo>
                    <a:pt x="217" y="48"/>
                    <a:pt x="219" y="45"/>
                    <a:pt x="222" y="42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57" name="Freeform 73"/>
            <p:cNvSpPr>
              <a:spLocks/>
            </p:cNvSpPr>
            <p:nvPr/>
          </p:nvSpPr>
          <p:spPr bwMode="auto">
            <a:xfrm>
              <a:off x="2787" y="1781"/>
              <a:ext cx="75" cy="41"/>
            </a:xfrm>
            <a:custGeom>
              <a:avLst/>
              <a:gdLst>
                <a:gd name="T0" fmla="*/ 0 w 196"/>
                <a:gd name="T1" fmla="*/ 0 h 109"/>
                <a:gd name="T2" fmla="*/ 0 w 196"/>
                <a:gd name="T3" fmla="*/ 0 h 109"/>
                <a:gd name="T4" fmla="*/ 0 w 196"/>
                <a:gd name="T5" fmla="*/ 0 h 109"/>
                <a:gd name="T6" fmla="*/ 0 w 196"/>
                <a:gd name="T7" fmla="*/ 0 h 109"/>
                <a:gd name="T8" fmla="*/ 0 w 196"/>
                <a:gd name="T9" fmla="*/ 0 h 109"/>
                <a:gd name="T10" fmla="*/ 0 w 196"/>
                <a:gd name="T11" fmla="*/ 0 h 109"/>
                <a:gd name="T12" fmla="*/ 0 w 196"/>
                <a:gd name="T13" fmla="*/ 0 h 109"/>
                <a:gd name="T14" fmla="*/ 0 w 196"/>
                <a:gd name="T15" fmla="*/ 0 h 109"/>
                <a:gd name="T16" fmla="*/ 0 w 196"/>
                <a:gd name="T17" fmla="*/ 0 h 109"/>
                <a:gd name="T18" fmla="*/ 0 w 196"/>
                <a:gd name="T19" fmla="*/ 0 h 109"/>
                <a:gd name="T20" fmla="*/ 0 w 196"/>
                <a:gd name="T21" fmla="*/ 0 h 109"/>
                <a:gd name="T22" fmla="*/ 0 w 196"/>
                <a:gd name="T23" fmla="*/ 0 h 109"/>
                <a:gd name="T24" fmla="*/ 0 w 196"/>
                <a:gd name="T25" fmla="*/ 0 h 109"/>
                <a:gd name="T26" fmla="*/ 0 w 196"/>
                <a:gd name="T27" fmla="*/ 0 h 109"/>
                <a:gd name="T28" fmla="*/ 0 w 196"/>
                <a:gd name="T29" fmla="*/ 0 h 109"/>
                <a:gd name="T30" fmla="*/ 0 w 196"/>
                <a:gd name="T31" fmla="*/ 0 h 109"/>
                <a:gd name="T32" fmla="*/ 0 w 196"/>
                <a:gd name="T33" fmla="*/ 0 h 109"/>
                <a:gd name="T34" fmla="*/ 0 w 196"/>
                <a:gd name="T35" fmla="*/ 0 h 109"/>
                <a:gd name="T36" fmla="*/ 0 w 196"/>
                <a:gd name="T37" fmla="*/ 0 h 109"/>
                <a:gd name="T38" fmla="*/ 0 w 196"/>
                <a:gd name="T39" fmla="*/ 0 h 109"/>
                <a:gd name="T40" fmla="*/ 0 w 196"/>
                <a:gd name="T41" fmla="*/ 0 h 109"/>
                <a:gd name="T42" fmla="*/ 0 w 196"/>
                <a:gd name="T43" fmla="*/ 0 h 109"/>
                <a:gd name="T44" fmla="*/ 0 w 196"/>
                <a:gd name="T45" fmla="*/ 0 h 109"/>
                <a:gd name="T46" fmla="*/ 0 w 196"/>
                <a:gd name="T47" fmla="*/ 0 h 109"/>
                <a:gd name="T48" fmla="*/ 0 w 196"/>
                <a:gd name="T49" fmla="*/ 0 h 109"/>
                <a:gd name="T50" fmla="*/ 0 w 196"/>
                <a:gd name="T51" fmla="*/ 0 h 109"/>
                <a:gd name="T52" fmla="*/ 0 w 196"/>
                <a:gd name="T53" fmla="*/ 0 h 109"/>
                <a:gd name="T54" fmla="*/ 0 w 196"/>
                <a:gd name="T55" fmla="*/ 0 h 109"/>
                <a:gd name="T56" fmla="*/ 0 w 196"/>
                <a:gd name="T57" fmla="*/ 0 h 109"/>
                <a:gd name="T58" fmla="*/ 0 w 196"/>
                <a:gd name="T59" fmla="*/ 0 h 109"/>
                <a:gd name="T60" fmla="*/ 0 w 196"/>
                <a:gd name="T61" fmla="*/ 0 h 109"/>
                <a:gd name="T62" fmla="*/ 0 w 196"/>
                <a:gd name="T63" fmla="*/ 0 h 109"/>
                <a:gd name="T64" fmla="*/ 0 w 196"/>
                <a:gd name="T65" fmla="*/ 0 h 109"/>
                <a:gd name="T66" fmla="*/ 0 w 196"/>
                <a:gd name="T67" fmla="*/ 0 h 109"/>
                <a:gd name="T68" fmla="*/ 0 w 196"/>
                <a:gd name="T69" fmla="*/ 0 h 109"/>
                <a:gd name="T70" fmla="*/ 0 w 196"/>
                <a:gd name="T71" fmla="*/ 0 h 109"/>
                <a:gd name="T72" fmla="*/ 0 w 196"/>
                <a:gd name="T73" fmla="*/ 0 h 109"/>
                <a:gd name="T74" fmla="*/ 0 w 196"/>
                <a:gd name="T75" fmla="*/ 0 h 109"/>
                <a:gd name="T76" fmla="*/ 0 w 196"/>
                <a:gd name="T77" fmla="*/ 0 h 109"/>
                <a:gd name="T78" fmla="*/ 0 w 196"/>
                <a:gd name="T79" fmla="*/ 0 h 109"/>
                <a:gd name="T80" fmla="*/ 0 w 196"/>
                <a:gd name="T81" fmla="*/ 0 h 109"/>
                <a:gd name="T82" fmla="*/ 0 w 196"/>
                <a:gd name="T83" fmla="*/ 0 h 109"/>
                <a:gd name="T84" fmla="*/ 0 w 196"/>
                <a:gd name="T85" fmla="*/ 0 h 109"/>
                <a:gd name="T86" fmla="*/ 0 w 196"/>
                <a:gd name="T87" fmla="*/ 0 h 109"/>
                <a:gd name="T88" fmla="*/ 0 w 196"/>
                <a:gd name="T89" fmla="*/ 0 h 109"/>
                <a:gd name="T90" fmla="*/ 0 w 196"/>
                <a:gd name="T91" fmla="*/ 0 h 109"/>
                <a:gd name="T92" fmla="*/ 0 w 196"/>
                <a:gd name="T93" fmla="*/ 0 h 109"/>
                <a:gd name="T94" fmla="*/ 0 w 196"/>
                <a:gd name="T95" fmla="*/ 0 h 109"/>
                <a:gd name="T96" fmla="*/ 0 w 196"/>
                <a:gd name="T97" fmla="*/ 0 h 109"/>
                <a:gd name="T98" fmla="*/ 0 w 196"/>
                <a:gd name="T99" fmla="*/ 0 h 109"/>
                <a:gd name="T100" fmla="*/ 0 w 196"/>
                <a:gd name="T101" fmla="*/ 0 h 10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96"/>
                <a:gd name="T154" fmla="*/ 0 h 109"/>
                <a:gd name="T155" fmla="*/ 196 w 196"/>
                <a:gd name="T156" fmla="*/ 109 h 10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96" h="109">
                  <a:moveTo>
                    <a:pt x="93" y="17"/>
                  </a:moveTo>
                  <a:cubicBezTo>
                    <a:pt x="81" y="17"/>
                    <a:pt x="81" y="17"/>
                    <a:pt x="81" y="17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1" y="37"/>
                    <a:pt x="36" y="43"/>
                  </a:cubicBezTo>
                  <a:cubicBezTo>
                    <a:pt x="31" y="49"/>
                    <a:pt x="25" y="43"/>
                    <a:pt x="25" y="43"/>
                  </a:cubicBezTo>
                  <a:cubicBezTo>
                    <a:pt x="25" y="43"/>
                    <a:pt x="28" y="49"/>
                    <a:pt x="22" y="56"/>
                  </a:cubicBezTo>
                  <a:cubicBezTo>
                    <a:pt x="16" y="63"/>
                    <a:pt x="4" y="72"/>
                    <a:pt x="4" y="72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10" y="80"/>
                    <a:pt x="0" y="88"/>
                    <a:pt x="6" y="89"/>
                  </a:cubicBezTo>
                  <a:cubicBezTo>
                    <a:pt x="12" y="90"/>
                    <a:pt x="17" y="77"/>
                    <a:pt x="24" y="73"/>
                  </a:cubicBezTo>
                  <a:cubicBezTo>
                    <a:pt x="31" y="69"/>
                    <a:pt x="39" y="75"/>
                    <a:pt x="39" y="75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3"/>
                    <a:pt x="45" y="99"/>
                    <a:pt x="45" y="103"/>
                  </a:cubicBezTo>
                  <a:cubicBezTo>
                    <a:pt x="52" y="103"/>
                    <a:pt x="52" y="103"/>
                    <a:pt x="52" y="103"/>
                  </a:cubicBezTo>
                  <a:cubicBezTo>
                    <a:pt x="52" y="103"/>
                    <a:pt x="61" y="96"/>
                    <a:pt x="66" y="96"/>
                  </a:cubicBezTo>
                  <a:cubicBezTo>
                    <a:pt x="71" y="96"/>
                    <a:pt x="76" y="109"/>
                    <a:pt x="86" y="101"/>
                  </a:cubicBezTo>
                  <a:cubicBezTo>
                    <a:pt x="96" y="92"/>
                    <a:pt x="92" y="81"/>
                    <a:pt x="92" y="81"/>
                  </a:cubicBezTo>
                  <a:cubicBezTo>
                    <a:pt x="92" y="81"/>
                    <a:pt x="99" y="75"/>
                    <a:pt x="103" y="75"/>
                  </a:cubicBezTo>
                  <a:cubicBezTo>
                    <a:pt x="107" y="75"/>
                    <a:pt x="111" y="90"/>
                    <a:pt x="111" y="90"/>
                  </a:cubicBezTo>
                  <a:cubicBezTo>
                    <a:pt x="116" y="91"/>
                    <a:pt x="116" y="91"/>
                    <a:pt x="116" y="91"/>
                  </a:cubicBezTo>
                  <a:cubicBezTo>
                    <a:pt x="132" y="108"/>
                    <a:pt x="132" y="108"/>
                    <a:pt x="132" y="108"/>
                  </a:cubicBezTo>
                  <a:cubicBezTo>
                    <a:pt x="133" y="93"/>
                    <a:pt x="133" y="93"/>
                    <a:pt x="133" y="93"/>
                  </a:cubicBezTo>
                  <a:cubicBezTo>
                    <a:pt x="139" y="87"/>
                    <a:pt x="139" y="87"/>
                    <a:pt x="139" y="87"/>
                  </a:cubicBezTo>
                  <a:cubicBezTo>
                    <a:pt x="144" y="71"/>
                    <a:pt x="144" y="71"/>
                    <a:pt x="144" y="71"/>
                  </a:cubicBezTo>
                  <a:cubicBezTo>
                    <a:pt x="150" y="83"/>
                    <a:pt x="150" y="83"/>
                    <a:pt x="150" y="83"/>
                  </a:cubicBezTo>
                  <a:cubicBezTo>
                    <a:pt x="164" y="80"/>
                    <a:pt x="164" y="80"/>
                    <a:pt x="164" y="80"/>
                  </a:cubicBezTo>
                  <a:cubicBezTo>
                    <a:pt x="175" y="85"/>
                    <a:pt x="175" y="85"/>
                    <a:pt x="175" y="85"/>
                  </a:cubicBezTo>
                  <a:cubicBezTo>
                    <a:pt x="180" y="79"/>
                    <a:pt x="180" y="79"/>
                    <a:pt x="180" y="79"/>
                  </a:cubicBezTo>
                  <a:cubicBezTo>
                    <a:pt x="180" y="79"/>
                    <a:pt x="165" y="68"/>
                    <a:pt x="176" y="66"/>
                  </a:cubicBezTo>
                  <a:cubicBezTo>
                    <a:pt x="187" y="64"/>
                    <a:pt x="189" y="68"/>
                    <a:pt x="189" y="68"/>
                  </a:cubicBezTo>
                  <a:cubicBezTo>
                    <a:pt x="191" y="55"/>
                    <a:pt x="191" y="55"/>
                    <a:pt x="191" y="55"/>
                  </a:cubicBezTo>
                  <a:cubicBezTo>
                    <a:pt x="196" y="54"/>
                    <a:pt x="196" y="54"/>
                    <a:pt x="196" y="54"/>
                  </a:cubicBezTo>
                  <a:cubicBezTo>
                    <a:pt x="195" y="50"/>
                    <a:pt x="192" y="44"/>
                    <a:pt x="187" y="43"/>
                  </a:cubicBezTo>
                  <a:cubicBezTo>
                    <a:pt x="176" y="43"/>
                    <a:pt x="178" y="52"/>
                    <a:pt x="171" y="55"/>
                  </a:cubicBezTo>
                  <a:cubicBezTo>
                    <a:pt x="163" y="57"/>
                    <a:pt x="166" y="43"/>
                    <a:pt x="166" y="43"/>
                  </a:cubicBezTo>
                  <a:cubicBezTo>
                    <a:pt x="154" y="44"/>
                    <a:pt x="154" y="44"/>
                    <a:pt x="154" y="44"/>
                  </a:cubicBezTo>
                  <a:cubicBezTo>
                    <a:pt x="154" y="44"/>
                    <a:pt x="150" y="44"/>
                    <a:pt x="146" y="42"/>
                  </a:cubicBezTo>
                  <a:cubicBezTo>
                    <a:pt x="142" y="39"/>
                    <a:pt x="148" y="31"/>
                    <a:pt x="153" y="29"/>
                  </a:cubicBezTo>
                  <a:cubicBezTo>
                    <a:pt x="159" y="27"/>
                    <a:pt x="154" y="19"/>
                    <a:pt x="154" y="19"/>
                  </a:cubicBezTo>
                  <a:cubicBezTo>
                    <a:pt x="150" y="19"/>
                    <a:pt x="150" y="19"/>
                    <a:pt x="150" y="19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16" y="0"/>
                    <a:pt x="109" y="1"/>
                  </a:cubicBezTo>
                  <a:cubicBezTo>
                    <a:pt x="102" y="2"/>
                    <a:pt x="107" y="14"/>
                    <a:pt x="107" y="14"/>
                  </a:cubicBezTo>
                  <a:cubicBezTo>
                    <a:pt x="103" y="10"/>
                    <a:pt x="103" y="10"/>
                    <a:pt x="103" y="10"/>
                  </a:cubicBezTo>
                  <a:lnTo>
                    <a:pt x="93" y="17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58" name="Freeform 74"/>
            <p:cNvSpPr>
              <a:spLocks noEditPoints="1"/>
            </p:cNvSpPr>
            <p:nvPr/>
          </p:nvSpPr>
          <p:spPr bwMode="auto">
            <a:xfrm>
              <a:off x="2797" y="1795"/>
              <a:ext cx="198" cy="211"/>
            </a:xfrm>
            <a:custGeom>
              <a:avLst/>
              <a:gdLst>
                <a:gd name="T0" fmla="*/ 0 w 523"/>
                <a:gd name="T1" fmla="*/ 0 h 554"/>
                <a:gd name="T2" fmla="*/ 0 w 523"/>
                <a:gd name="T3" fmla="*/ 0 h 554"/>
                <a:gd name="T4" fmla="*/ 0 w 523"/>
                <a:gd name="T5" fmla="*/ 0 h 554"/>
                <a:gd name="T6" fmla="*/ 0 w 523"/>
                <a:gd name="T7" fmla="*/ 0 h 554"/>
                <a:gd name="T8" fmla="*/ 0 w 523"/>
                <a:gd name="T9" fmla="*/ 0 h 554"/>
                <a:gd name="T10" fmla="*/ 0 w 523"/>
                <a:gd name="T11" fmla="*/ 0 h 554"/>
                <a:gd name="T12" fmla="*/ 0 w 523"/>
                <a:gd name="T13" fmla="*/ 0 h 554"/>
                <a:gd name="T14" fmla="*/ 0 w 523"/>
                <a:gd name="T15" fmla="*/ 0 h 554"/>
                <a:gd name="T16" fmla="*/ 0 w 523"/>
                <a:gd name="T17" fmla="*/ 0 h 554"/>
                <a:gd name="T18" fmla="*/ 0 w 523"/>
                <a:gd name="T19" fmla="*/ 0 h 554"/>
                <a:gd name="T20" fmla="*/ 0 w 523"/>
                <a:gd name="T21" fmla="*/ 0 h 554"/>
                <a:gd name="T22" fmla="*/ 0 w 523"/>
                <a:gd name="T23" fmla="*/ 0 h 554"/>
                <a:gd name="T24" fmla="*/ 0 w 523"/>
                <a:gd name="T25" fmla="*/ 0 h 554"/>
                <a:gd name="T26" fmla="*/ 0 w 523"/>
                <a:gd name="T27" fmla="*/ 0 h 554"/>
                <a:gd name="T28" fmla="*/ 0 w 523"/>
                <a:gd name="T29" fmla="*/ 0 h 554"/>
                <a:gd name="T30" fmla="*/ 0 w 523"/>
                <a:gd name="T31" fmla="*/ 0 h 554"/>
                <a:gd name="T32" fmla="*/ 0 w 523"/>
                <a:gd name="T33" fmla="*/ 0 h 554"/>
                <a:gd name="T34" fmla="*/ 0 w 523"/>
                <a:gd name="T35" fmla="*/ 0 h 554"/>
                <a:gd name="T36" fmla="*/ 0 w 523"/>
                <a:gd name="T37" fmla="*/ 0 h 554"/>
                <a:gd name="T38" fmla="*/ 0 w 523"/>
                <a:gd name="T39" fmla="*/ 0 h 554"/>
                <a:gd name="T40" fmla="*/ 0 w 523"/>
                <a:gd name="T41" fmla="*/ 0 h 554"/>
                <a:gd name="T42" fmla="*/ 0 w 523"/>
                <a:gd name="T43" fmla="*/ 0 h 554"/>
                <a:gd name="T44" fmla="*/ 0 w 523"/>
                <a:gd name="T45" fmla="*/ 0 h 554"/>
                <a:gd name="T46" fmla="*/ 0 w 523"/>
                <a:gd name="T47" fmla="*/ 0 h 554"/>
                <a:gd name="T48" fmla="*/ 0 w 523"/>
                <a:gd name="T49" fmla="*/ 0 h 554"/>
                <a:gd name="T50" fmla="*/ 0 w 523"/>
                <a:gd name="T51" fmla="*/ 0 h 554"/>
                <a:gd name="T52" fmla="*/ 0 w 523"/>
                <a:gd name="T53" fmla="*/ 0 h 554"/>
                <a:gd name="T54" fmla="*/ 0 w 523"/>
                <a:gd name="T55" fmla="*/ 0 h 554"/>
                <a:gd name="T56" fmla="*/ 0 w 523"/>
                <a:gd name="T57" fmla="*/ 0 h 554"/>
                <a:gd name="T58" fmla="*/ 0 w 523"/>
                <a:gd name="T59" fmla="*/ 0 h 554"/>
                <a:gd name="T60" fmla="*/ 0 w 523"/>
                <a:gd name="T61" fmla="*/ 0 h 554"/>
                <a:gd name="T62" fmla="*/ 0 w 523"/>
                <a:gd name="T63" fmla="*/ 0 h 554"/>
                <a:gd name="T64" fmla="*/ 0 w 523"/>
                <a:gd name="T65" fmla="*/ 0 h 554"/>
                <a:gd name="T66" fmla="*/ 0 w 523"/>
                <a:gd name="T67" fmla="*/ 0 h 554"/>
                <a:gd name="T68" fmla="*/ 0 w 523"/>
                <a:gd name="T69" fmla="*/ 0 h 554"/>
                <a:gd name="T70" fmla="*/ 0 w 523"/>
                <a:gd name="T71" fmla="*/ 0 h 554"/>
                <a:gd name="T72" fmla="*/ 0 w 523"/>
                <a:gd name="T73" fmla="*/ 0 h 554"/>
                <a:gd name="T74" fmla="*/ 0 w 523"/>
                <a:gd name="T75" fmla="*/ 0 h 554"/>
                <a:gd name="T76" fmla="*/ 0 w 523"/>
                <a:gd name="T77" fmla="*/ 0 h 554"/>
                <a:gd name="T78" fmla="*/ 0 w 523"/>
                <a:gd name="T79" fmla="*/ 0 h 554"/>
                <a:gd name="T80" fmla="*/ 0 w 523"/>
                <a:gd name="T81" fmla="*/ 0 h 554"/>
                <a:gd name="T82" fmla="*/ 0 w 523"/>
                <a:gd name="T83" fmla="*/ 0 h 554"/>
                <a:gd name="T84" fmla="*/ 0 w 523"/>
                <a:gd name="T85" fmla="*/ 0 h 554"/>
                <a:gd name="T86" fmla="*/ 0 w 523"/>
                <a:gd name="T87" fmla="*/ 0 h 55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23"/>
                <a:gd name="T133" fmla="*/ 0 h 554"/>
                <a:gd name="T134" fmla="*/ 523 w 523"/>
                <a:gd name="T135" fmla="*/ 554 h 55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23" h="554">
                  <a:moveTo>
                    <a:pt x="378" y="479"/>
                  </a:moveTo>
                  <a:cubicBezTo>
                    <a:pt x="378" y="479"/>
                    <a:pt x="365" y="472"/>
                    <a:pt x="358" y="474"/>
                  </a:cubicBezTo>
                  <a:cubicBezTo>
                    <a:pt x="351" y="476"/>
                    <a:pt x="341" y="483"/>
                    <a:pt x="341" y="483"/>
                  </a:cubicBezTo>
                  <a:cubicBezTo>
                    <a:pt x="341" y="483"/>
                    <a:pt x="322" y="486"/>
                    <a:pt x="314" y="486"/>
                  </a:cubicBezTo>
                  <a:cubicBezTo>
                    <a:pt x="306" y="486"/>
                    <a:pt x="292" y="470"/>
                    <a:pt x="289" y="473"/>
                  </a:cubicBezTo>
                  <a:cubicBezTo>
                    <a:pt x="286" y="476"/>
                    <a:pt x="278" y="485"/>
                    <a:pt x="278" y="485"/>
                  </a:cubicBezTo>
                  <a:cubicBezTo>
                    <a:pt x="265" y="477"/>
                    <a:pt x="265" y="477"/>
                    <a:pt x="265" y="477"/>
                  </a:cubicBezTo>
                  <a:cubicBezTo>
                    <a:pt x="265" y="477"/>
                    <a:pt x="245" y="482"/>
                    <a:pt x="253" y="494"/>
                  </a:cubicBezTo>
                  <a:cubicBezTo>
                    <a:pt x="264" y="510"/>
                    <a:pt x="276" y="505"/>
                    <a:pt x="281" y="507"/>
                  </a:cubicBezTo>
                  <a:cubicBezTo>
                    <a:pt x="286" y="509"/>
                    <a:pt x="291" y="517"/>
                    <a:pt x="293" y="521"/>
                  </a:cubicBezTo>
                  <a:cubicBezTo>
                    <a:pt x="295" y="525"/>
                    <a:pt x="317" y="535"/>
                    <a:pt x="317" y="535"/>
                  </a:cubicBezTo>
                  <a:cubicBezTo>
                    <a:pt x="330" y="531"/>
                    <a:pt x="330" y="531"/>
                    <a:pt x="330" y="531"/>
                  </a:cubicBezTo>
                  <a:cubicBezTo>
                    <a:pt x="330" y="531"/>
                    <a:pt x="344" y="552"/>
                    <a:pt x="363" y="553"/>
                  </a:cubicBezTo>
                  <a:cubicBezTo>
                    <a:pt x="382" y="554"/>
                    <a:pt x="377" y="537"/>
                    <a:pt x="377" y="537"/>
                  </a:cubicBezTo>
                  <a:cubicBezTo>
                    <a:pt x="377" y="537"/>
                    <a:pt x="372" y="520"/>
                    <a:pt x="372" y="513"/>
                  </a:cubicBezTo>
                  <a:cubicBezTo>
                    <a:pt x="372" y="506"/>
                    <a:pt x="377" y="496"/>
                    <a:pt x="383" y="491"/>
                  </a:cubicBezTo>
                  <a:cubicBezTo>
                    <a:pt x="389" y="486"/>
                    <a:pt x="383" y="469"/>
                    <a:pt x="383" y="469"/>
                  </a:cubicBezTo>
                  <a:lnTo>
                    <a:pt x="378" y="479"/>
                  </a:lnTo>
                  <a:close/>
                  <a:moveTo>
                    <a:pt x="119" y="312"/>
                  </a:moveTo>
                  <a:cubicBezTo>
                    <a:pt x="107" y="311"/>
                    <a:pt x="95" y="332"/>
                    <a:pt x="87" y="332"/>
                  </a:cubicBezTo>
                  <a:cubicBezTo>
                    <a:pt x="79" y="332"/>
                    <a:pt x="68" y="320"/>
                    <a:pt x="68" y="320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4" y="331"/>
                    <a:pt x="79" y="344"/>
                    <a:pt x="79" y="354"/>
                  </a:cubicBezTo>
                  <a:cubicBezTo>
                    <a:pt x="79" y="364"/>
                    <a:pt x="75" y="381"/>
                    <a:pt x="75" y="381"/>
                  </a:cubicBezTo>
                  <a:cubicBezTo>
                    <a:pt x="81" y="388"/>
                    <a:pt x="81" y="388"/>
                    <a:pt x="81" y="388"/>
                  </a:cubicBezTo>
                  <a:cubicBezTo>
                    <a:pt x="73" y="393"/>
                    <a:pt x="73" y="393"/>
                    <a:pt x="73" y="393"/>
                  </a:cubicBezTo>
                  <a:cubicBezTo>
                    <a:pt x="78" y="424"/>
                    <a:pt x="78" y="424"/>
                    <a:pt x="78" y="424"/>
                  </a:cubicBezTo>
                  <a:cubicBezTo>
                    <a:pt x="69" y="424"/>
                    <a:pt x="69" y="424"/>
                    <a:pt x="69" y="424"/>
                  </a:cubicBezTo>
                  <a:cubicBezTo>
                    <a:pt x="82" y="435"/>
                    <a:pt x="82" y="435"/>
                    <a:pt x="82" y="435"/>
                  </a:cubicBezTo>
                  <a:cubicBezTo>
                    <a:pt x="98" y="435"/>
                    <a:pt x="103" y="414"/>
                    <a:pt x="103" y="414"/>
                  </a:cubicBezTo>
                  <a:cubicBezTo>
                    <a:pt x="103" y="414"/>
                    <a:pt x="115" y="430"/>
                    <a:pt x="124" y="423"/>
                  </a:cubicBezTo>
                  <a:cubicBezTo>
                    <a:pt x="133" y="416"/>
                    <a:pt x="129" y="398"/>
                    <a:pt x="129" y="398"/>
                  </a:cubicBezTo>
                  <a:cubicBezTo>
                    <a:pt x="133" y="388"/>
                    <a:pt x="133" y="388"/>
                    <a:pt x="133" y="388"/>
                  </a:cubicBezTo>
                  <a:cubicBezTo>
                    <a:pt x="133" y="371"/>
                    <a:pt x="133" y="371"/>
                    <a:pt x="133" y="371"/>
                  </a:cubicBezTo>
                  <a:cubicBezTo>
                    <a:pt x="133" y="371"/>
                    <a:pt x="127" y="369"/>
                    <a:pt x="128" y="364"/>
                  </a:cubicBezTo>
                  <a:cubicBezTo>
                    <a:pt x="129" y="359"/>
                    <a:pt x="140" y="359"/>
                    <a:pt x="140" y="352"/>
                  </a:cubicBezTo>
                  <a:cubicBezTo>
                    <a:pt x="140" y="345"/>
                    <a:pt x="131" y="313"/>
                    <a:pt x="119" y="312"/>
                  </a:cubicBezTo>
                  <a:close/>
                  <a:moveTo>
                    <a:pt x="515" y="363"/>
                  </a:moveTo>
                  <a:cubicBezTo>
                    <a:pt x="507" y="354"/>
                    <a:pt x="481" y="337"/>
                    <a:pt x="481" y="337"/>
                  </a:cubicBezTo>
                  <a:cubicBezTo>
                    <a:pt x="451" y="321"/>
                    <a:pt x="451" y="321"/>
                    <a:pt x="451" y="321"/>
                  </a:cubicBezTo>
                  <a:cubicBezTo>
                    <a:pt x="451" y="321"/>
                    <a:pt x="398" y="308"/>
                    <a:pt x="402" y="299"/>
                  </a:cubicBezTo>
                  <a:cubicBezTo>
                    <a:pt x="406" y="290"/>
                    <a:pt x="415" y="289"/>
                    <a:pt x="414" y="281"/>
                  </a:cubicBezTo>
                  <a:cubicBezTo>
                    <a:pt x="413" y="273"/>
                    <a:pt x="365" y="271"/>
                    <a:pt x="365" y="271"/>
                  </a:cubicBezTo>
                  <a:cubicBezTo>
                    <a:pt x="365" y="271"/>
                    <a:pt x="351" y="266"/>
                    <a:pt x="334" y="249"/>
                  </a:cubicBezTo>
                  <a:cubicBezTo>
                    <a:pt x="317" y="232"/>
                    <a:pt x="311" y="216"/>
                    <a:pt x="311" y="216"/>
                  </a:cubicBezTo>
                  <a:cubicBezTo>
                    <a:pt x="311" y="216"/>
                    <a:pt x="306" y="192"/>
                    <a:pt x="296" y="186"/>
                  </a:cubicBezTo>
                  <a:cubicBezTo>
                    <a:pt x="286" y="180"/>
                    <a:pt x="275" y="170"/>
                    <a:pt x="275" y="170"/>
                  </a:cubicBezTo>
                  <a:cubicBezTo>
                    <a:pt x="249" y="148"/>
                    <a:pt x="249" y="148"/>
                    <a:pt x="249" y="148"/>
                  </a:cubicBezTo>
                  <a:cubicBezTo>
                    <a:pt x="249" y="148"/>
                    <a:pt x="235" y="126"/>
                    <a:pt x="240" y="124"/>
                  </a:cubicBezTo>
                  <a:cubicBezTo>
                    <a:pt x="245" y="122"/>
                    <a:pt x="253" y="120"/>
                    <a:pt x="253" y="115"/>
                  </a:cubicBezTo>
                  <a:cubicBezTo>
                    <a:pt x="253" y="110"/>
                    <a:pt x="236" y="101"/>
                    <a:pt x="244" y="92"/>
                  </a:cubicBezTo>
                  <a:cubicBezTo>
                    <a:pt x="252" y="83"/>
                    <a:pt x="275" y="77"/>
                    <a:pt x="275" y="77"/>
                  </a:cubicBezTo>
                  <a:cubicBezTo>
                    <a:pt x="289" y="71"/>
                    <a:pt x="289" y="71"/>
                    <a:pt x="289" y="71"/>
                  </a:cubicBezTo>
                  <a:cubicBezTo>
                    <a:pt x="294" y="46"/>
                    <a:pt x="294" y="46"/>
                    <a:pt x="294" y="46"/>
                  </a:cubicBezTo>
                  <a:cubicBezTo>
                    <a:pt x="286" y="43"/>
                    <a:pt x="286" y="43"/>
                    <a:pt x="286" y="43"/>
                  </a:cubicBezTo>
                  <a:cubicBezTo>
                    <a:pt x="286" y="43"/>
                    <a:pt x="294" y="36"/>
                    <a:pt x="291" y="30"/>
                  </a:cubicBezTo>
                  <a:cubicBezTo>
                    <a:pt x="288" y="25"/>
                    <a:pt x="265" y="29"/>
                    <a:pt x="265" y="29"/>
                  </a:cubicBezTo>
                  <a:cubicBezTo>
                    <a:pt x="253" y="29"/>
                    <a:pt x="253" y="29"/>
                    <a:pt x="253" y="29"/>
                  </a:cubicBezTo>
                  <a:cubicBezTo>
                    <a:pt x="248" y="16"/>
                    <a:pt x="248" y="16"/>
                    <a:pt x="248" y="16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43" y="16"/>
                    <a:pt x="242" y="2"/>
                    <a:pt x="233" y="1"/>
                  </a:cubicBezTo>
                  <a:cubicBezTo>
                    <a:pt x="223" y="0"/>
                    <a:pt x="221" y="9"/>
                    <a:pt x="221" y="9"/>
                  </a:cubicBezTo>
                  <a:cubicBezTo>
                    <a:pt x="195" y="7"/>
                    <a:pt x="195" y="7"/>
                    <a:pt x="195" y="7"/>
                  </a:cubicBezTo>
                  <a:cubicBezTo>
                    <a:pt x="185" y="19"/>
                    <a:pt x="185" y="19"/>
                    <a:pt x="185" y="19"/>
                  </a:cubicBezTo>
                  <a:cubicBezTo>
                    <a:pt x="179" y="15"/>
                    <a:pt x="179" y="15"/>
                    <a:pt x="179" y="15"/>
                  </a:cubicBezTo>
                  <a:cubicBezTo>
                    <a:pt x="165" y="16"/>
                    <a:pt x="165" y="16"/>
                    <a:pt x="165" y="16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3" y="29"/>
                    <a:pt x="161" y="25"/>
                    <a:pt x="150" y="27"/>
                  </a:cubicBezTo>
                  <a:cubicBezTo>
                    <a:pt x="139" y="29"/>
                    <a:pt x="154" y="40"/>
                    <a:pt x="154" y="40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38" y="41"/>
                    <a:pt x="138" y="41"/>
                    <a:pt x="138" y="41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3" y="48"/>
                    <a:pt x="113" y="48"/>
                    <a:pt x="113" y="48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1" y="36"/>
                    <a:pt x="77" y="36"/>
                  </a:cubicBezTo>
                  <a:cubicBezTo>
                    <a:pt x="73" y="36"/>
                    <a:pt x="66" y="42"/>
                    <a:pt x="66" y="42"/>
                  </a:cubicBezTo>
                  <a:cubicBezTo>
                    <a:pt x="66" y="42"/>
                    <a:pt x="70" y="53"/>
                    <a:pt x="60" y="62"/>
                  </a:cubicBezTo>
                  <a:cubicBezTo>
                    <a:pt x="50" y="70"/>
                    <a:pt x="45" y="57"/>
                    <a:pt x="40" y="57"/>
                  </a:cubicBezTo>
                  <a:cubicBezTo>
                    <a:pt x="35" y="57"/>
                    <a:pt x="26" y="64"/>
                    <a:pt x="26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8"/>
                    <a:pt x="9" y="72"/>
                    <a:pt x="9" y="72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28" y="84"/>
                    <a:pt x="28" y="93"/>
                  </a:cubicBezTo>
                  <a:cubicBezTo>
                    <a:pt x="28" y="102"/>
                    <a:pt x="9" y="103"/>
                    <a:pt x="9" y="103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7" y="121"/>
                    <a:pt x="18" y="126"/>
                  </a:cubicBezTo>
                  <a:cubicBezTo>
                    <a:pt x="19" y="131"/>
                    <a:pt x="13" y="131"/>
                    <a:pt x="12" y="141"/>
                  </a:cubicBezTo>
                  <a:cubicBezTo>
                    <a:pt x="11" y="151"/>
                    <a:pt x="25" y="152"/>
                    <a:pt x="25" y="152"/>
                  </a:cubicBezTo>
                  <a:cubicBezTo>
                    <a:pt x="28" y="158"/>
                    <a:pt x="28" y="158"/>
                    <a:pt x="28" y="158"/>
                  </a:cubicBezTo>
                  <a:cubicBezTo>
                    <a:pt x="28" y="158"/>
                    <a:pt x="42" y="156"/>
                    <a:pt x="45" y="160"/>
                  </a:cubicBezTo>
                  <a:cubicBezTo>
                    <a:pt x="48" y="164"/>
                    <a:pt x="42" y="174"/>
                    <a:pt x="38" y="174"/>
                  </a:cubicBezTo>
                  <a:cubicBezTo>
                    <a:pt x="36" y="174"/>
                    <a:pt x="35" y="176"/>
                    <a:pt x="35" y="179"/>
                  </a:cubicBezTo>
                  <a:cubicBezTo>
                    <a:pt x="44" y="178"/>
                    <a:pt x="54" y="177"/>
                    <a:pt x="58" y="173"/>
                  </a:cubicBezTo>
                  <a:cubicBezTo>
                    <a:pt x="65" y="166"/>
                    <a:pt x="83" y="145"/>
                    <a:pt x="93" y="145"/>
                  </a:cubicBezTo>
                  <a:cubicBezTo>
                    <a:pt x="103" y="145"/>
                    <a:pt x="132" y="152"/>
                    <a:pt x="144" y="162"/>
                  </a:cubicBezTo>
                  <a:cubicBezTo>
                    <a:pt x="156" y="172"/>
                    <a:pt x="160" y="192"/>
                    <a:pt x="160" y="192"/>
                  </a:cubicBezTo>
                  <a:cubicBezTo>
                    <a:pt x="168" y="200"/>
                    <a:pt x="168" y="200"/>
                    <a:pt x="168" y="200"/>
                  </a:cubicBezTo>
                  <a:cubicBezTo>
                    <a:pt x="168" y="200"/>
                    <a:pt x="160" y="221"/>
                    <a:pt x="169" y="226"/>
                  </a:cubicBezTo>
                  <a:cubicBezTo>
                    <a:pt x="178" y="231"/>
                    <a:pt x="193" y="236"/>
                    <a:pt x="193" y="236"/>
                  </a:cubicBezTo>
                  <a:cubicBezTo>
                    <a:pt x="197" y="249"/>
                    <a:pt x="197" y="249"/>
                    <a:pt x="197" y="249"/>
                  </a:cubicBezTo>
                  <a:cubicBezTo>
                    <a:pt x="217" y="250"/>
                    <a:pt x="217" y="250"/>
                    <a:pt x="217" y="250"/>
                  </a:cubicBezTo>
                  <a:cubicBezTo>
                    <a:pt x="217" y="250"/>
                    <a:pt x="250" y="284"/>
                    <a:pt x="259" y="294"/>
                  </a:cubicBezTo>
                  <a:cubicBezTo>
                    <a:pt x="268" y="304"/>
                    <a:pt x="276" y="313"/>
                    <a:pt x="276" y="313"/>
                  </a:cubicBezTo>
                  <a:cubicBezTo>
                    <a:pt x="303" y="314"/>
                    <a:pt x="303" y="314"/>
                    <a:pt x="303" y="314"/>
                  </a:cubicBezTo>
                  <a:cubicBezTo>
                    <a:pt x="303" y="314"/>
                    <a:pt x="310" y="329"/>
                    <a:pt x="325" y="334"/>
                  </a:cubicBezTo>
                  <a:cubicBezTo>
                    <a:pt x="340" y="339"/>
                    <a:pt x="359" y="335"/>
                    <a:pt x="362" y="342"/>
                  </a:cubicBezTo>
                  <a:cubicBezTo>
                    <a:pt x="365" y="349"/>
                    <a:pt x="366" y="372"/>
                    <a:pt x="379" y="375"/>
                  </a:cubicBezTo>
                  <a:cubicBezTo>
                    <a:pt x="392" y="378"/>
                    <a:pt x="397" y="373"/>
                    <a:pt x="397" y="373"/>
                  </a:cubicBezTo>
                  <a:cubicBezTo>
                    <a:pt x="397" y="373"/>
                    <a:pt x="400" y="392"/>
                    <a:pt x="402" y="406"/>
                  </a:cubicBezTo>
                  <a:cubicBezTo>
                    <a:pt x="404" y="420"/>
                    <a:pt x="417" y="419"/>
                    <a:pt x="417" y="429"/>
                  </a:cubicBezTo>
                  <a:cubicBezTo>
                    <a:pt x="417" y="439"/>
                    <a:pt x="418" y="446"/>
                    <a:pt x="418" y="446"/>
                  </a:cubicBezTo>
                  <a:cubicBezTo>
                    <a:pt x="405" y="445"/>
                    <a:pt x="405" y="445"/>
                    <a:pt x="405" y="445"/>
                  </a:cubicBezTo>
                  <a:cubicBezTo>
                    <a:pt x="404" y="460"/>
                    <a:pt x="404" y="460"/>
                    <a:pt x="404" y="460"/>
                  </a:cubicBezTo>
                  <a:cubicBezTo>
                    <a:pt x="404" y="460"/>
                    <a:pt x="384" y="489"/>
                    <a:pt x="395" y="489"/>
                  </a:cubicBezTo>
                  <a:cubicBezTo>
                    <a:pt x="406" y="489"/>
                    <a:pt x="414" y="483"/>
                    <a:pt x="414" y="483"/>
                  </a:cubicBezTo>
                  <a:cubicBezTo>
                    <a:pt x="422" y="468"/>
                    <a:pt x="422" y="468"/>
                    <a:pt x="422" y="468"/>
                  </a:cubicBezTo>
                  <a:cubicBezTo>
                    <a:pt x="435" y="466"/>
                    <a:pt x="435" y="466"/>
                    <a:pt x="435" y="466"/>
                  </a:cubicBezTo>
                  <a:cubicBezTo>
                    <a:pt x="435" y="466"/>
                    <a:pt x="432" y="444"/>
                    <a:pt x="436" y="441"/>
                  </a:cubicBezTo>
                  <a:cubicBezTo>
                    <a:pt x="440" y="438"/>
                    <a:pt x="461" y="432"/>
                    <a:pt x="461" y="432"/>
                  </a:cubicBezTo>
                  <a:cubicBezTo>
                    <a:pt x="461" y="432"/>
                    <a:pt x="456" y="412"/>
                    <a:pt x="452" y="408"/>
                  </a:cubicBezTo>
                  <a:cubicBezTo>
                    <a:pt x="448" y="404"/>
                    <a:pt x="430" y="399"/>
                    <a:pt x="431" y="392"/>
                  </a:cubicBezTo>
                  <a:cubicBezTo>
                    <a:pt x="432" y="385"/>
                    <a:pt x="445" y="351"/>
                    <a:pt x="453" y="354"/>
                  </a:cubicBezTo>
                  <a:cubicBezTo>
                    <a:pt x="461" y="357"/>
                    <a:pt x="468" y="361"/>
                    <a:pt x="468" y="361"/>
                  </a:cubicBezTo>
                  <a:cubicBezTo>
                    <a:pt x="488" y="361"/>
                    <a:pt x="488" y="361"/>
                    <a:pt x="488" y="361"/>
                  </a:cubicBezTo>
                  <a:cubicBezTo>
                    <a:pt x="488" y="361"/>
                    <a:pt x="491" y="384"/>
                    <a:pt x="505" y="385"/>
                  </a:cubicBezTo>
                  <a:cubicBezTo>
                    <a:pt x="519" y="386"/>
                    <a:pt x="523" y="372"/>
                    <a:pt x="515" y="363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59" name="Freeform 75"/>
            <p:cNvSpPr>
              <a:spLocks/>
            </p:cNvSpPr>
            <p:nvPr/>
          </p:nvSpPr>
          <p:spPr bwMode="auto">
            <a:xfrm>
              <a:off x="2885" y="1717"/>
              <a:ext cx="106" cy="50"/>
            </a:xfrm>
            <a:custGeom>
              <a:avLst/>
              <a:gdLst>
                <a:gd name="T0" fmla="*/ 0 w 280"/>
                <a:gd name="T1" fmla="*/ 0 h 132"/>
                <a:gd name="T2" fmla="*/ 0 w 280"/>
                <a:gd name="T3" fmla="*/ 0 h 132"/>
                <a:gd name="T4" fmla="*/ 0 w 280"/>
                <a:gd name="T5" fmla="*/ 0 h 132"/>
                <a:gd name="T6" fmla="*/ 0 w 280"/>
                <a:gd name="T7" fmla="*/ 0 h 132"/>
                <a:gd name="T8" fmla="*/ 0 w 280"/>
                <a:gd name="T9" fmla="*/ 0 h 132"/>
                <a:gd name="T10" fmla="*/ 0 w 280"/>
                <a:gd name="T11" fmla="*/ 0 h 132"/>
                <a:gd name="T12" fmla="*/ 0 w 280"/>
                <a:gd name="T13" fmla="*/ 0 h 132"/>
                <a:gd name="T14" fmla="*/ 0 w 280"/>
                <a:gd name="T15" fmla="*/ 0 h 132"/>
                <a:gd name="T16" fmla="*/ 0 w 280"/>
                <a:gd name="T17" fmla="*/ 0 h 132"/>
                <a:gd name="T18" fmla="*/ 0 w 280"/>
                <a:gd name="T19" fmla="*/ 0 h 132"/>
                <a:gd name="T20" fmla="*/ 0 w 280"/>
                <a:gd name="T21" fmla="*/ 0 h 132"/>
                <a:gd name="T22" fmla="*/ 0 w 280"/>
                <a:gd name="T23" fmla="*/ 0 h 132"/>
                <a:gd name="T24" fmla="*/ 0 w 280"/>
                <a:gd name="T25" fmla="*/ 0 h 132"/>
                <a:gd name="T26" fmla="*/ 0 w 280"/>
                <a:gd name="T27" fmla="*/ 0 h 132"/>
                <a:gd name="T28" fmla="*/ 0 w 280"/>
                <a:gd name="T29" fmla="*/ 0 h 132"/>
                <a:gd name="T30" fmla="*/ 0 w 280"/>
                <a:gd name="T31" fmla="*/ 0 h 132"/>
                <a:gd name="T32" fmla="*/ 0 w 280"/>
                <a:gd name="T33" fmla="*/ 0 h 132"/>
                <a:gd name="T34" fmla="*/ 0 w 280"/>
                <a:gd name="T35" fmla="*/ 0 h 132"/>
                <a:gd name="T36" fmla="*/ 0 w 280"/>
                <a:gd name="T37" fmla="*/ 0 h 132"/>
                <a:gd name="T38" fmla="*/ 0 w 280"/>
                <a:gd name="T39" fmla="*/ 0 h 132"/>
                <a:gd name="T40" fmla="*/ 0 w 280"/>
                <a:gd name="T41" fmla="*/ 0 h 132"/>
                <a:gd name="T42" fmla="*/ 0 w 280"/>
                <a:gd name="T43" fmla="*/ 0 h 132"/>
                <a:gd name="T44" fmla="*/ 0 w 280"/>
                <a:gd name="T45" fmla="*/ 0 h 132"/>
                <a:gd name="T46" fmla="*/ 0 w 280"/>
                <a:gd name="T47" fmla="*/ 0 h 132"/>
                <a:gd name="T48" fmla="*/ 0 w 280"/>
                <a:gd name="T49" fmla="*/ 0 h 132"/>
                <a:gd name="T50" fmla="*/ 0 w 280"/>
                <a:gd name="T51" fmla="*/ 0 h 132"/>
                <a:gd name="T52" fmla="*/ 0 w 280"/>
                <a:gd name="T53" fmla="*/ 0 h 132"/>
                <a:gd name="T54" fmla="*/ 0 w 280"/>
                <a:gd name="T55" fmla="*/ 0 h 132"/>
                <a:gd name="T56" fmla="*/ 0 w 280"/>
                <a:gd name="T57" fmla="*/ 0 h 132"/>
                <a:gd name="T58" fmla="*/ 0 w 280"/>
                <a:gd name="T59" fmla="*/ 0 h 132"/>
                <a:gd name="T60" fmla="*/ 0 w 280"/>
                <a:gd name="T61" fmla="*/ 0 h 132"/>
                <a:gd name="T62" fmla="*/ 0 w 280"/>
                <a:gd name="T63" fmla="*/ 0 h 132"/>
                <a:gd name="T64" fmla="*/ 0 w 280"/>
                <a:gd name="T65" fmla="*/ 0 h 132"/>
                <a:gd name="T66" fmla="*/ 0 w 280"/>
                <a:gd name="T67" fmla="*/ 0 h 132"/>
                <a:gd name="T68" fmla="*/ 0 w 280"/>
                <a:gd name="T69" fmla="*/ 0 h 13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80"/>
                <a:gd name="T106" fmla="*/ 0 h 132"/>
                <a:gd name="T107" fmla="*/ 280 w 280"/>
                <a:gd name="T108" fmla="*/ 132 h 13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80" h="132">
                  <a:moveTo>
                    <a:pt x="275" y="73"/>
                  </a:moveTo>
                  <a:cubicBezTo>
                    <a:pt x="268" y="67"/>
                    <a:pt x="268" y="67"/>
                    <a:pt x="268" y="67"/>
                  </a:cubicBezTo>
                  <a:cubicBezTo>
                    <a:pt x="269" y="62"/>
                    <a:pt x="269" y="62"/>
                    <a:pt x="269" y="62"/>
                  </a:cubicBezTo>
                  <a:cubicBezTo>
                    <a:pt x="269" y="62"/>
                    <a:pt x="259" y="60"/>
                    <a:pt x="255" y="60"/>
                  </a:cubicBezTo>
                  <a:cubicBezTo>
                    <a:pt x="251" y="60"/>
                    <a:pt x="247" y="51"/>
                    <a:pt x="247" y="51"/>
                  </a:cubicBezTo>
                  <a:cubicBezTo>
                    <a:pt x="240" y="57"/>
                    <a:pt x="240" y="57"/>
                    <a:pt x="240" y="57"/>
                  </a:cubicBezTo>
                  <a:cubicBezTo>
                    <a:pt x="240" y="57"/>
                    <a:pt x="235" y="44"/>
                    <a:pt x="227" y="43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9" y="42"/>
                    <a:pt x="224" y="35"/>
                    <a:pt x="211" y="39"/>
                  </a:cubicBezTo>
                  <a:cubicBezTo>
                    <a:pt x="198" y="43"/>
                    <a:pt x="196" y="47"/>
                    <a:pt x="196" y="47"/>
                  </a:cubicBezTo>
                  <a:cubicBezTo>
                    <a:pt x="196" y="47"/>
                    <a:pt x="185" y="45"/>
                    <a:pt x="181" y="43"/>
                  </a:cubicBezTo>
                  <a:cubicBezTo>
                    <a:pt x="177" y="41"/>
                    <a:pt x="177" y="35"/>
                    <a:pt x="177" y="35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75" y="23"/>
                    <a:pt x="175" y="23"/>
                    <a:pt x="175" y="23"/>
                  </a:cubicBezTo>
                  <a:cubicBezTo>
                    <a:pt x="175" y="23"/>
                    <a:pt x="162" y="24"/>
                    <a:pt x="159" y="24"/>
                  </a:cubicBezTo>
                  <a:cubicBezTo>
                    <a:pt x="156" y="24"/>
                    <a:pt x="158" y="18"/>
                    <a:pt x="146" y="14"/>
                  </a:cubicBezTo>
                  <a:cubicBezTo>
                    <a:pt x="134" y="10"/>
                    <a:pt x="132" y="13"/>
                    <a:pt x="132" y="13"/>
                  </a:cubicBezTo>
                  <a:cubicBezTo>
                    <a:pt x="129" y="4"/>
                    <a:pt x="129" y="4"/>
                    <a:pt x="129" y="4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4" y="6"/>
                    <a:pt x="111" y="11"/>
                    <a:pt x="108" y="11"/>
                  </a:cubicBezTo>
                  <a:cubicBezTo>
                    <a:pt x="103" y="12"/>
                    <a:pt x="98" y="0"/>
                    <a:pt x="96" y="1"/>
                  </a:cubicBezTo>
                  <a:cubicBezTo>
                    <a:pt x="94" y="2"/>
                    <a:pt x="89" y="8"/>
                    <a:pt x="87" y="11"/>
                  </a:cubicBezTo>
                  <a:cubicBezTo>
                    <a:pt x="84" y="14"/>
                    <a:pt x="73" y="13"/>
                    <a:pt x="73" y="13"/>
                  </a:cubicBezTo>
                  <a:cubicBezTo>
                    <a:pt x="73" y="13"/>
                    <a:pt x="75" y="18"/>
                    <a:pt x="72" y="19"/>
                  </a:cubicBezTo>
                  <a:cubicBezTo>
                    <a:pt x="69" y="20"/>
                    <a:pt x="58" y="20"/>
                    <a:pt x="58" y="20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6"/>
                    <a:pt x="40" y="32"/>
                    <a:pt x="31" y="30"/>
                  </a:cubicBezTo>
                  <a:cubicBezTo>
                    <a:pt x="23" y="28"/>
                    <a:pt x="21" y="36"/>
                    <a:pt x="21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5" y="41"/>
                    <a:pt x="11" y="42"/>
                  </a:cubicBezTo>
                  <a:cubicBezTo>
                    <a:pt x="7" y="42"/>
                    <a:pt x="7" y="36"/>
                    <a:pt x="3" y="38"/>
                  </a:cubicBezTo>
                  <a:cubicBezTo>
                    <a:pt x="0" y="41"/>
                    <a:pt x="5" y="50"/>
                    <a:pt x="5" y="50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9" y="64"/>
                    <a:pt x="10" y="66"/>
                  </a:cubicBezTo>
                  <a:cubicBezTo>
                    <a:pt x="11" y="68"/>
                    <a:pt x="19" y="74"/>
                    <a:pt x="19" y="74"/>
                  </a:cubicBezTo>
                  <a:cubicBezTo>
                    <a:pt x="21" y="80"/>
                    <a:pt x="21" y="80"/>
                    <a:pt x="21" y="80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1" y="87"/>
                    <a:pt x="29" y="88"/>
                  </a:cubicBezTo>
                  <a:cubicBezTo>
                    <a:pt x="36" y="88"/>
                    <a:pt x="42" y="90"/>
                    <a:pt x="42" y="90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5" y="107"/>
                    <a:pt x="55" y="107"/>
                    <a:pt x="55" y="107"/>
                  </a:cubicBezTo>
                  <a:cubicBezTo>
                    <a:pt x="55" y="107"/>
                    <a:pt x="60" y="105"/>
                    <a:pt x="65" y="108"/>
                  </a:cubicBezTo>
                  <a:cubicBezTo>
                    <a:pt x="71" y="112"/>
                    <a:pt x="72" y="119"/>
                    <a:pt x="72" y="119"/>
                  </a:cubicBezTo>
                  <a:cubicBezTo>
                    <a:pt x="72" y="119"/>
                    <a:pt x="80" y="131"/>
                    <a:pt x="87" y="131"/>
                  </a:cubicBezTo>
                  <a:cubicBezTo>
                    <a:pt x="95" y="131"/>
                    <a:pt x="101" y="127"/>
                    <a:pt x="101" y="127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115" y="119"/>
                    <a:pt x="122" y="106"/>
                    <a:pt x="125" y="105"/>
                  </a:cubicBezTo>
                  <a:cubicBezTo>
                    <a:pt x="129" y="104"/>
                    <a:pt x="142" y="112"/>
                    <a:pt x="142" y="112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58" y="113"/>
                    <a:pt x="158" y="113"/>
                    <a:pt x="158" y="113"/>
                  </a:cubicBezTo>
                  <a:cubicBezTo>
                    <a:pt x="165" y="121"/>
                    <a:pt x="165" y="121"/>
                    <a:pt x="165" y="121"/>
                  </a:cubicBezTo>
                  <a:cubicBezTo>
                    <a:pt x="173" y="120"/>
                    <a:pt x="173" y="120"/>
                    <a:pt x="173" y="120"/>
                  </a:cubicBezTo>
                  <a:cubicBezTo>
                    <a:pt x="173" y="120"/>
                    <a:pt x="177" y="113"/>
                    <a:pt x="184" y="115"/>
                  </a:cubicBezTo>
                  <a:cubicBezTo>
                    <a:pt x="192" y="118"/>
                    <a:pt x="200" y="123"/>
                    <a:pt x="200" y="123"/>
                  </a:cubicBezTo>
                  <a:cubicBezTo>
                    <a:pt x="200" y="123"/>
                    <a:pt x="205" y="119"/>
                    <a:pt x="209" y="118"/>
                  </a:cubicBezTo>
                  <a:cubicBezTo>
                    <a:pt x="212" y="117"/>
                    <a:pt x="218" y="117"/>
                    <a:pt x="221" y="116"/>
                  </a:cubicBezTo>
                  <a:cubicBezTo>
                    <a:pt x="222" y="118"/>
                    <a:pt x="228" y="120"/>
                    <a:pt x="233" y="117"/>
                  </a:cubicBezTo>
                  <a:cubicBezTo>
                    <a:pt x="240" y="112"/>
                    <a:pt x="255" y="105"/>
                    <a:pt x="255" y="105"/>
                  </a:cubicBezTo>
                  <a:cubicBezTo>
                    <a:pt x="255" y="92"/>
                    <a:pt x="255" y="92"/>
                    <a:pt x="255" y="92"/>
                  </a:cubicBezTo>
                  <a:cubicBezTo>
                    <a:pt x="269" y="86"/>
                    <a:pt x="269" y="86"/>
                    <a:pt x="269" y="86"/>
                  </a:cubicBezTo>
                  <a:cubicBezTo>
                    <a:pt x="280" y="79"/>
                    <a:pt x="280" y="79"/>
                    <a:pt x="280" y="79"/>
                  </a:cubicBezTo>
                  <a:cubicBezTo>
                    <a:pt x="277" y="76"/>
                    <a:pt x="275" y="73"/>
                    <a:pt x="275" y="73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60" name="Freeform 76"/>
            <p:cNvSpPr>
              <a:spLocks/>
            </p:cNvSpPr>
            <p:nvPr/>
          </p:nvSpPr>
          <p:spPr bwMode="auto">
            <a:xfrm>
              <a:off x="2915" y="1644"/>
              <a:ext cx="159" cy="114"/>
            </a:xfrm>
            <a:custGeom>
              <a:avLst/>
              <a:gdLst>
                <a:gd name="T0" fmla="*/ 0 w 419"/>
                <a:gd name="T1" fmla="*/ 0 h 301"/>
                <a:gd name="T2" fmla="*/ 0 w 419"/>
                <a:gd name="T3" fmla="*/ 0 h 301"/>
                <a:gd name="T4" fmla="*/ 0 w 419"/>
                <a:gd name="T5" fmla="*/ 0 h 301"/>
                <a:gd name="T6" fmla="*/ 0 w 419"/>
                <a:gd name="T7" fmla="*/ 0 h 301"/>
                <a:gd name="T8" fmla="*/ 0 w 419"/>
                <a:gd name="T9" fmla="*/ 0 h 301"/>
                <a:gd name="T10" fmla="*/ 0 w 419"/>
                <a:gd name="T11" fmla="*/ 0 h 301"/>
                <a:gd name="T12" fmla="*/ 0 w 419"/>
                <a:gd name="T13" fmla="*/ 0 h 301"/>
                <a:gd name="T14" fmla="*/ 0 w 419"/>
                <a:gd name="T15" fmla="*/ 0 h 301"/>
                <a:gd name="T16" fmla="*/ 0 w 419"/>
                <a:gd name="T17" fmla="*/ 0 h 301"/>
                <a:gd name="T18" fmla="*/ 0 w 419"/>
                <a:gd name="T19" fmla="*/ 0 h 301"/>
                <a:gd name="T20" fmla="*/ 0 w 419"/>
                <a:gd name="T21" fmla="*/ 0 h 301"/>
                <a:gd name="T22" fmla="*/ 0 w 419"/>
                <a:gd name="T23" fmla="*/ 0 h 301"/>
                <a:gd name="T24" fmla="*/ 0 w 419"/>
                <a:gd name="T25" fmla="*/ 0 h 301"/>
                <a:gd name="T26" fmla="*/ 0 w 419"/>
                <a:gd name="T27" fmla="*/ 0 h 301"/>
                <a:gd name="T28" fmla="*/ 0 w 419"/>
                <a:gd name="T29" fmla="*/ 0 h 301"/>
                <a:gd name="T30" fmla="*/ 0 w 419"/>
                <a:gd name="T31" fmla="*/ 0 h 301"/>
                <a:gd name="T32" fmla="*/ 0 w 419"/>
                <a:gd name="T33" fmla="*/ 0 h 301"/>
                <a:gd name="T34" fmla="*/ 0 w 419"/>
                <a:gd name="T35" fmla="*/ 0 h 301"/>
                <a:gd name="T36" fmla="*/ 0 w 419"/>
                <a:gd name="T37" fmla="*/ 0 h 301"/>
                <a:gd name="T38" fmla="*/ 0 w 419"/>
                <a:gd name="T39" fmla="*/ 0 h 301"/>
                <a:gd name="T40" fmla="*/ 0 w 419"/>
                <a:gd name="T41" fmla="*/ 0 h 301"/>
                <a:gd name="T42" fmla="*/ 0 w 419"/>
                <a:gd name="T43" fmla="*/ 0 h 301"/>
                <a:gd name="T44" fmla="*/ 0 w 419"/>
                <a:gd name="T45" fmla="*/ 0 h 301"/>
                <a:gd name="T46" fmla="*/ 0 w 419"/>
                <a:gd name="T47" fmla="*/ 0 h 301"/>
                <a:gd name="T48" fmla="*/ 0 w 419"/>
                <a:gd name="T49" fmla="*/ 0 h 301"/>
                <a:gd name="T50" fmla="*/ 0 w 419"/>
                <a:gd name="T51" fmla="*/ 0 h 301"/>
                <a:gd name="T52" fmla="*/ 0 w 419"/>
                <a:gd name="T53" fmla="*/ 0 h 301"/>
                <a:gd name="T54" fmla="*/ 0 w 419"/>
                <a:gd name="T55" fmla="*/ 0 h 301"/>
                <a:gd name="T56" fmla="*/ 0 w 419"/>
                <a:gd name="T57" fmla="*/ 0 h 301"/>
                <a:gd name="T58" fmla="*/ 0 w 419"/>
                <a:gd name="T59" fmla="*/ 0 h 301"/>
                <a:gd name="T60" fmla="*/ 0 w 419"/>
                <a:gd name="T61" fmla="*/ 0 h 301"/>
                <a:gd name="T62" fmla="*/ 0 w 419"/>
                <a:gd name="T63" fmla="*/ 0 h 301"/>
                <a:gd name="T64" fmla="*/ 0 w 419"/>
                <a:gd name="T65" fmla="*/ 0 h 301"/>
                <a:gd name="T66" fmla="*/ 0 w 419"/>
                <a:gd name="T67" fmla="*/ 0 h 301"/>
                <a:gd name="T68" fmla="*/ 0 w 419"/>
                <a:gd name="T69" fmla="*/ 0 h 301"/>
                <a:gd name="T70" fmla="*/ 0 w 419"/>
                <a:gd name="T71" fmla="*/ 0 h 301"/>
                <a:gd name="T72" fmla="*/ 0 w 419"/>
                <a:gd name="T73" fmla="*/ 0 h 301"/>
                <a:gd name="T74" fmla="*/ 0 w 419"/>
                <a:gd name="T75" fmla="*/ 0 h 301"/>
                <a:gd name="T76" fmla="*/ 0 w 419"/>
                <a:gd name="T77" fmla="*/ 0 h 301"/>
                <a:gd name="T78" fmla="*/ 0 w 419"/>
                <a:gd name="T79" fmla="*/ 0 h 301"/>
                <a:gd name="T80" fmla="*/ 0 w 419"/>
                <a:gd name="T81" fmla="*/ 0 h 301"/>
                <a:gd name="T82" fmla="*/ 0 w 419"/>
                <a:gd name="T83" fmla="*/ 0 h 301"/>
                <a:gd name="T84" fmla="*/ 0 w 419"/>
                <a:gd name="T85" fmla="*/ 0 h 301"/>
                <a:gd name="T86" fmla="*/ 0 w 419"/>
                <a:gd name="T87" fmla="*/ 0 h 301"/>
                <a:gd name="T88" fmla="*/ 0 w 419"/>
                <a:gd name="T89" fmla="*/ 0 h 30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9"/>
                <a:gd name="T136" fmla="*/ 0 h 301"/>
                <a:gd name="T137" fmla="*/ 419 w 419"/>
                <a:gd name="T138" fmla="*/ 301 h 30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9" h="301">
                  <a:moveTo>
                    <a:pt x="288" y="284"/>
                  </a:moveTo>
                  <a:cubicBezTo>
                    <a:pt x="293" y="284"/>
                    <a:pt x="298" y="276"/>
                    <a:pt x="312" y="276"/>
                  </a:cubicBezTo>
                  <a:cubicBezTo>
                    <a:pt x="326" y="276"/>
                    <a:pt x="325" y="283"/>
                    <a:pt x="332" y="289"/>
                  </a:cubicBezTo>
                  <a:cubicBezTo>
                    <a:pt x="339" y="295"/>
                    <a:pt x="345" y="293"/>
                    <a:pt x="351" y="293"/>
                  </a:cubicBezTo>
                  <a:cubicBezTo>
                    <a:pt x="357" y="293"/>
                    <a:pt x="355" y="300"/>
                    <a:pt x="355" y="300"/>
                  </a:cubicBezTo>
                  <a:cubicBezTo>
                    <a:pt x="371" y="301"/>
                    <a:pt x="371" y="301"/>
                    <a:pt x="371" y="301"/>
                  </a:cubicBezTo>
                  <a:cubicBezTo>
                    <a:pt x="371" y="301"/>
                    <a:pt x="362" y="295"/>
                    <a:pt x="363" y="285"/>
                  </a:cubicBezTo>
                  <a:cubicBezTo>
                    <a:pt x="364" y="275"/>
                    <a:pt x="364" y="265"/>
                    <a:pt x="364" y="265"/>
                  </a:cubicBezTo>
                  <a:cubicBezTo>
                    <a:pt x="399" y="230"/>
                    <a:pt x="399" y="230"/>
                    <a:pt x="399" y="230"/>
                  </a:cubicBezTo>
                  <a:cubicBezTo>
                    <a:pt x="399" y="230"/>
                    <a:pt x="419" y="229"/>
                    <a:pt x="417" y="224"/>
                  </a:cubicBezTo>
                  <a:cubicBezTo>
                    <a:pt x="415" y="219"/>
                    <a:pt x="409" y="211"/>
                    <a:pt x="409" y="211"/>
                  </a:cubicBezTo>
                  <a:cubicBezTo>
                    <a:pt x="416" y="203"/>
                    <a:pt x="416" y="203"/>
                    <a:pt x="416" y="203"/>
                  </a:cubicBezTo>
                  <a:cubicBezTo>
                    <a:pt x="416" y="203"/>
                    <a:pt x="404" y="200"/>
                    <a:pt x="401" y="191"/>
                  </a:cubicBezTo>
                  <a:cubicBezTo>
                    <a:pt x="398" y="182"/>
                    <a:pt x="390" y="180"/>
                    <a:pt x="390" y="180"/>
                  </a:cubicBezTo>
                  <a:cubicBezTo>
                    <a:pt x="388" y="167"/>
                    <a:pt x="388" y="167"/>
                    <a:pt x="388" y="167"/>
                  </a:cubicBezTo>
                  <a:cubicBezTo>
                    <a:pt x="388" y="167"/>
                    <a:pt x="388" y="167"/>
                    <a:pt x="389" y="167"/>
                  </a:cubicBezTo>
                  <a:cubicBezTo>
                    <a:pt x="386" y="158"/>
                    <a:pt x="386" y="158"/>
                    <a:pt x="386" y="158"/>
                  </a:cubicBezTo>
                  <a:cubicBezTo>
                    <a:pt x="386" y="158"/>
                    <a:pt x="389" y="144"/>
                    <a:pt x="387" y="140"/>
                  </a:cubicBezTo>
                  <a:cubicBezTo>
                    <a:pt x="385" y="136"/>
                    <a:pt x="371" y="133"/>
                    <a:pt x="369" y="127"/>
                  </a:cubicBezTo>
                  <a:cubicBezTo>
                    <a:pt x="367" y="121"/>
                    <a:pt x="376" y="123"/>
                    <a:pt x="379" y="123"/>
                  </a:cubicBezTo>
                  <a:cubicBezTo>
                    <a:pt x="382" y="123"/>
                    <a:pt x="380" y="111"/>
                    <a:pt x="380" y="111"/>
                  </a:cubicBezTo>
                  <a:cubicBezTo>
                    <a:pt x="394" y="106"/>
                    <a:pt x="394" y="106"/>
                    <a:pt x="394" y="106"/>
                  </a:cubicBezTo>
                  <a:cubicBezTo>
                    <a:pt x="394" y="106"/>
                    <a:pt x="396" y="98"/>
                    <a:pt x="398" y="94"/>
                  </a:cubicBezTo>
                  <a:cubicBezTo>
                    <a:pt x="400" y="90"/>
                    <a:pt x="392" y="78"/>
                    <a:pt x="392" y="78"/>
                  </a:cubicBezTo>
                  <a:cubicBezTo>
                    <a:pt x="392" y="78"/>
                    <a:pt x="381" y="69"/>
                    <a:pt x="381" y="64"/>
                  </a:cubicBezTo>
                  <a:cubicBezTo>
                    <a:pt x="381" y="59"/>
                    <a:pt x="373" y="46"/>
                    <a:pt x="373" y="46"/>
                  </a:cubicBezTo>
                  <a:cubicBezTo>
                    <a:pt x="373" y="33"/>
                    <a:pt x="373" y="33"/>
                    <a:pt x="373" y="33"/>
                  </a:cubicBezTo>
                  <a:cubicBezTo>
                    <a:pt x="373" y="33"/>
                    <a:pt x="357" y="24"/>
                    <a:pt x="344" y="22"/>
                  </a:cubicBezTo>
                  <a:cubicBezTo>
                    <a:pt x="331" y="20"/>
                    <a:pt x="336" y="27"/>
                    <a:pt x="336" y="27"/>
                  </a:cubicBezTo>
                  <a:cubicBezTo>
                    <a:pt x="336" y="27"/>
                    <a:pt x="321" y="27"/>
                    <a:pt x="313" y="26"/>
                  </a:cubicBezTo>
                  <a:cubicBezTo>
                    <a:pt x="305" y="25"/>
                    <a:pt x="274" y="27"/>
                    <a:pt x="274" y="27"/>
                  </a:cubicBezTo>
                  <a:cubicBezTo>
                    <a:pt x="274" y="27"/>
                    <a:pt x="266" y="22"/>
                    <a:pt x="257" y="20"/>
                  </a:cubicBezTo>
                  <a:cubicBezTo>
                    <a:pt x="248" y="18"/>
                    <a:pt x="236" y="23"/>
                    <a:pt x="236" y="23"/>
                  </a:cubicBezTo>
                  <a:cubicBezTo>
                    <a:pt x="231" y="18"/>
                    <a:pt x="231" y="18"/>
                    <a:pt x="231" y="18"/>
                  </a:cubicBezTo>
                  <a:cubicBezTo>
                    <a:pt x="231" y="19"/>
                    <a:pt x="231" y="19"/>
                    <a:pt x="231" y="19"/>
                  </a:cubicBezTo>
                  <a:cubicBezTo>
                    <a:pt x="231" y="19"/>
                    <a:pt x="195" y="23"/>
                    <a:pt x="189" y="22"/>
                  </a:cubicBezTo>
                  <a:cubicBezTo>
                    <a:pt x="183" y="21"/>
                    <a:pt x="178" y="4"/>
                    <a:pt x="178" y="4"/>
                  </a:cubicBezTo>
                  <a:cubicBezTo>
                    <a:pt x="178" y="4"/>
                    <a:pt x="164" y="0"/>
                    <a:pt x="149" y="0"/>
                  </a:cubicBezTo>
                  <a:cubicBezTo>
                    <a:pt x="134" y="0"/>
                    <a:pt x="94" y="17"/>
                    <a:pt x="94" y="17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10" y="44"/>
                    <a:pt x="12" y="48"/>
                  </a:cubicBezTo>
                  <a:cubicBezTo>
                    <a:pt x="14" y="52"/>
                    <a:pt x="14" y="62"/>
                    <a:pt x="14" y="62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8" y="61"/>
                    <a:pt x="9" y="65"/>
                    <a:pt x="8" y="68"/>
                  </a:cubicBezTo>
                  <a:cubicBezTo>
                    <a:pt x="6" y="74"/>
                    <a:pt x="11" y="66"/>
                    <a:pt x="14" y="75"/>
                  </a:cubicBezTo>
                  <a:cubicBezTo>
                    <a:pt x="16" y="83"/>
                    <a:pt x="18" y="85"/>
                    <a:pt x="12" y="89"/>
                  </a:cubicBezTo>
                  <a:cubicBezTo>
                    <a:pt x="6" y="94"/>
                    <a:pt x="0" y="95"/>
                    <a:pt x="3" y="102"/>
                  </a:cubicBezTo>
                  <a:cubicBezTo>
                    <a:pt x="6" y="109"/>
                    <a:pt x="10" y="105"/>
                    <a:pt x="10" y="105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8" y="107"/>
                    <a:pt x="21" y="111"/>
                  </a:cubicBezTo>
                  <a:cubicBezTo>
                    <a:pt x="24" y="116"/>
                    <a:pt x="24" y="122"/>
                    <a:pt x="24" y="122"/>
                  </a:cubicBezTo>
                  <a:cubicBezTo>
                    <a:pt x="24" y="122"/>
                    <a:pt x="18" y="125"/>
                    <a:pt x="19" y="128"/>
                  </a:cubicBezTo>
                  <a:cubicBezTo>
                    <a:pt x="20" y="131"/>
                    <a:pt x="25" y="132"/>
                    <a:pt x="25" y="132"/>
                  </a:cubicBezTo>
                  <a:cubicBezTo>
                    <a:pt x="25" y="132"/>
                    <a:pt x="22" y="139"/>
                    <a:pt x="24" y="139"/>
                  </a:cubicBezTo>
                  <a:cubicBezTo>
                    <a:pt x="26" y="140"/>
                    <a:pt x="29" y="142"/>
                    <a:pt x="29" y="142"/>
                  </a:cubicBezTo>
                  <a:cubicBezTo>
                    <a:pt x="29" y="142"/>
                    <a:pt x="20" y="148"/>
                    <a:pt x="20" y="153"/>
                  </a:cubicBezTo>
                  <a:cubicBezTo>
                    <a:pt x="21" y="159"/>
                    <a:pt x="30" y="161"/>
                    <a:pt x="30" y="161"/>
                  </a:cubicBezTo>
                  <a:cubicBezTo>
                    <a:pt x="29" y="173"/>
                    <a:pt x="29" y="173"/>
                    <a:pt x="29" y="173"/>
                  </a:cubicBezTo>
                  <a:cubicBezTo>
                    <a:pt x="29" y="173"/>
                    <a:pt x="37" y="167"/>
                    <a:pt x="38" y="173"/>
                  </a:cubicBezTo>
                  <a:cubicBezTo>
                    <a:pt x="40" y="178"/>
                    <a:pt x="36" y="183"/>
                    <a:pt x="36" y="183"/>
                  </a:cubicBezTo>
                  <a:cubicBezTo>
                    <a:pt x="36" y="183"/>
                    <a:pt x="42" y="184"/>
                    <a:pt x="41" y="187"/>
                  </a:cubicBezTo>
                  <a:cubicBezTo>
                    <a:pt x="40" y="189"/>
                    <a:pt x="39" y="192"/>
                    <a:pt x="37" y="195"/>
                  </a:cubicBezTo>
                  <a:cubicBezTo>
                    <a:pt x="50" y="197"/>
                    <a:pt x="50" y="197"/>
                    <a:pt x="50" y="197"/>
                  </a:cubicBezTo>
                  <a:cubicBezTo>
                    <a:pt x="53" y="206"/>
                    <a:pt x="53" y="206"/>
                    <a:pt x="53" y="206"/>
                  </a:cubicBezTo>
                  <a:cubicBezTo>
                    <a:pt x="53" y="206"/>
                    <a:pt x="55" y="203"/>
                    <a:pt x="67" y="207"/>
                  </a:cubicBezTo>
                  <a:cubicBezTo>
                    <a:pt x="79" y="211"/>
                    <a:pt x="77" y="217"/>
                    <a:pt x="80" y="217"/>
                  </a:cubicBezTo>
                  <a:cubicBezTo>
                    <a:pt x="83" y="217"/>
                    <a:pt x="96" y="216"/>
                    <a:pt x="96" y="216"/>
                  </a:cubicBezTo>
                  <a:cubicBezTo>
                    <a:pt x="99" y="221"/>
                    <a:pt x="99" y="221"/>
                    <a:pt x="99" y="221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8" y="228"/>
                    <a:pt x="98" y="228"/>
                    <a:pt x="98" y="228"/>
                  </a:cubicBezTo>
                  <a:cubicBezTo>
                    <a:pt x="98" y="228"/>
                    <a:pt x="98" y="234"/>
                    <a:pt x="102" y="236"/>
                  </a:cubicBezTo>
                  <a:cubicBezTo>
                    <a:pt x="106" y="238"/>
                    <a:pt x="117" y="240"/>
                    <a:pt x="117" y="240"/>
                  </a:cubicBezTo>
                  <a:cubicBezTo>
                    <a:pt x="117" y="240"/>
                    <a:pt x="119" y="236"/>
                    <a:pt x="132" y="232"/>
                  </a:cubicBezTo>
                  <a:cubicBezTo>
                    <a:pt x="145" y="228"/>
                    <a:pt x="140" y="235"/>
                    <a:pt x="140" y="235"/>
                  </a:cubicBezTo>
                  <a:cubicBezTo>
                    <a:pt x="140" y="235"/>
                    <a:pt x="140" y="235"/>
                    <a:pt x="148" y="236"/>
                  </a:cubicBezTo>
                  <a:cubicBezTo>
                    <a:pt x="156" y="237"/>
                    <a:pt x="161" y="250"/>
                    <a:pt x="161" y="250"/>
                  </a:cubicBezTo>
                  <a:cubicBezTo>
                    <a:pt x="168" y="244"/>
                    <a:pt x="168" y="244"/>
                    <a:pt x="168" y="244"/>
                  </a:cubicBezTo>
                  <a:cubicBezTo>
                    <a:pt x="168" y="244"/>
                    <a:pt x="172" y="253"/>
                    <a:pt x="176" y="253"/>
                  </a:cubicBezTo>
                  <a:cubicBezTo>
                    <a:pt x="180" y="253"/>
                    <a:pt x="190" y="255"/>
                    <a:pt x="190" y="255"/>
                  </a:cubicBezTo>
                  <a:cubicBezTo>
                    <a:pt x="189" y="260"/>
                    <a:pt x="189" y="260"/>
                    <a:pt x="189" y="260"/>
                  </a:cubicBezTo>
                  <a:cubicBezTo>
                    <a:pt x="196" y="266"/>
                    <a:pt x="196" y="266"/>
                    <a:pt x="196" y="266"/>
                  </a:cubicBezTo>
                  <a:cubicBezTo>
                    <a:pt x="196" y="266"/>
                    <a:pt x="206" y="278"/>
                    <a:pt x="209" y="278"/>
                  </a:cubicBezTo>
                  <a:cubicBezTo>
                    <a:pt x="212" y="278"/>
                    <a:pt x="222" y="270"/>
                    <a:pt x="229" y="272"/>
                  </a:cubicBezTo>
                  <a:cubicBezTo>
                    <a:pt x="236" y="274"/>
                    <a:pt x="237" y="281"/>
                    <a:pt x="237" y="281"/>
                  </a:cubicBezTo>
                  <a:cubicBezTo>
                    <a:pt x="244" y="281"/>
                    <a:pt x="244" y="281"/>
                    <a:pt x="244" y="281"/>
                  </a:cubicBezTo>
                  <a:cubicBezTo>
                    <a:pt x="244" y="281"/>
                    <a:pt x="241" y="288"/>
                    <a:pt x="250" y="288"/>
                  </a:cubicBezTo>
                  <a:cubicBezTo>
                    <a:pt x="259" y="288"/>
                    <a:pt x="258" y="279"/>
                    <a:pt x="258" y="279"/>
                  </a:cubicBezTo>
                  <a:cubicBezTo>
                    <a:pt x="277" y="280"/>
                    <a:pt x="277" y="280"/>
                    <a:pt x="277" y="280"/>
                  </a:cubicBezTo>
                  <a:cubicBezTo>
                    <a:pt x="277" y="280"/>
                    <a:pt x="283" y="284"/>
                    <a:pt x="288" y="284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61" name="Freeform 77"/>
            <p:cNvSpPr>
              <a:spLocks/>
            </p:cNvSpPr>
            <p:nvPr/>
          </p:nvSpPr>
          <p:spPr bwMode="auto">
            <a:xfrm>
              <a:off x="2785" y="1735"/>
              <a:ext cx="13" cy="13"/>
            </a:xfrm>
            <a:custGeom>
              <a:avLst/>
              <a:gdLst>
                <a:gd name="T0" fmla="*/ 0 w 36"/>
                <a:gd name="T1" fmla="*/ 0 h 32"/>
                <a:gd name="T2" fmla="*/ 0 w 36"/>
                <a:gd name="T3" fmla="*/ 0 h 32"/>
                <a:gd name="T4" fmla="*/ 0 w 36"/>
                <a:gd name="T5" fmla="*/ 0 h 32"/>
                <a:gd name="T6" fmla="*/ 0 w 36"/>
                <a:gd name="T7" fmla="*/ 0 h 32"/>
                <a:gd name="T8" fmla="*/ 0 w 36"/>
                <a:gd name="T9" fmla="*/ 0 h 32"/>
                <a:gd name="T10" fmla="*/ 0 w 36"/>
                <a:gd name="T11" fmla="*/ 0 h 32"/>
                <a:gd name="T12" fmla="*/ 0 w 36"/>
                <a:gd name="T13" fmla="*/ 0 h 32"/>
                <a:gd name="T14" fmla="*/ 0 w 36"/>
                <a:gd name="T15" fmla="*/ 0 h 32"/>
                <a:gd name="T16" fmla="*/ 0 w 36"/>
                <a:gd name="T17" fmla="*/ 0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6"/>
                <a:gd name="T28" fmla="*/ 0 h 32"/>
                <a:gd name="T29" fmla="*/ 36 w 36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6" h="32">
                  <a:moveTo>
                    <a:pt x="13" y="32"/>
                  </a:moveTo>
                  <a:cubicBezTo>
                    <a:pt x="19" y="27"/>
                    <a:pt x="19" y="27"/>
                    <a:pt x="19" y="27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6" y="25"/>
                    <a:pt x="35" y="20"/>
                  </a:cubicBezTo>
                  <a:cubicBezTo>
                    <a:pt x="34" y="16"/>
                    <a:pt x="24" y="14"/>
                    <a:pt x="20" y="8"/>
                  </a:cubicBezTo>
                  <a:cubicBezTo>
                    <a:pt x="19" y="6"/>
                    <a:pt x="19" y="3"/>
                    <a:pt x="20" y="0"/>
                  </a:cubicBezTo>
                  <a:cubicBezTo>
                    <a:pt x="19" y="1"/>
                    <a:pt x="16" y="2"/>
                    <a:pt x="12" y="4"/>
                  </a:cubicBezTo>
                  <a:cubicBezTo>
                    <a:pt x="1" y="10"/>
                    <a:pt x="0" y="16"/>
                    <a:pt x="2" y="18"/>
                  </a:cubicBezTo>
                  <a:cubicBezTo>
                    <a:pt x="3" y="20"/>
                    <a:pt x="9" y="27"/>
                    <a:pt x="13" y="32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62" name="Freeform 78"/>
            <p:cNvSpPr>
              <a:spLocks/>
            </p:cNvSpPr>
            <p:nvPr/>
          </p:nvSpPr>
          <p:spPr bwMode="auto">
            <a:xfrm>
              <a:off x="2846" y="1757"/>
              <a:ext cx="117" cy="52"/>
            </a:xfrm>
            <a:custGeom>
              <a:avLst/>
              <a:gdLst>
                <a:gd name="T0" fmla="*/ 0 w 308"/>
                <a:gd name="T1" fmla="*/ 0 h 138"/>
                <a:gd name="T2" fmla="*/ 0 w 308"/>
                <a:gd name="T3" fmla="*/ 0 h 138"/>
                <a:gd name="T4" fmla="*/ 0 w 308"/>
                <a:gd name="T5" fmla="*/ 0 h 138"/>
                <a:gd name="T6" fmla="*/ 0 w 308"/>
                <a:gd name="T7" fmla="*/ 0 h 138"/>
                <a:gd name="T8" fmla="*/ 0 w 308"/>
                <a:gd name="T9" fmla="*/ 0 h 138"/>
                <a:gd name="T10" fmla="*/ 0 w 308"/>
                <a:gd name="T11" fmla="*/ 0 h 138"/>
                <a:gd name="T12" fmla="*/ 0 w 308"/>
                <a:gd name="T13" fmla="*/ 0 h 138"/>
                <a:gd name="T14" fmla="*/ 0 w 308"/>
                <a:gd name="T15" fmla="*/ 0 h 138"/>
                <a:gd name="T16" fmla="*/ 0 w 308"/>
                <a:gd name="T17" fmla="*/ 0 h 138"/>
                <a:gd name="T18" fmla="*/ 0 w 308"/>
                <a:gd name="T19" fmla="*/ 0 h 138"/>
                <a:gd name="T20" fmla="*/ 0 w 308"/>
                <a:gd name="T21" fmla="*/ 0 h 138"/>
                <a:gd name="T22" fmla="*/ 0 w 308"/>
                <a:gd name="T23" fmla="*/ 0 h 138"/>
                <a:gd name="T24" fmla="*/ 0 w 308"/>
                <a:gd name="T25" fmla="*/ 0 h 138"/>
                <a:gd name="T26" fmla="*/ 0 w 308"/>
                <a:gd name="T27" fmla="*/ 0 h 138"/>
                <a:gd name="T28" fmla="*/ 0 w 308"/>
                <a:gd name="T29" fmla="*/ 0 h 138"/>
                <a:gd name="T30" fmla="*/ 0 w 308"/>
                <a:gd name="T31" fmla="*/ 0 h 138"/>
                <a:gd name="T32" fmla="*/ 0 w 308"/>
                <a:gd name="T33" fmla="*/ 0 h 138"/>
                <a:gd name="T34" fmla="*/ 0 w 308"/>
                <a:gd name="T35" fmla="*/ 0 h 138"/>
                <a:gd name="T36" fmla="*/ 0 w 308"/>
                <a:gd name="T37" fmla="*/ 0 h 138"/>
                <a:gd name="T38" fmla="*/ 0 w 308"/>
                <a:gd name="T39" fmla="*/ 0 h 138"/>
                <a:gd name="T40" fmla="*/ 0 w 308"/>
                <a:gd name="T41" fmla="*/ 0 h 138"/>
                <a:gd name="T42" fmla="*/ 0 w 308"/>
                <a:gd name="T43" fmla="*/ 0 h 138"/>
                <a:gd name="T44" fmla="*/ 0 w 308"/>
                <a:gd name="T45" fmla="*/ 0 h 138"/>
                <a:gd name="T46" fmla="*/ 0 w 308"/>
                <a:gd name="T47" fmla="*/ 0 h 138"/>
                <a:gd name="T48" fmla="*/ 0 w 308"/>
                <a:gd name="T49" fmla="*/ 0 h 138"/>
                <a:gd name="T50" fmla="*/ 0 w 308"/>
                <a:gd name="T51" fmla="*/ 0 h 138"/>
                <a:gd name="T52" fmla="*/ 0 w 308"/>
                <a:gd name="T53" fmla="*/ 0 h 138"/>
                <a:gd name="T54" fmla="*/ 0 w 308"/>
                <a:gd name="T55" fmla="*/ 0 h 138"/>
                <a:gd name="T56" fmla="*/ 0 w 308"/>
                <a:gd name="T57" fmla="*/ 0 h 138"/>
                <a:gd name="T58" fmla="*/ 0 w 308"/>
                <a:gd name="T59" fmla="*/ 0 h 138"/>
                <a:gd name="T60" fmla="*/ 0 w 308"/>
                <a:gd name="T61" fmla="*/ 0 h 138"/>
                <a:gd name="T62" fmla="*/ 0 w 308"/>
                <a:gd name="T63" fmla="*/ 0 h 138"/>
                <a:gd name="T64" fmla="*/ 0 w 308"/>
                <a:gd name="T65" fmla="*/ 0 h 138"/>
                <a:gd name="T66" fmla="*/ 0 w 308"/>
                <a:gd name="T67" fmla="*/ 0 h 138"/>
                <a:gd name="T68" fmla="*/ 0 w 308"/>
                <a:gd name="T69" fmla="*/ 0 h 138"/>
                <a:gd name="T70" fmla="*/ 0 w 308"/>
                <a:gd name="T71" fmla="*/ 0 h 138"/>
                <a:gd name="T72" fmla="*/ 0 w 308"/>
                <a:gd name="T73" fmla="*/ 0 h 13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08"/>
                <a:gd name="T112" fmla="*/ 0 h 138"/>
                <a:gd name="T113" fmla="*/ 308 w 308"/>
                <a:gd name="T114" fmla="*/ 138 h 13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08" h="138">
                  <a:moveTo>
                    <a:pt x="306" y="69"/>
                  </a:moveTo>
                  <a:cubicBezTo>
                    <a:pt x="306" y="69"/>
                    <a:pt x="308" y="55"/>
                    <a:pt x="307" y="48"/>
                  </a:cubicBezTo>
                  <a:cubicBezTo>
                    <a:pt x="306" y="42"/>
                    <a:pt x="300" y="43"/>
                    <a:pt x="300" y="43"/>
                  </a:cubicBezTo>
                  <a:cubicBezTo>
                    <a:pt x="301" y="33"/>
                    <a:pt x="301" y="33"/>
                    <a:pt x="301" y="33"/>
                  </a:cubicBezTo>
                  <a:cubicBezTo>
                    <a:pt x="303" y="19"/>
                    <a:pt x="303" y="19"/>
                    <a:pt x="303" y="19"/>
                  </a:cubicBezTo>
                  <a:cubicBezTo>
                    <a:pt x="303" y="19"/>
                    <a:pt x="295" y="14"/>
                    <a:pt x="287" y="11"/>
                  </a:cubicBezTo>
                  <a:cubicBezTo>
                    <a:pt x="280" y="9"/>
                    <a:pt x="276" y="16"/>
                    <a:pt x="276" y="16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4" y="14"/>
                    <a:pt x="254" y="14"/>
                    <a:pt x="254" y="14"/>
                  </a:cubicBezTo>
                  <a:cubicBezTo>
                    <a:pt x="245" y="8"/>
                    <a:pt x="245" y="8"/>
                    <a:pt x="245" y="8"/>
                  </a:cubicBezTo>
                  <a:cubicBezTo>
                    <a:pt x="245" y="8"/>
                    <a:pt x="232" y="0"/>
                    <a:pt x="228" y="1"/>
                  </a:cubicBezTo>
                  <a:cubicBezTo>
                    <a:pt x="225" y="2"/>
                    <a:pt x="218" y="15"/>
                    <a:pt x="218" y="15"/>
                  </a:cubicBezTo>
                  <a:cubicBezTo>
                    <a:pt x="214" y="16"/>
                    <a:pt x="214" y="16"/>
                    <a:pt x="214" y="16"/>
                  </a:cubicBezTo>
                  <a:cubicBezTo>
                    <a:pt x="213" y="28"/>
                    <a:pt x="213" y="28"/>
                    <a:pt x="213" y="28"/>
                  </a:cubicBezTo>
                  <a:cubicBezTo>
                    <a:pt x="204" y="23"/>
                    <a:pt x="204" y="23"/>
                    <a:pt x="204" y="23"/>
                  </a:cubicBezTo>
                  <a:cubicBezTo>
                    <a:pt x="204" y="23"/>
                    <a:pt x="198" y="27"/>
                    <a:pt x="190" y="27"/>
                  </a:cubicBezTo>
                  <a:cubicBezTo>
                    <a:pt x="183" y="27"/>
                    <a:pt x="175" y="15"/>
                    <a:pt x="175" y="15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56" y="27"/>
                    <a:pt x="156" y="27"/>
                    <a:pt x="156" y="27"/>
                  </a:cubicBezTo>
                  <a:cubicBezTo>
                    <a:pt x="160" y="34"/>
                    <a:pt x="160" y="34"/>
                    <a:pt x="160" y="34"/>
                  </a:cubicBezTo>
                  <a:cubicBezTo>
                    <a:pt x="160" y="45"/>
                    <a:pt x="160" y="45"/>
                    <a:pt x="160" y="45"/>
                  </a:cubicBezTo>
                  <a:cubicBezTo>
                    <a:pt x="160" y="45"/>
                    <a:pt x="147" y="42"/>
                    <a:pt x="142" y="43"/>
                  </a:cubicBezTo>
                  <a:cubicBezTo>
                    <a:pt x="138" y="44"/>
                    <a:pt x="133" y="57"/>
                    <a:pt x="133" y="57"/>
                  </a:cubicBezTo>
                  <a:cubicBezTo>
                    <a:pt x="141" y="59"/>
                    <a:pt x="141" y="59"/>
                    <a:pt x="141" y="59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8"/>
                    <a:pt x="142" y="78"/>
                    <a:pt x="141" y="84"/>
                  </a:cubicBezTo>
                  <a:cubicBezTo>
                    <a:pt x="139" y="91"/>
                    <a:pt x="131" y="77"/>
                    <a:pt x="131" y="77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09" y="71"/>
                    <a:pt x="109" y="71"/>
                    <a:pt x="109" y="71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5" y="86"/>
                    <a:pt x="69" y="88"/>
                    <a:pt x="63" y="88"/>
                  </a:cubicBezTo>
                  <a:cubicBezTo>
                    <a:pt x="56" y="88"/>
                    <a:pt x="46" y="77"/>
                    <a:pt x="46" y="77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5"/>
                    <a:pt x="30" y="90"/>
                    <a:pt x="26" y="91"/>
                  </a:cubicBezTo>
                  <a:cubicBezTo>
                    <a:pt x="22" y="92"/>
                    <a:pt x="21" y="82"/>
                    <a:pt x="12" y="81"/>
                  </a:cubicBezTo>
                  <a:cubicBezTo>
                    <a:pt x="6" y="79"/>
                    <a:pt x="2" y="82"/>
                    <a:pt x="0" y="84"/>
                  </a:cubicBezTo>
                  <a:cubicBezTo>
                    <a:pt x="1" y="86"/>
                    <a:pt x="2" y="89"/>
                    <a:pt x="0" y="91"/>
                  </a:cubicBezTo>
                  <a:cubicBezTo>
                    <a:pt x="1" y="93"/>
                    <a:pt x="2" y="95"/>
                    <a:pt x="2" y="97"/>
                  </a:cubicBezTo>
                  <a:cubicBezTo>
                    <a:pt x="2" y="100"/>
                    <a:pt x="2" y="105"/>
                    <a:pt x="2" y="107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11" y="106"/>
                    <a:pt x="8" y="120"/>
                    <a:pt x="16" y="118"/>
                  </a:cubicBezTo>
                  <a:cubicBezTo>
                    <a:pt x="23" y="115"/>
                    <a:pt x="21" y="106"/>
                    <a:pt x="32" y="106"/>
                  </a:cubicBezTo>
                  <a:cubicBezTo>
                    <a:pt x="37" y="107"/>
                    <a:pt x="40" y="113"/>
                    <a:pt x="41" y="117"/>
                  </a:cubicBezTo>
                  <a:cubicBezTo>
                    <a:pt x="50" y="117"/>
                    <a:pt x="50" y="117"/>
                    <a:pt x="50" y="117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66" y="109"/>
                    <a:pt x="66" y="109"/>
                    <a:pt x="66" y="109"/>
                  </a:cubicBezTo>
                  <a:cubicBezTo>
                    <a:pt x="92" y="111"/>
                    <a:pt x="92" y="111"/>
                    <a:pt x="92" y="111"/>
                  </a:cubicBezTo>
                  <a:cubicBezTo>
                    <a:pt x="92" y="111"/>
                    <a:pt x="94" y="102"/>
                    <a:pt x="104" y="103"/>
                  </a:cubicBezTo>
                  <a:cubicBezTo>
                    <a:pt x="113" y="104"/>
                    <a:pt x="114" y="118"/>
                    <a:pt x="114" y="118"/>
                  </a:cubicBezTo>
                  <a:cubicBezTo>
                    <a:pt x="119" y="118"/>
                    <a:pt x="119" y="118"/>
                    <a:pt x="119" y="118"/>
                  </a:cubicBezTo>
                  <a:cubicBezTo>
                    <a:pt x="124" y="131"/>
                    <a:pt x="124" y="131"/>
                    <a:pt x="124" y="131"/>
                  </a:cubicBezTo>
                  <a:cubicBezTo>
                    <a:pt x="136" y="131"/>
                    <a:pt x="136" y="131"/>
                    <a:pt x="136" y="131"/>
                  </a:cubicBezTo>
                  <a:cubicBezTo>
                    <a:pt x="136" y="131"/>
                    <a:pt x="159" y="127"/>
                    <a:pt x="162" y="132"/>
                  </a:cubicBezTo>
                  <a:cubicBezTo>
                    <a:pt x="162" y="134"/>
                    <a:pt x="162" y="135"/>
                    <a:pt x="162" y="136"/>
                  </a:cubicBezTo>
                  <a:cubicBezTo>
                    <a:pt x="171" y="136"/>
                    <a:pt x="171" y="136"/>
                    <a:pt x="171" y="136"/>
                  </a:cubicBezTo>
                  <a:cubicBezTo>
                    <a:pt x="171" y="136"/>
                    <a:pt x="180" y="132"/>
                    <a:pt x="183" y="132"/>
                  </a:cubicBezTo>
                  <a:cubicBezTo>
                    <a:pt x="186" y="132"/>
                    <a:pt x="192" y="136"/>
                    <a:pt x="192" y="136"/>
                  </a:cubicBezTo>
                  <a:cubicBezTo>
                    <a:pt x="192" y="136"/>
                    <a:pt x="200" y="138"/>
                    <a:pt x="207" y="138"/>
                  </a:cubicBezTo>
                  <a:cubicBezTo>
                    <a:pt x="214" y="138"/>
                    <a:pt x="214" y="129"/>
                    <a:pt x="214" y="129"/>
                  </a:cubicBezTo>
                  <a:cubicBezTo>
                    <a:pt x="247" y="130"/>
                    <a:pt x="247" y="130"/>
                    <a:pt x="247" y="130"/>
                  </a:cubicBezTo>
                  <a:cubicBezTo>
                    <a:pt x="254" y="126"/>
                    <a:pt x="254" y="126"/>
                    <a:pt x="254" y="126"/>
                  </a:cubicBezTo>
                  <a:cubicBezTo>
                    <a:pt x="270" y="131"/>
                    <a:pt x="270" y="131"/>
                    <a:pt x="270" y="131"/>
                  </a:cubicBezTo>
                  <a:cubicBezTo>
                    <a:pt x="272" y="119"/>
                    <a:pt x="272" y="119"/>
                    <a:pt x="272" y="119"/>
                  </a:cubicBezTo>
                  <a:cubicBezTo>
                    <a:pt x="277" y="107"/>
                    <a:pt x="277" y="107"/>
                    <a:pt x="277" y="107"/>
                  </a:cubicBezTo>
                  <a:cubicBezTo>
                    <a:pt x="290" y="105"/>
                    <a:pt x="290" y="105"/>
                    <a:pt x="290" y="105"/>
                  </a:cubicBezTo>
                  <a:cubicBezTo>
                    <a:pt x="290" y="91"/>
                    <a:pt x="290" y="91"/>
                    <a:pt x="290" y="91"/>
                  </a:cubicBezTo>
                  <a:cubicBezTo>
                    <a:pt x="298" y="79"/>
                    <a:pt x="298" y="79"/>
                    <a:pt x="298" y="79"/>
                  </a:cubicBezTo>
                  <a:cubicBezTo>
                    <a:pt x="290" y="78"/>
                    <a:pt x="290" y="78"/>
                    <a:pt x="290" y="78"/>
                  </a:cubicBezTo>
                  <a:cubicBezTo>
                    <a:pt x="291" y="69"/>
                    <a:pt x="291" y="69"/>
                    <a:pt x="291" y="69"/>
                  </a:cubicBezTo>
                  <a:lnTo>
                    <a:pt x="306" y="69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63" name="Freeform 79"/>
            <p:cNvSpPr>
              <a:spLocks/>
            </p:cNvSpPr>
            <p:nvPr/>
          </p:nvSpPr>
          <p:spPr bwMode="auto">
            <a:xfrm>
              <a:off x="2743" y="1671"/>
              <a:ext cx="69" cy="55"/>
            </a:xfrm>
            <a:custGeom>
              <a:avLst/>
              <a:gdLst>
                <a:gd name="T0" fmla="*/ 0 w 182"/>
                <a:gd name="T1" fmla="*/ 0 h 145"/>
                <a:gd name="T2" fmla="*/ 0 w 182"/>
                <a:gd name="T3" fmla="*/ 0 h 145"/>
                <a:gd name="T4" fmla="*/ 0 w 182"/>
                <a:gd name="T5" fmla="*/ 0 h 145"/>
                <a:gd name="T6" fmla="*/ 0 w 182"/>
                <a:gd name="T7" fmla="*/ 0 h 145"/>
                <a:gd name="T8" fmla="*/ 0 w 182"/>
                <a:gd name="T9" fmla="*/ 0 h 145"/>
                <a:gd name="T10" fmla="*/ 0 w 182"/>
                <a:gd name="T11" fmla="*/ 0 h 145"/>
                <a:gd name="T12" fmla="*/ 0 w 182"/>
                <a:gd name="T13" fmla="*/ 0 h 145"/>
                <a:gd name="T14" fmla="*/ 0 w 182"/>
                <a:gd name="T15" fmla="*/ 0 h 145"/>
                <a:gd name="T16" fmla="*/ 0 w 182"/>
                <a:gd name="T17" fmla="*/ 0 h 145"/>
                <a:gd name="T18" fmla="*/ 0 w 182"/>
                <a:gd name="T19" fmla="*/ 0 h 145"/>
                <a:gd name="T20" fmla="*/ 0 w 182"/>
                <a:gd name="T21" fmla="*/ 0 h 145"/>
                <a:gd name="T22" fmla="*/ 0 w 182"/>
                <a:gd name="T23" fmla="*/ 0 h 145"/>
                <a:gd name="T24" fmla="*/ 0 w 182"/>
                <a:gd name="T25" fmla="*/ 0 h 145"/>
                <a:gd name="T26" fmla="*/ 0 w 182"/>
                <a:gd name="T27" fmla="*/ 0 h 145"/>
                <a:gd name="T28" fmla="*/ 0 w 182"/>
                <a:gd name="T29" fmla="*/ 0 h 145"/>
                <a:gd name="T30" fmla="*/ 0 w 182"/>
                <a:gd name="T31" fmla="*/ 0 h 145"/>
                <a:gd name="T32" fmla="*/ 0 w 182"/>
                <a:gd name="T33" fmla="*/ 0 h 145"/>
                <a:gd name="T34" fmla="*/ 0 w 182"/>
                <a:gd name="T35" fmla="*/ 0 h 145"/>
                <a:gd name="T36" fmla="*/ 0 w 182"/>
                <a:gd name="T37" fmla="*/ 0 h 145"/>
                <a:gd name="T38" fmla="*/ 0 w 182"/>
                <a:gd name="T39" fmla="*/ 0 h 145"/>
                <a:gd name="T40" fmla="*/ 0 w 182"/>
                <a:gd name="T41" fmla="*/ 0 h 145"/>
                <a:gd name="T42" fmla="*/ 0 w 182"/>
                <a:gd name="T43" fmla="*/ 0 h 145"/>
                <a:gd name="T44" fmla="*/ 0 w 182"/>
                <a:gd name="T45" fmla="*/ 0 h 145"/>
                <a:gd name="T46" fmla="*/ 0 w 182"/>
                <a:gd name="T47" fmla="*/ 0 h 145"/>
                <a:gd name="T48" fmla="*/ 0 w 182"/>
                <a:gd name="T49" fmla="*/ 0 h 145"/>
                <a:gd name="T50" fmla="*/ 0 w 182"/>
                <a:gd name="T51" fmla="*/ 0 h 145"/>
                <a:gd name="T52" fmla="*/ 0 w 182"/>
                <a:gd name="T53" fmla="*/ 0 h 145"/>
                <a:gd name="T54" fmla="*/ 0 w 182"/>
                <a:gd name="T55" fmla="*/ 0 h 145"/>
                <a:gd name="T56" fmla="*/ 0 w 182"/>
                <a:gd name="T57" fmla="*/ 0 h 145"/>
                <a:gd name="T58" fmla="*/ 0 w 182"/>
                <a:gd name="T59" fmla="*/ 0 h 145"/>
                <a:gd name="T60" fmla="*/ 0 w 182"/>
                <a:gd name="T61" fmla="*/ 0 h 145"/>
                <a:gd name="T62" fmla="*/ 0 w 182"/>
                <a:gd name="T63" fmla="*/ 0 h 145"/>
                <a:gd name="T64" fmla="*/ 0 w 182"/>
                <a:gd name="T65" fmla="*/ 0 h 145"/>
                <a:gd name="T66" fmla="*/ 0 w 182"/>
                <a:gd name="T67" fmla="*/ 0 h 145"/>
                <a:gd name="T68" fmla="*/ 0 w 182"/>
                <a:gd name="T69" fmla="*/ 0 h 145"/>
                <a:gd name="T70" fmla="*/ 0 w 182"/>
                <a:gd name="T71" fmla="*/ 0 h 145"/>
                <a:gd name="T72" fmla="*/ 0 w 182"/>
                <a:gd name="T73" fmla="*/ 0 h 145"/>
                <a:gd name="T74" fmla="*/ 0 w 182"/>
                <a:gd name="T75" fmla="*/ 0 h 145"/>
                <a:gd name="T76" fmla="*/ 0 w 182"/>
                <a:gd name="T77" fmla="*/ 0 h 145"/>
                <a:gd name="T78" fmla="*/ 0 w 182"/>
                <a:gd name="T79" fmla="*/ 0 h 145"/>
                <a:gd name="T80" fmla="*/ 0 w 182"/>
                <a:gd name="T81" fmla="*/ 0 h 145"/>
                <a:gd name="T82" fmla="*/ 0 w 182"/>
                <a:gd name="T83" fmla="*/ 0 h 145"/>
                <a:gd name="T84" fmla="*/ 0 w 182"/>
                <a:gd name="T85" fmla="*/ 0 h 145"/>
                <a:gd name="T86" fmla="*/ 0 w 182"/>
                <a:gd name="T87" fmla="*/ 0 h 145"/>
                <a:gd name="T88" fmla="*/ 0 w 182"/>
                <a:gd name="T89" fmla="*/ 0 h 145"/>
                <a:gd name="T90" fmla="*/ 0 w 182"/>
                <a:gd name="T91" fmla="*/ 0 h 145"/>
                <a:gd name="T92" fmla="*/ 0 w 182"/>
                <a:gd name="T93" fmla="*/ 0 h 145"/>
                <a:gd name="T94" fmla="*/ 0 w 182"/>
                <a:gd name="T95" fmla="*/ 0 h 145"/>
                <a:gd name="T96" fmla="*/ 0 w 182"/>
                <a:gd name="T97" fmla="*/ 0 h 145"/>
                <a:gd name="T98" fmla="*/ 0 w 182"/>
                <a:gd name="T99" fmla="*/ 0 h 145"/>
                <a:gd name="T100" fmla="*/ 0 w 182"/>
                <a:gd name="T101" fmla="*/ 0 h 145"/>
                <a:gd name="T102" fmla="*/ 0 w 182"/>
                <a:gd name="T103" fmla="*/ 0 h 145"/>
                <a:gd name="T104" fmla="*/ 0 w 182"/>
                <a:gd name="T105" fmla="*/ 0 h 145"/>
                <a:gd name="T106" fmla="*/ 0 w 182"/>
                <a:gd name="T107" fmla="*/ 0 h 145"/>
                <a:gd name="T108" fmla="*/ 0 w 182"/>
                <a:gd name="T109" fmla="*/ 0 h 145"/>
                <a:gd name="T110" fmla="*/ 0 w 182"/>
                <a:gd name="T111" fmla="*/ 0 h 145"/>
                <a:gd name="T112" fmla="*/ 0 w 182"/>
                <a:gd name="T113" fmla="*/ 0 h 145"/>
                <a:gd name="T114" fmla="*/ 0 w 182"/>
                <a:gd name="T115" fmla="*/ 0 h 14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2"/>
                <a:gd name="T175" fmla="*/ 0 h 145"/>
                <a:gd name="T176" fmla="*/ 182 w 182"/>
                <a:gd name="T177" fmla="*/ 145 h 14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2" h="145">
                  <a:moveTo>
                    <a:pt x="14" y="104"/>
                  </a:move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10" y="110"/>
                    <a:pt x="10" y="110"/>
                    <a:pt x="10" y="110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2" y="114"/>
                    <a:pt x="30" y="113"/>
                    <a:pt x="34" y="112"/>
                  </a:cubicBezTo>
                  <a:cubicBezTo>
                    <a:pt x="39" y="112"/>
                    <a:pt x="43" y="117"/>
                    <a:pt x="43" y="117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56" y="112"/>
                    <a:pt x="56" y="112"/>
                    <a:pt x="56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65" y="108"/>
                    <a:pt x="66" y="105"/>
                    <a:pt x="71" y="104"/>
                  </a:cubicBezTo>
                  <a:cubicBezTo>
                    <a:pt x="76" y="102"/>
                    <a:pt x="90" y="104"/>
                    <a:pt x="90" y="104"/>
                  </a:cubicBezTo>
                  <a:cubicBezTo>
                    <a:pt x="90" y="104"/>
                    <a:pt x="91" y="110"/>
                    <a:pt x="94" y="114"/>
                  </a:cubicBezTo>
                  <a:cubicBezTo>
                    <a:pt x="96" y="118"/>
                    <a:pt x="108" y="114"/>
                    <a:pt x="108" y="114"/>
                  </a:cubicBezTo>
                  <a:cubicBezTo>
                    <a:pt x="108" y="114"/>
                    <a:pt x="118" y="112"/>
                    <a:pt x="119" y="121"/>
                  </a:cubicBezTo>
                  <a:cubicBezTo>
                    <a:pt x="120" y="130"/>
                    <a:pt x="114" y="130"/>
                    <a:pt x="114" y="130"/>
                  </a:cubicBezTo>
                  <a:cubicBezTo>
                    <a:pt x="114" y="130"/>
                    <a:pt x="110" y="134"/>
                    <a:pt x="112" y="140"/>
                  </a:cubicBezTo>
                  <a:cubicBezTo>
                    <a:pt x="114" y="145"/>
                    <a:pt x="123" y="140"/>
                    <a:pt x="123" y="140"/>
                  </a:cubicBezTo>
                  <a:cubicBezTo>
                    <a:pt x="123" y="140"/>
                    <a:pt x="126" y="126"/>
                    <a:pt x="127" y="124"/>
                  </a:cubicBezTo>
                  <a:cubicBezTo>
                    <a:pt x="128" y="122"/>
                    <a:pt x="123" y="116"/>
                    <a:pt x="123" y="116"/>
                  </a:cubicBezTo>
                  <a:cubicBezTo>
                    <a:pt x="123" y="116"/>
                    <a:pt x="134" y="110"/>
                    <a:pt x="134" y="106"/>
                  </a:cubicBezTo>
                  <a:cubicBezTo>
                    <a:pt x="135" y="103"/>
                    <a:pt x="130" y="95"/>
                    <a:pt x="130" y="95"/>
                  </a:cubicBezTo>
                  <a:cubicBezTo>
                    <a:pt x="124" y="80"/>
                    <a:pt x="124" y="80"/>
                    <a:pt x="124" y="80"/>
                  </a:cubicBezTo>
                  <a:cubicBezTo>
                    <a:pt x="124" y="80"/>
                    <a:pt x="146" y="88"/>
                    <a:pt x="148" y="85"/>
                  </a:cubicBezTo>
                  <a:cubicBezTo>
                    <a:pt x="150" y="82"/>
                    <a:pt x="152" y="77"/>
                    <a:pt x="152" y="77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60" y="67"/>
                    <a:pt x="168" y="63"/>
                    <a:pt x="168" y="59"/>
                  </a:cubicBezTo>
                  <a:cubicBezTo>
                    <a:pt x="168" y="55"/>
                    <a:pt x="154" y="50"/>
                    <a:pt x="153" y="47"/>
                  </a:cubicBezTo>
                  <a:cubicBezTo>
                    <a:pt x="152" y="44"/>
                    <a:pt x="164" y="40"/>
                    <a:pt x="164" y="40"/>
                  </a:cubicBezTo>
                  <a:cubicBezTo>
                    <a:pt x="172" y="40"/>
                    <a:pt x="172" y="40"/>
                    <a:pt x="172" y="40"/>
                  </a:cubicBezTo>
                  <a:cubicBezTo>
                    <a:pt x="172" y="40"/>
                    <a:pt x="168" y="32"/>
                    <a:pt x="170" y="28"/>
                  </a:cubicBezTo>
                  <a:cubicBezTo>
                    <a:pt x="171" y="24"/>
                    <a:pt x="182" y="20"/>
                    <a:pt x="182" y="20"/>
                  </a:cubicBezTo>
                  <a:cubicBezTo>
                    <a:pt x="177" y="12"/>
                    <a:pt x="177" y="12"/>
                    <a:pt x="177" y="12"/>
                  </a:cubicBezTo>
                  <a:cubicBezTo>
                    <a:pt x="180" y="10"/>
                    <a:pt x="180" y="10"/>
                    <a:pt x="180" y="10"/>
                  </a:cubicBezTo>
                  <a:cubicBezTo>
                    <a:pt x="176" y="7"/>
                    <a:pt x="176" y="7"/>
                    <a:pt x="176" y="7"/>
                  </a:cubicBezTo>
                  <a:cubicBezTo>
                    <a:pt x="176" y="7"/>
                    <a:pt x="160" y="1"/>
                    <a:pt x="154" y="1"/>
                  </a:cubicBezTo>
                  <a:cubicBezTo>
                    <a:pt x="148" y="1"/>
                    <a:pt x="125" y="0"/>
                    <a:pt x="125" y="0"/>
                  </a:cubicBezTo>
                  <a:cubicBezTo>
                    <a:pt x="125" y="0"/>
                    <a:pt x="111" y="5"/>
                    <a:pt x="103" y="10"/>
                  </a:cubicBezTo>
                  <a:cubicBezTo>
                    <a:pt x="104" y="14"/>
                    <a:pt x="107" y="19"/>
                    <a:pt x="107" y="21"/>
                  </a:cubicBezTo>
                  <a:cubicBezTo>
                    <a:pt x="108" y="24"/>
                    <a:pt x="111" y="34"/>
                    <a:pt x="111" y="34"/>
                  </a:cubicBezTo>
                  <a:cubicBezTo>
                    <a:pt x="111" y="34"/>
                    <a:pt x="114" y="40"/>
                    <a:pt x="116" y="40"/>
                  </a:cubicBezTo>
                  <a:cubicBezTo>
                    <a:pt x="119" y="40"/>
                    <a:pt x="122" y="43"/>
                    <a:pt x="122" y="48"/>
                  </a:cubicBezTo>
                  <a:cubicBezTo>
                    <a:pt x="123" y="52"/>
                    <a:pt x="111" y="59"/>
                    <a:pt x="104" y="60"/>
                  </a:cubicBezTo>
                  <a:cubicBezTo>
                    <a:pt x="98" y="60"/>
                    <a:pt x="95" y="55"/>
                    <a:pt x="92" y="52"/>
                  </a:cubicBezTo>
                  <a:cubicBezTo>
                    <a:pt x="88" y="48"/>
                    <a:pt x="94" y="45"/>
                    <a:pt x="100" y="37"/>
                  </a:cubicBezTo>
                  <a:cubicBezTo>
                    <a:pt x="106" y="29"/>
                    <a:pt x="102" y="24"/>
                    <a:pt x="102" y="24"/>
                  </a:cubicBezTo>
                  <a:cubicBezTo>
                    <a:pt x="102" y="24"/>
                    <a:pt x="99" y="21"/>
                    <a:pt x="97" y="16"/>
                  </a:cubicBezTo>
                  <a:cubicBezTo>
                    <a:pt x="92" y="23"/>
                    <a:pt x="81" y="30"/>
                    <a:pt x="81" y="30"/>
                  </a:cubicBezTo>
                  <a:cubicBezTo>
                    <a:pt x="81" y="30"/>
                    <a:pt x="64" y="42"/>
                    <a:pt x="64" y="49"/>
                  </a:cubicBezTo>
                  <a:cubicBezTo>
                    <a:pt x="64" y="56"/>
                    <a:pt x="60" y="69"/>
                    <a:pt x="60" y="69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31" y="98"/>
                    <a:pt x="31" y="98"/>
                    <a:pt x="31" y="98"/>
                  </a:cubicBezTo>
                  <a:lnTo>
                    <a:pt x="14" y="104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64" name="Freeform 80"/>
            <p:cNvSpPr>
              <a:spLocks/>
            </p:cNvSpPr>
            <p:nvPr/>
          </p:nvSpPr>
          <p:spPr bwMode="auto">
            <a:xfrm>
              <a:off x="2740" y="1710"/>
              <a:ext cx="56" cy="38"/>
            </a:xfrm>
            <a:custGeom>
              <a:avLst/>
              <a:gdLst>
                <a:gd name="T0" fmla="*/ 0 w 149"/>
                <a:gd name="T1" fmla="*/ 0 h 102"/>
                <a:gd name="T2" fmla="*/ 0 w 149"/>
                <a:gd name="T3" fmla="*/ 0 h 102"/>
                <a:gd name="T4" fmla="*/ 0 w 149"/>
                <a:gd name="T5" fmla="*/ 0 h 102"/>
                <a:gd name="T6" fmla="*/ 0 w 149"/>
                <a:gd name="T7" fmla="*/ 0 h 102"/>
                <a:gd name="T8" fmla="*/ 0 w 149"/>
                <a:gd name="T9" fmla="*/ 0 h 102"/>
                <a:gd name="T10" fmla="*/ 0 w 149"/>
                <a:gd name="T11" fmla="*/ 0 h 102"/>
                <a:gd name="T12" fmla="*/ 0 w 149"/>
                <a:gd name="T13" fmla="*/ 0 h 102"/>
                <a:gd name="T14" fmla="*/ 0 w 149"/>
                <a:gd name="T15" fmla="*/ 0 h 102"/>
                <a:gd name="T16" fmla="*/ 0 w 149"/>
                <a:gd name="T17" fmla="*/ 0 h 102"/>
                <a:gd name="T18" fmla="*/ 0 w 149"/>
                <a:gd name="T19" fmla="*/ 0 h 102"/>
                <a:gd name="T20" fmla="*/ 0 w 149"/>
                <a:gd name="T21" fmla="*/ 0 h 102"/>
                <a:gd name="T22" fmla="*/ 0 w 149"/>
                <a:gd name="T23" fmla="*/ 0 h 102"/>
                <a:gd name="T24" fmla="*/ 0 w 149"/>
                <a:gd name="T25" fmla="*/ 0 h 102"/>
                <a:gd name="T26" fmla="*/ 0 w 149"/>
                <a:gd name="T27" fmla="*/ 0 h 102"/>
                <a:gd name="T28" fmla="*/ 0 w 149"/>
                <a:gd name="T29" fmla="*/ 0 h 102"/>
                <a:gd name="T30" fmla="*/ 0 w 149"/>
                <a:gd name="T31" fmla="*/ 0 h 102"/>
                <a:gd name="T32" fmla="*/ 0 w 149"/>
                <a:gd name="T33" fmla="*/ 0 h 102"/>
                <a:gd name="T34" fmla="*/ 0 w 149"/>
                <a:gd name="T35" fmla="*/ 0 h 102"/>
                <a:gd name="T36" fmla="*/ 0 w 149"/>
                <a:gd name="T37" fmla="*/ 0 h 102"/>
                <a:gd name="T38" fmla="*/ 0 w 149"/>
                <a:gd name="T39" fmla="*/ 0 h 102"/>
                <a:gd name="T40" fmla="*/ 0 w 149"/>
                <a:gd name="T41" fmla="*/ 0 h 102"/>
                <a:gd name="T42" fmla="*/ 0 w 149"/>
                <a:gd name="T43" fmla="*/ 0 h 102"/>
                <a:gd name="T44" fmla="*/ 0 w 149"/>
                <a:gd name="T45" fmla="*/ 0 h 102"/>
                <a:gd name="T46" fmla="*/ 0 w 149"/>
                <a:gd name="T47" fmla="*/ 0 h 102"/>
                <a:gd name="T48" fmla="*/ 0 w 149"/>
                <a:gd name="T49" fmla="*/ 0 h 102"/>
                <a:gd name="T50" fmla="*/ 0 w 149"/>
                <a:gd name="T51" fmla="*/ 0 h 102"/>
                <a:gd name="T52" fmla="*/ 0 w 149"/>
                <a:gd name="T53" fmla="*/ 0 h 102"/>
                <a:gd name="T54" fmla="*/ 0 w 149"/>
                <a:gd name="T55" fmla="*/ 0 h 102"/>
                <a:gd name="T56" fmla="*/ 0 w 149"/>
                <a:gd name="T57" fmla="*/ 0 h 102"/>
                <a:gd name="T58" fmla="*/ 0 w 149"/>
                <a:gd name="T59" fmla="*/ 0 h 102"/>
                <a:gd name="T60" fmla="*/ 0 w 149"/>
                <a:gd name="T61" fmla="*/ 0 h 102"/>
                <a:gd name="T62" fmla="*/ 0 w 149"/>
                <a:gd name="T63" fmla="*/ 0 h 102"/>
                <a:gd name="T64" fmla="*/ 0 w 149"/>
                <a:gd name="T65" fmla="*/ 0 h 102"/>
                <a:gd name="T66" fmla="*/ 0 w 149"/>
                <a:gd name="T67" fmla="*/ 0 h 102"/>
                <a:gd name="T68" fmla="*/ 0 w 149"/>
                <a:gd name="T69" fmla="*/ 0 h 102"/>
                <a:gd name="T70" fmla="*/ 0 w 149"/>
                <a:gd name="T71" fmla="*/ 0 h 102"/>
                <a:gd name="T72" fmla="*/ 0 w 149"/>
                <a:gd name="T73" fmla="*/ 0 h 102"/>
                <a:gd name="T74" fmla="*/ 0 w 149"/>
                <a:gd name="T75" fmla="*/ 0 h 102"/>
                <a:gd name="T76" fmla="*/ 0 w 149"/>
                <a:gd name="T77" fmla="*/ 0 h 102"/>
                <a:gd name="T78" fmla="*/ 0 w 149"/>
                <a:gd name="T79" fmla="*/ 0 h 102"/>
                <a:gd name="T80" fmla="*/ 0 w 149"/>
                <a:gd name="T81" fmla="*/ 0 h 102"/>
                <a:gd name="T82" fmla="*/ 0 w 149"/>
                <a:gd name="T83" fmla="*/ 0 h 10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49"/>
                <a:gd name="T127" fmla="*/ 0 h 102"/>
                <a:gd name="T128" fmla="*/ 149 w 149"/>
                <a:gd name="T129" fmla="*/ 102 h 10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49" h="102">
                  <a:moveTo>
                    <a:pt x="0" y="29"/>
                  </a:moveTo>
                  <a:cubicBezTo>
                    <a:pt x="6" y="43"/>
                    <a:pt x="6" y="43"/>
                    <a:pt x="6" y="43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47" y="56"/>
                    <a:pt x="52" y="59"/>
                  </a:cubicBezTo>
                  <a:cubicBezTo>
                    <a:pt x="57" y="62"/>
                    <a:pt x="57" y="78"/>
                    <a:pt x="57" y="78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2" y="71"/>
                    <a:pt x="82" y="71"/>
                    <a:pt x="82" y="71"/>
                  </a:cubicBezTo>
                  <a:cubicBezTo>
                    <a:pt x="82" y="87"/>
                    <a:pt x="82" y="87"/>
                    <a:pt x="82" y="87"/>
                  </a:cubicBezTo>
                  <a:cubicBezTo>
                    <a:pt x="82" y="87"/>
                    <a:pt x="104" y="91"/>
                    <a:pt x="106" y="94"/>
                  </a:cubicBezTo>
                  <a:cubicBezTo>
                    <a:pt x="108" y="97"/>
                    <a:pt x="109" y="98"/>
                    <a:pt x="109" y="98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8" y="102"/>
                    <a:pt x="128" y="102"/>
                    <a:pt x="128" y="102"/>
                  </a:cubicBezTo>
                  <a:cubicBezTo>
                    <a:pt x="131" y="100"/>
                    <a:pt x="131" y="100"/>
                    <a:pt x="131" y="100"/>
                  </a:cubicBezTo>
                  <a:cubicBezTo>
                    <a:pt x="127" y="95"/>
                    <a:pt x="121" y="88"/>
                    <a:pt x="120" y="86"/>
                  </a:cubicBezTo>
                  <a:cubicBezTo>
                    <a:pt x="118" y="84"/>
                    <a:pt x="119" y="78"/>
                    <a:pt x="130" y="72"/>
                  </a:cubicBezTo>
                  <a:cubicBezTo>
                    <a:pt x="134" y="70"/>
                    <a:pt x="137" y="69"/>
                    <a:pt x="138" y="68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9" y="65"/>
                    <a:pt x="140" y="62"/>
                    <a:pt x="140" y="62"/>
                  </a:cubicBezTo>
                  <a:cubicBezTo>
                    <a:pt x="149" y="61"/>
                    <a:pt x="149" y="61"/>
                    <a:pt x="149" y="61"/>
                  </a:cubicBezTo>
                  <a:cubicBezTo>
                    <a:pt x="149" y="61"/>
                    <a:pt x="146" y="54"/>
                    <a:pt x="146" y="48"/>
                  </a:cubicBezTo>
                  <a:cubicBezTo>
                    <a:pt x="145" y="42"/>
                    <a:pt x="136" y="39"/>
                    <a:pt x="136" y="39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31" y="38"/>
                    <a:pt x="122" y="43"/>
                    <a:pt x="120" y="38"/>
                  </a:cubicBezTo>
                  <a:cubicBezTo>
                    <a:pt x="118" y="32"/>
                    <a:pt x="122" y="28"/>
                    <a:pt x="122" y="28"/>
                  </a:cubicBezTo>
                  <a:cubicBezTo>
                    <a:pt x="122" y="28"/>
                    <a:pt x="128" y="28"/>
                    <a:pt x="127" y="19"/>
                  </a:cubicBezTo>
                  <a:cubicBezTo>
                    <a:pt x="126" y="10"/>
                    <a:pt x="116" y="12"/>
                    <a:pt x="116" y="12"/>
                  </a:cubicBezTo>
                  <a:cubicBezTo>
                    <a:pt x="116" y="12"/>
                    <a:pt x="104" y="16"/>
                    <a:pt x="102" y="12"/>
                  </a:cubicBezTo>
                  <a:cubicBezTo>
                    <a:pt x="99" y="8"/>
                    <a:pt x="98" y="2"/>
                    <a:pt x="98" y="2"/>
                  </a:cubicBezTo>
                  <a:cubicBezTo>
                    <a:pt x="98" y="2"/>
                    <a:pt x="84" y="0"/>
                    <a:pt x="79" y="2"/>
                  </a:cubicBezTo>
                  <a:cubicBezTo>
                    <a:pt x="74" y="3"/>
                    <a:pt x="73" y="6"/>
                    <a:pt x="73" y="6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47" y="10"/>
                    <a:pt x="42" y="10"/>
                  </a:cubicBezTo>
                  <a:cubicBezTo>
                    <a:pt x="38" y="11"/>
                    <a:pt x="30" y="12"/>
                    <a:pt x="30" y="1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" y="20"/>
                    <a:pt x="1" y="20"/>
                    <a:pt x="1" y="20"/>
                  </a:cubicBezTo>
                  <a:lnTo>
                    <a:pt x="0" y="29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65" name="Freeform 81"/>
            <p:cNvSpPr>
              <a:spLocks/>
            </p:cNvSpPr>
            <p:nvPr/>
          </p:nvSpPr>
          <p:spPr bwMode="auto">
            <a:xfrm>
              <a:off x="2789" y="1643"/>
              <a:ext cx="142" cy="149"/>
            </a:xfrm>
            <a:custGeom>
              <a:avLst/>
              <a:gdLst>
                <a:gd name="T0" fmla="*/ 0 w 373"/>
                <a:gd name="T1" fmla="*/ 0 h 393"/>
                <a:gd name="T2" fmla="*/ 0 w 373"/>
                <a:gd name="T3" fmla="*/ 0 h 393"/>
                <a:gd name="T4" fmla="*/ 0 w 373"/>
                <a:gd name="T5" fmla="*/ 0 h 393"/>
                <a:gd name="T6" fmla="*/ 0 w 373"/>
                <a:gd name="T7" fmla="*/ 0 h 393"/>
                <a:gd name="T8" fmla="*/ 0 w 373"/>
                <a:gd name="T9" fmla="*/ 0 h 393"/>
                <a:gd name="T10" fmla="*/ 0 w 373"/>
                <a:gd name="T11" fmla="*/ 0 h 393"/>
                <a:gd name="T12" fmla="*/ 0 w 373"/>
                <a:gd name="T13" fmla="*/ 0 h 393"/>
                <a:gd name="T14" fmla="*/ 0 w 373"/>
                <a:gd name="T15" fmla="*/ 0 h 393"/>
                <a:gd name="T16" fmla="*/ 0 w 373"/>
                <a:gd name="T17" fmla="*/ 0 h 393"/>
                <a:gd name="T18" fmla="*/ 0 w 373"/>
                <a:gd name="T19" fmla="*/ 0 h 393"/>
                <a:gd name="T20" fmla="*/ 0 w 373"/>
                <a:gd name="T21" fmla="*/ 0 h 393"/>
                <a:gd name="T22" fmla="*/ 0 w 373"/>
                <a:gd name="T23" fmla="*/ 0 h 393"/>
                <a:gd name="T24" fmla="*/ 0 w 373"/>
                <a:gd name="T25" fmla="*/ 0 h 393"/>
                <a:gd name="T26" fmla="*/ 0 w 373"/>
                <a:gd name="T27" fmla="*/ 0 h 393"/>
                <a:gd name="T28" fmla="*/ 0 w 373"/>
                <a:gd name="T29" fmla="*/ 0 h 393"/>
                <a:gd name="T30" fmla="*/ 0 w 373"/>
                <a:gd name="T31" fmla="*/ 0 h 393"/>
                <a:gd name="T32" fmla="*/ 0 w 373"/>
                <a:gd name="T33" fmla="*/ 0 h 393"/>
                <a:gd name="T34" fmla="*/ 0 w 373"/>
                <a:gd name="T35" fmla="*/ 0 h 393"/>
                <a:gd name="T36" fmla="*/ 0 w 373"/>
                <a:gd name="T37" fmla="*/ 0 h 393"/>
                <a:gd name="T38" fmla="*/ 0 w 373"/>
                <a:gd name="T39" fmla="*/ 0 h 393"/>
                <a:gd name="T40" fmla="*/ 0 w 373"/>
                <a:gd name="T41" fmla="*/ 0 h 393"/>
                <a:gd name="T42" fmla="*/ 0 w 373"/>
                <a:gd name="T43" fmla="*/ 0 h 393"/>
                <a:gd name="T44" fmla="*/ 0 w 373"/>
                <a:gd name="T45" fmla="*/ 0 h 393"/>
                <a:gd name="T46" fmla="*/ 0 w 373"/>
                <a:gd name="T47" fmla="*/ 0 h 393"/>
                <a:gd name="T48" fmla="*/ 0 w 373"/>
                <a:gd name="T49" fmla="*/ 0 h 393"/>
                <a:gd name="T50" fmla="*/ 0 w 373"/>
                <a:gd name="T51" fmla="*/ 0 h 393"/>
                <a:gd name="T52" fmla="*/ 0 w 373"/>
                <a:gd name="T53" fmla="*/ 0 h 393"/>
                <a:gd name="T54" fmla="*/ 0 w 373"/>
                <a:gd name="T55" fmla="*/ 0 h 393"/>
                <a:gd name="T56" fmla="*/ 0 w 373"/>
                <a:gd name="T57" fmla="*/ 0 h 393"/>
                <a:gd name="T58" fmla="*/ 0 w 373"/>
                <a:gd name="T59" fmla="*/ 0 h 393"/>
                <a:gd name="T60" fmla="*/ 0 w 373"/>
                <a:gd name="T61" fmla="*/ 0 h 393"/>
                <a:gd name="T62" fmla="*/ 0 w 373"/>
                <a:gd name="T63" fmla="*/ 0 h 393"/>
                <a:gd name="T64" fmla="*/ 0 w 373"/>
                <a:gd name="T65" fmla="*/ 0 h 393"/>
                <a:gd name="T66" fmla="*/ 0 w 373"/>
                <a:gd name="T67" fmla="*/ 0 h 393"/>
                <a:gd name="T68" fmla="*/ 0 w 373"/>
                <a:gd name="T69" fmla="*/ 0 h 393"/>
                <a:gd name="T70" fmla="*/ 0 w 373"/>
                <a:gd name="T71" fmla="*/ 0 h 393"/>
                <a:gd name="T72" fmla="*/ 0 w 373"/>
                <a:gd name="T73" fmla="*/ 0 h 393"/>
                <a:gd name="T74" fmla="*/ 0 w 373"/>
                <a:gd name="T75" fmla="*/ 0 h 393"/>
                <a:gd name="T76" fmla="*/ 0 w 373"/>
                <a:gd name="T77" fmla="*/ 0 h 393"/>
                <a:gd name="T78" fmla="*/ 0 w 373"/>
                <a:gd name="T79" fmla="*/ 0 h 393"/>
                <a:gd name="T80" fmla="*/ 0 w 373"/>
                <a:gd name="T81" fmla="*/ 0 h 393"/>
                <a:gd name="T82" fmla="*/ 0 w 373"/>
                <a:gd name="T83" fmla="*/ 0 h 393"/>
                <a:gd name="T84" fmla="*/ 0 w 373"/>
                <a:gd name="T85" fmla="*/ 0 h 393"/>
                <a:gd name="T86" fmla="*/ 0 w 373"/>
                <a:gd name="T87" fmla="*/ 0 h 393"/>
                <a:gd name="T88" fmla="*/ 0 w 373"/>
                <a:gd name="T89" fmla="*/ 0 h 393"/>
                <a:gd name="T90" fmla="*/ 0 w 373"/>
                <a:gd name="T91" fmla="*/ 0 h 393"/>
                <a:gd name="T92" fmla="*/ 0 w 373"/>
                <a:gd name="T93" fmla="*/ 0 h 393"/>
                <a:gd name="T94" fmla="*/ 0 w 373"/>
                <a:gd name="T95" fmla="*/ 0 h 393"/>
                <a:gd name="T96" fmla="*/ 0 w 373"/>
                <a:gd name="T97" fmla="*/ 0 h 393"/>
                <a:gd name="T98" fmla="*/ 0 w 373"/>
                <a:gd name="T99" fmla="*/ 0 h 39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73"/>
                <a:gd name="T151" fmla="*/ 0 h 393"/>
                <a:gd name="T152" fmla="*/ 373 w 373"/>
                <a:gd name="T153" fmla="*/ 393 h 39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73" h="393">
                  <a:moveTo>
                    <a:pt x="17" y="274"/>
                  </a:moveTo>
                  <a:cubicBezTo>
                    <a:pt x="17" y="274"/>
                    <a:pt x="19" y="278"/>
                    <a:pt x="22" y="281"/>
                  </a:cubicBezTo>
                  <a:cubicBezTo>
                    <a:pt x="25" y="284"/>
                    <a:pt x="21" y="294"/>
                    <a:pt x="21" y="294"/>
                  </a:cubicBezTo>
                  <a:cubicBezTo>
                    <a:pt x="38" y="294"/>
                    <a:pt x="38" y="294"/>
                    <a:pt x="38" y="294"/>
                  </a:cubicBezTo>
                  <a:cubicBezTo>
                    <a:pt x="38" y="294"/>
                    <a:pt x="36" y="299"/>
                    <a:pt x="42" y="300"/>
                  </a:cubicBezTo>
                  <a:cubicBezTo>
                    <a:pt x="48" y="301"/>
                    <a:pt x="62" y="297"/>
                    <a:pt x="62" y="297"/>
                  </a:cubicBezTo>
                  <a:cubicBezTo>
                    <a:pt x="62" y="301"/>
                    <a:pt x="62" y="301"/>
                    <a:pt x="62" y="301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90" y="305"/>
                    <a:pt x="90" y="305"/>
                    <a:pt x="90" y="305"/>
                  </a:cubicBezTo>
                  <a:cubicBezTo>
                    <a:pt x="88" y="311"/>
                    <a:pt x="88" y="311"/>
                    <a:pt x="88" y="311"/>
                  </a:cubicBezTo>
                  <a:cubicBezTo>
                    <a:pt x="74" y="322"/>
                    <a:pt x="74" y="322"/>
                    <a:pt x="74" y="322"/>
                  </a:cubicBezTo>
                  <a:cubicBezTo>
                    <a:pt x="74" y="330"/>
                    <a:pt x="74" y="330"/>
                    <a:pt x="74" y="330"/>
                  </a:cubicBezTo>
                  <a:cubicBezTo>
                    <a:pt x="74" y="330"/>
                    <a:pt x="64" y="349"/>
                    <a:pt x="62" y="360"/>
                  </a:cubicBezTo>
                  <a:cubicBezTo>
                    <a:pt x="60" y="369"/>
                    <a:pt x="63" y="377"/>
                    <a:pt x="64" y="379"/>
                  </a:cubicBezTo>
                  <a:cubicBezTo>
                    <a:pt x="75" y="381"/>
                    <a:pt x="75" y="381"/>
                    <a:pt x="75" y="381"/>
                  </a:cubicBezTo>
                  <a:cubicBezTo>
                    <a:pt x="87" y="381"/>
                    <a:pt x="87" y="381"/>
                    <a:pt x="87" y="381"/>
                  </a:cubicBezTo>
                  <a:cubicBezTo>
                    <a:pt x="97" y="374"/>
                    <a:pt x="97" y="374"/>
                    <a:pt x="97" y="374"/>
                  </a:cubicBezTo>
                  <a:cubicBezTo>
                    <a:pt x="101" y="378"/>
                    <a:pt x="101" y="378"/>
                    <a:pt x="101" y="378"/>
                  </a:cubicBezTo>
                  <a:cubicBezTo>
                    <a:pt x="101" y="378"/>
                    <a:pt x="96" y="366"/>
                    <a:pt x="103" y="365"/>
                  </a:cubicBezTo>
                  <a:cubicBezTo>
                    <a:pt x="110" y="364"/>
                    <a:pt x="119" y="372"/>
                    <a:pt x="119" y="372"/>
                  </a:cubicBezTo>
                  <a:cubicBezTo>
                    <a:pt x="128" y="372"/>
                    <a:pt x="128" y="372"/>
                    <a:pt x="128" y="372"/>
                  </a:cubicBezTo>
                  <a:cubicBezTo>
                    <a:pt x="138" y="375"/>
                    <a:pt x="138" y="375"/>
                    <a:pt x="138" y="375"/>
                  </a:cubicBezTo>
                  <a:cubicBezTo>
                    <a:pt x="144" y="383"/>
                    <a:pt x="144" y="383"/>
                    <a:pt x="144" y="383"/>
                  </a:cubicBezTo>
                  <a:cubicBezTo>
                    <a:pt x="148" y="383"/>
                    <a:pt x="148" y="383"/>
                    <a:pt x="148" y="383"/>
                  </a:cubicBezTo>
                  <a:cubicBezTo>
                    <a:pt x="148" y="383"/>
                    <a:pt x="149" y="384"/>
                    <a:pt x="149" y="385"/>
                  </a:cubicBezTo>
                  <a:cubicBezTo>
                    <a:pt x="149" y="385"/>
                    <a:pt x="149" y="385"/>
                    <a:pt x="149" y="385"/>
                  </a:cubicBezTo>
                  <a:cubicBezTo>
                    <a:pt x="151" y="383"/>
                    <a:pt x="155" y="380"/>
                    <a:pt x="161" y="382"/>
                  </a:cubicBezTo>
                  <a:cubicBezTo>
                    <a:pt x="170" y="383"/>
                    <a:pt x="171" y="393"/>
                    <a:pt x="175" y="392"/>
                  </a:cubicBezTo>
                  <a:cubicBezTo>
                    <a:pt x="179" y="391"/>
                    <a:pt x="182" y="386"/>
                    <a:pt x="182" y="386"/>
                  </a:cubicBezTo>
                  <a:cubicBezTo>
                    <a:pt x="182" y="377"/>
                    <a:pt x="182" y="377"/>
                    <a:pt x="182" y="377"/>
                  </a:cubicBezTo>
                  <a:cubicBezTo>
                    <a:pt x="195" y="378"/>
                    <a:pt x="195" y="378"/>
                    <a:pt x="195" y="378"/>
                  </a:cubicBezTo>
                  <a:cubicBezTo>
                    <a:pt x="195" y="378"/>
                    <a:pt x="205" y="389"/>
                    <a:pt x="212" y="389"/>
                  </a:cubicBezTo>
                  <a:cubicBezTo>
                    <a:pt x="218" y="389"/>
                    <a:pt x="224" y="387"/>
                    <a:pt x="224" y="387"/>
                  </a:cubicBezTo>
                  <a:cubicBezTo>
                    <a:pt x="233" y="379"/>
                    <a:pt x="233" y="379"/>
                    <a:pt x="233" y="379"/>
                  </a:cubicBezTo>
                  <a:cubicBezTo>
                    <a:pt x="247" y="378"/>
                    <a:pt x="247" y="378"/>
                    <a:pt x="247" y="378"/>
                  </a:cubicBezTo>
                  <a:cubicBezTo>
                    <a:pt x="258" y="372"/>
                    <a:pt x="258" y="372"/>
                    <a:pt x="258" y="372"/>
                  </a:cubicBezTo>
                  <a:cubicBezTo>
                    <a:pt x="267" y="373"/>
                    <a:pt x="267" y="373"/>
                    <a:pt x="267" y="373"/>
                  </a:cubicBezTo>
                  <a:cubicBezTo>
                    <a:pt x="280" y="378"/>
                    <a:pt x="280" y="378"/>
                    <a:pt x="280" y="378"/>
                  </a:cubicBezTo>
                  <a:cubicBezTo>
                    <a:pt x="280" y="378"/>
                    <a:pt x="288" y="392"/>
                    <a:pt x="290" y="385"/>
                  </a:cubicBezTo>
                  <a:cubicBezTo>
                    <a:pt x="291" y="379"/>
                    <a:pt x="290" y="369"/>
                    <a:pt x="290" y="369"/>
                  </a:cubicBezTo>
                  <a:cubicBezTo>
                    <a:pt x="290" y="360"/>
                    <a:pt x="290" y="360"/>
                    <a:pt x="290" y="360"/>
                  </a:cubicBezTo>
                  <a:cubicBezTo>
                    <a:pt x="282" y="358"/>
                    <a:pt x="282" y="358"/>
                    <a:pt x="282" y="358"/>
                  </a:cubicBezTo>
                  <a:cubicBezTo>
                    <a:pt x="282" y="358"/>
                    <a:pt x="287" y="345"/>
                    <a:pt x="291" y="344"/>
                  </a:cubicBezTo>
                  <a:cubicBezTo>
                    <a:pt x="296" y="343"/>
                    <a:pt x="309" y="346"/>
                    <a:pt x="309" y="346"/>
                  </a:cubicBezTo>
                  <a:cubicBezTo>
                    <a:pt x="309" y="335"/>
                    <a:pt x="309" y="335"/>
                    <a:pt x="309" y="335"/>
                  </a:cubicBezTo>
                  <a:cubicBezTo>
                    <a:pt x="305" y="328"/>
                    <a:pt x="305" y="328"/>
                    <a:pt x="305" y="328"/>
                  </a:cubicBezTo>
                  <a:cubicBezTo>
                    <a:pt x="317" y="327"/>
                    <a:pt x="317" y="327"/>
                    <a:pt x="317" y="327"/>
                  </a:cubicBezTo>
                  <a:cubicBezTo>
                    <a:pt x="324" y="316"/>
                    <a:pt x="324" y="316"/>
                    <a:pt x="324" y="316"/>
                  </a:cubicBezTo>
                  <a:cubicBezTo>
                    <a:pt x="324" y="316"/>
                    <a:pt x="323" y="309"/>
                    <a:pt x="317" y="305"/>
                  </a:cubicBezTo>
                  <a:cubicBezTo>
                    <a:pt x="312" y="302"/>
                    <a:pt x="307" y="304"/>
                    <a:pt x="307" y="304"/>
                  </a:cubicBezTo>
                  <a:cubicBezTo>
                    <a:pt x="301" y="295"/>
                    <a:pt x="301" y="295"/>
                    <a:pt x="301" y="295"/>
                  </a:cubicBezTo>
                  <a:cubicBezTo>
                    <a:pt x="297" y="295"/>
                    <a:pt x="297" y="295"/>
                    <a:pt x="297" y="295"/>
                  </a:cubicBezTo>
                  <a:cubicBezTo>
                    <a:pt x="294" y="287"/>
                    <a:pt x="294" y="287"/>
                    <a:pt x="294" y="287"/>
                  </a:cubicBezTo>
                  <a:cubicBezTo>
                    <a:pt x="294" y="287"/>
                    <a:pt x="288" y="285"/>
                    <a:pt x="281" y="285"/>
                  </a:cubicBezTo>
                  <a:cubicBezTo>
                    <a:pt x="273" y="284"/>
                    <a:pt x="279" y="279"/>
                    <a:pt x="279" y="279"/>
                  </a:cubicBezTo>
                  <a:cubicBezTo>
                    <a:pt x="273" y="277"/>
                    <a:pt x="273" y="277"/>
                    <a:pt x="273" y="277"/>
                  </a:cubicBezTo>
                  <a:cubicBezTo>
                    <a:pt x="271" y="271"/>
                    <a:pt x="271" y="271"/>
                    <a:pt x="271" y="271"/>
                  </a:cubicBezTo>
                  <a:cubicBezTo>
                    <a:pt x="271" y="271"/>
                    <a:pt x="263" y="265"/>
                    <a:pt x="262" y="263"/>
                  </a:cubicBezTo>
                  <a:cubicBezTo>
                    <a:pt x="261" y="261"/>
                    <a:pt x="269" y="257"/>
                    <a:pt x="269" y="257"/>
                  </a:cubicBezTo>
                  <a:cubicBezTo>
                    <a:pt x="263" y="248"/>
                    <a:pt x="263" y="248"/>
                    <a:pt x="263" y="248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57" y="247"/>
                    <a:pt x="252" y="238"/>
                    <a:pt x="255" y="235"/>
                  </a:cubicBezTo>
                  <a:cubicBezTo>
                    <a:pt x="259" y="233"/>
                    <a:pt x="259" y="239"/>
                    <a:pt x="263" y="239"/>
                  </a:cubicBezTo>
                  <a:cubicBezTo>
                    <a:pt x="267" y="238"/>
                    <a:pt x="266" y="233"/>
                    <a:pt x="266" y="233"/>
                  </a:cubicBezTo>
                  <a:cubicBezTo>
                    <a:pt x="273" y="233"/>
                    <a:pt x="273" y="233"/>
                    <a:pt x="273" y="233"/>
                  </a:cubicBezTo>
                  <a:cubicBezTo>
                    <a:pt x="273" y="233"/>
                    <a:pt x="275" y="225"/>
                    <a:pt x="283" y="227"/>
                  </a:cubicBezTo>
                  <a:cubicBezTo>
                    <a:pt x="292" y="229"/>
                    <a:pt x="290" y="233"/>
                    <a:pt x="290" y="233"/>
                  </a:cubicBezTo>
                  <a:cubicBezTo>
                    <a:pt x="297" y="224"/>
                    <a:pt x="297" y="224"/>
                    <a:pt x="297" y="224"/>
                  </a:cubicBezTo>
                  <a:cubicBezTo>
                    <a:pt x="308" y="221"/>
                    <a:pt x="308" y="221"/>
                    <a:pt x="308" y="221"/>
                  </a:cubicBezTo>
                  <a:cubicBezTo>
                    <a:pt x="310" y="217"/>
                    <a:pt x="310" y="217"/>
                    <a:pt x="310" y="217"/>
                  </a:cubicBezTo>
                  <a:cubicBezTo>
                    <a:pt x="310" y="217"/>
                    <a:pt x="321" y="217"/>
                    <a:pt x="324" y="216"/>
                  </a:cubicBezTo>
                  <a:cubicBezTo>
                    <a:pt x="327" y="215"/>
                    <a:pt x="325" y="210"/>
                    <a:pt x="325" y="210"/>
                  </a:cubicBezTo>
                  <a:cubicBezTo>
                    <a:pt x="325" y="210"/>
                    <a:pt x="336" y="211"/>
                    <a:pt x="339" y="208"/>
                  </a:cubicBezTo>
                  <a:cubicBezTo>
                    <a:pt x="341" y="205"/>
                    <a:pt x="346" y="199"/>
                    <a:pt x="348" y="198"/>
                  </a:cubicBezTo>
                  <a:cubicBezTo>
                    <a:pt x="350" y="197"/>
                    <a:pt x="355" y="209"/>
                    <a:pt x="360" y="208"/>
                  </a:cubicBezTo>
                  <a:cubicBezTo>
                    <a:pt x="365" y="207"/>
                    <a:pt x="371" y="195"/>
                    <a:pt x="372" y="191"/>
                  </a:cubicBezTo>
                  <a:cubicBezTo>
                    <a:pt x="373" y="188"/>
                    <a:pt x="367" y="187"/>
                    <a:pt x="367" y="187"/>
                  </a:cubicBezTo>
                  <a:cubicBezTo>
                    <a:pt x="367" y="187"/>
                    <a:pt x="371" y="182"/>
                    <a:pt x="369" y="177"/>
                  </a:cubicBezTo>
                  <a:cubicBezTo>
                    <a:pt x="368" y="171"/>
                    <a:pt x="360" y="177"/>
                    <a:pt x="360" y="177"/>
                  </a:cubicBezTo>
                  <a:cubicBezTo>
                    <a:pt x="361" y="165"/>
                    <a:pt x="361" y="165"/>
                    <a:pt x="361" y="165"/>
                  </a:cubicBezTo>
                  <a:cubicBezTo>
                    <a:pt x="361" y="165"/>
                    <a:pt x="352" y="163"/>
                    <a:pt x="351" y="157"/>
                  </a:cubicBezTo>
                  <a:cubicBezTo>
                    <a:pt x="351" y="152"/>
                    <a:pt x="360" y="146"/>
                    <a:pt x="360" y="146"/>
                  </a:cubicBezTo>
                  <a:cubicBezTo>
                    <a:pt x="360" y="146"/>
                    <a:pt x="357" y="144"/>
                    <a:pt x="355" y="143"/>
                  </a:cubicBezTo>
                  <a:cubicBezTo>
                    <a:pt x="353" y="143"/>
                    <a:pt x="356" y="136"/>
                    <a:pt x="356" y="136"/>
                  </a:cubicBezTo>
                  <a:cubicBezTo>
                    <a:pt x="356" y="136"/>
                    <a:pt x="351" y="135"/>
                    <a:pt x="350" y="132"/>
                  </a:cubicBezTo>
                  <a:cubicBezTo>
                    <a:pt x="349" y="129"/>
                    <a:pt x="355" y="126"/>
                    <a:pt x="355" y="126"/>
                  </a:cubicBezTo>
                  <a:cubicBezTo>
                    <a:pt x="355" y="126"/>
                    <a:pt x="355" y="120"/>
                    <a:pt x="352" y="115"/>
                  </a:cubicBezTo>
                  <a:cubicBezTo>
                    <a:pt x="349" y="111"/>
                    <a:pt x="345" y="115"/>
                    <a:pt x="345" y="115"/>
                  </a:cubicBezTo>
                  <a:cubicBezTo>
                    <a:pt x="341" y="109"/>
                    <a:pt x="341" y="109"/>
                    <a:pt x="341" y="109"/>
                  </a:cubicBezTo>
                  <a:cubicBezTo>
                    <a:pt x="341" y="109"/>
                    <a:pt x="337" y="113"/>
                    <a:pt x="334" y="106"/>
                  </a:cubicBezTo>
                  <a:cubicBezTo>
                    <a:pt x="331" y="99"/>
                    <a:pt x="337" y="98"/>
                    <a:pt x="343" y="93"/>
                  </a:cubicBezTo>
                  <a:cubicBezTo>
                    <a:pt x="349" y="89"/>
                    <a:pt x="347" y="87"/>
                    <a:pt x="345" y="79"/>
                  </a:cubicBezTo>
                  <a:cubicBezTo>
                    <a:pt x="342" y="70"/>
                    <a:pt x="337" y="78"/>
                    <a:pt x="339" y="72"/>
                  </a:cubicBezTo>
                  <a:cubicBezTo>
                    <a:pt x="340" y="69"/>
                    <a:pt x="339" y="65"/>
                    <a:pt x="338" y="62"/>
                  </a:cubicBezTo>
                  <a:cubicBezTo>
                    <a:pt x="334" y="60"/>
                    <a:pt x="334" y="60"/>
                    <a:pt x="334" y="60"/>
                  </a:cubicBezTo>
                  <a:cubicBezTo>
                    <a:pt x="321" y="55"/>
                    <a:pt x="321" y="55"/>
                    <a:pt x="321" y="55"/>
                  </a:cubicBezTo>
                  <a:cubicBezTo>
                    <a:pt x="321" y="55"/>
                    <a:pt x="323" y="50"/>
                    <a:pt x="318" y="44"/>
                  </a:cubicBezTo>
                  <a:cubicBezTo>
                    <a:pt x="313" y="38"/>
                    <a:pt x="301" y="41"/>
                    <a:pt x="301" y="41"/>
                  </a:cubicBezTo>
                  <a:cubicBezTo>
                    <a:pt x="296" y="35"/>
                    <a:pt x="296" y="35"/>
                    <a:pt x="296" y="35"/>
                  </a:cubicBezTo>
                  <a:cubicBezTo>
                    <a:pt x="296" y="35"/>
                    <a:pt x="270" y="23"/>
                    <a:pt x="265" y="26"/>
                  </a:cubicBezTo>
                  <a:cubicBezTo>
                    <a:pt x="260" y="29"/>
                    <a:pt x="253" y="36"/>
                    <a:pt x="253" y="36"/>
                  </a:cubicBezTo>
                  <a:cubicBezTo>
                    <a:pt x="226" y="35"/>
                    <a:pt x="226" y="35"/>
                    <a:pt x="226" y="35"/>
                  </a:cubicBezTo>
                  <a:cubicBezTo>
                    <a:pt x="226" y="47"/>
                    <a:pt x="226" y="47"/>
                    <a:pt x="226" y="47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200" y="46"/>
                    <a:pt x="198" y="38"/>
                    <a:pt x="202" y="35"/>
                  </a:cubicBezTo>
                  <a:cubicBezTo>
                    <a:pt x="206" y="32"/>
                    <a:pt x="209" y="20"/>
                    <a:pt x="209" y="20"/>
                  </a:cubicBezTo>
                  <a:cubicBezTo>
                    <a:pt x="196" y="27"/>
                    <a:pt x="196" y="27"/>
                    <a:pt x="196" y="27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8" y="22"/>
                    <a:pt x="160" y="14"/>
                    <a:pt x="156" y="4"/>
                  </a:cubicBezTo>
                  <a:cubicBezTo>
                    <a:pt x="154" y="5"/>
                    <a:pt x="153" y="6"/>
                    <a:pt x="153" y="6"/>
                  </a:cubicBezTo>
                  <a:cubicBezTo>
                    <a:pt x="153" y="6"/>
                    <a:pt x="152" y="2"/>
                    <a:pt x="145" y="3"/>
                  </a:cubicBezTo>
                  <a:cubicBezTo>
                    <a:pt x="137" y="3"/>
                    <a:pt x="135" y="5"/>
                    <a:pt x="135" y="5"/>
                  </a:cubicBezTo>
                  <a:cubicBezTo>
                    <a:pt x="135" y="5"/>
                    <a:pt x="127" y="0"/>
                    <a:pt x="123" y="0"/>
                  </a:cubicBezTo>
                  <a:cubicBezTo>
                    <a:pt x="119" y="0"/>
                    <a:pt x="112" y="0"/>
                    <a:pt x="112" y="0"/>
                  </a:cubicBezTo>
                  <a:cubicBezTo>
                    <a:pt x="126" y="23"/>
                    <a:pt x="126" y="23"/>
                    <a:pt x="126" y="23"/>
                  </a:cubicBezTo>
                  <a:cubicBezTo>
                    <a:pt x="117" y="31"/>
                    <a:pt x="117" y="31"/>
                    <a:pt x="117" y="31"/>
                  </a:cubicBezTo>
                  <a:cubicBezTo>
                    <a:pt x="130" y="49"/>
                    <a:pt x="130" y="49"/>
                    <a:pt x="130" y="49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23" y="51"/>
                    <a:pt x="123" y="51"/>
                    <a:pt x="123" y="51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10" y="70"/>
                    <a:pt x="104" y="72"/>
                  </a:cubicBezTo>
                  <a:cubicBezTo>
                    <a:pt x="98" y="74"/>
                    <a:pt x="88" y="72"/>
                    <a:pt x="88" y="7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55" y="59"/>
                    <a:pt x="54" y="64"/>
                  </a:cubicBezTo>
                  <a:cubicBezTo>
                    <a:pt x="53" y="69"/>
                    <a:pt x="53" y="82"/>
                    <a:pt x="53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59" y="95"/>
                    <a:pt x="48" y="99"/>
                    <a:pt x="47" y="103"/>
                  </a:cubicBezTo>
                  <a:cubicBezTo>
                    <a:pt x="45" y="107"/>
                    <a:pt x="49" y="115"/>
                    <a:pt x="49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29" y="119"/>
                    <a:pt x="30" y="122"/>
                  </a:cubicBezTo>
                  <a:cubicBezTo>
                    <a:pt x="31" y="125"/>
                    <a:pt x="45" y="130"/>
                    <a:pt x="45" y="134"/>
                  </a:cubicBezTo>
                  <a:cubicBezTo>
                    <a:pt x="45" y="138"/>
                    <a:pt x="37" y="142"/>
                    <a:pt x="37" y="142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29" y="152"/>
                    <a:pt x="29" y="152"/>
                    <a:pt x="29" y="152"/>
                  </a:cubicBezTo>
                  <a:cubicBezTo>
                    <a:pt x="29" y="152"/>
                    <a:pt x="27" y="157"/>
                    <a:pt x="25" y="160"/>
                  </a:cubicBezTo>
                  <a:cubicBezTo>
                    <a:pt x="23" y="163"/>
                    <a:pt x="1" y="155"/>
                    <a:pt x="1" y="155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7" y="170"/>
                    <a:pt x="12" y="178"/>
                    <a:pt x="11" y="181"/>
                  </a:cubicBezTo>
                  <a:cubicBezTo>
                    <a:pt x="11" y="185"/>
                    <a:pt x="0" y="191"/>
                    <a:pt x="0" y="191"/>
                  </a:cubicBezTo>
                  <a:cubicBezTo>
                    <a:pt x="0" y="191"/>
                    <a:pt x="5" y="197"/>
                    <a:pt x="4" y="199"/>
                  </a:cubicBezTo>
                  <a:cubicBezTo>
                    <a:pt x="3" y="201"/>
                    <a:pt x="0" y="215"/>
                    <a:pt x="0" y="215"/>
                  </a:cubicBezTo>
                  <a:cubicBezTo>
                    <a:pt x="5" y="216"/>
                    <a:pt x="5" y="216"/>
                    <a:pt x="5" y="216"/>
                  </a:cubicBezTo>
                  <a:cubicBezTo>
                    <a:pt x="5" y="216"/>
                    <a:pt x="14" y="219"/>
                    <a:pt x="15" y="225"/>
                  </a:cubicBezTo>
                  <a:cubicBezTo>
                    <a:pt x="15" y="231"/>
                    <a:pt x="18" y="238"/>
                    <a:pt x="18" y="238"/>
                  </a:cubicBezTo>
                  <a:cubicBezTo>
                    <a:pt x="9" y="239"/>
                    <a:pt x="9" y="239"/>
                    <a:pt x="9" y="239"/>
                  </a:cubicBezTo>
                  <a:cubicBezTo>
                    <a:pt x="9" y="239"/>
                    <a:pt x="4" y="247"/>
                    <a:pt x="7" y="253"/>
                  </a:cubicBezTo>
                  <a:cubicBezTo>
                    <a:pt x="11" y="259"/>
                    <a:pt x="21" y="261"/>
                    <a:pt x="22" y="265"/>
                  </a:cubicBezTo>
                  <a:cubicBezTo>
                    <a:pt x="23" y="270"/>
                    <a:pt x="17" y="274"/>
                    <a:pt x="17" y="274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66" name="Freeform 82"/>
            <p:cNvSpPr>
              <a:spLocks/>
            </p:cNvSpPr>
            <p:nvPr/>
          </p:nvSpPr>
          <p:spPr bwMode="auto">
            <a:xfrm>
              <a:off x="2712" y="1885"/>
              <a:ext cx="7" cy="4"/>
            </a:xfrm>
            <a:custGeom>
              <a:avLst/>
              <a:gdLst>
                <a:gd name="T0" fmla="*/ 0 w 20"/>
                <a:gd name="T1" fmla="*/ 0 h 13"/>
                <a:gd name="T2" fmla="*/ 0 w 20"/>
                <a:gd name="T3" fmla="*/ 0 h 13"/>
                <a:gd name="T4" fmla="*/ 0 w 20"/>
                <a:gd name="T5" fmla="*/ 0 h 13"/>
                <a:gd name="T6" fmla="*/ 0 w 20"/>
                <a:gd name="T7" fmla="*/ 0 h 13"/>
                <a:gd name="T8" fmla="*/ 0 w 20"/>
                <a:gd name="T9" fmla="*/ 0 h 13"/>
                <a:gd name="T10" fmla="*/ 0 w 20"/>
                <a:gd name="T11" fmla="*/ 0 h 13"/>
                <a:gd name="T12" fmla="*/ 0 w 20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3"/>
                <a:gd name="T23" fmla="*/ 20 w 20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3">
                  <a:moveTo>
                    <a:pt x="5" y="13"/>
                  </a:moveTo>
                  <a:cubicBezTo>
                    <a:pt x="5" y="13"/>
                    <a:pt x="14" y="11"/>
                    <a:pt x="18" y="10"/>
                  </a:cubicBezTo>
                  <a:cubicBezTo>
                    <a:pt x="19" y="10"/>
                    <a:pt x="20" y="10"/>
                    <a:pt x="20" y="1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5" y="0"/>
                    <a:pt x="5" y="1"/>
                  </a:cubicBezTo>
                  <a:cubicBezTo>
                    <a:pt x="3" y="1"/>
                    <a:pt x="1" y="1"/>
                    <a:pt x="0" y="2"/>
                  </a:cubicBezTo>
                  <a:lnTo>
                    <a:pt x="5" y="13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67" name="Freeform 83"/>
            <p:cNvSpPr>
              <a:spLocks/>
            </p:cNvSpPr>
            <p:nvPr/>
          </p:nvSpPr>
          <p:spPr bwMode="auto">
            <a:xfrm>
              <a:off x="4076" y="1696"/>
              <a:ext cx="533" cy="211"/>
            </a:xfrm>
            <a:custGeom>
              <a:avLst/>
              <a:gdLst>
                <a:gd name="T0" fmla="*/ 0 w 1406"/>
                <a:gd name="T1" fmla="*/ 0 h 558"/>
                <a:gd name="T2" fmla="*/ 0 w 1406"/>
                <a:gd name="T3" fmla="*/ 0 h 558"/>
                <a:gd name="T4" fmla="*/ 0 w 1406"/>
                <a:gd name="T5" fmla="*/ 0 h 558"/>
                <a:gd name="T6" fmla="*/ 0 w 1406"/>
                <a:gd name="T7" fmla="*/ 0 h 558"/>
                <a:gd name="T8" fmla="*/ 0 w 1406"/>
                <a:gd name="T9" fmla="*/ 0 h 558"/>
                <a:gd name="T10" fmla="*/ 0 w 1406"/>
                <a:gd name="T11" fmla="*/ 0 h 558"/>
                <a:gd name="T12" fmla="*/ 0 w 1406"/>
                <a:gd name="T13" fmla="*/ 0 h 558"/>
                <a:gd name="T14" fmla="*/ 0 w 1406"/>
                <a:gd name="T15" fmla="*/ 0 h 558"/>
                <a:gd name="T16" fmla="*/ 0 w 1406"/>
                <a:gd name="T17" fmla="*/ 0 h 558"/>
                <a:gd name="T18" fmla="*/ 0 w 1406"/>
                <a:gd name="T19" fmla="*/ 0 h 558"/>
                <a:gd name="T20" fmla="*/ 0 w 1406"/>
                <a:gd name="T21" fmla="*/ 0 h 558"/>
                <a:gd name="T22" fmla="*/ 0 w 1406"/>
                <a:gd name="T23" fmla="*/ 0 h 558"/>
                <a:gd name="T24" fmla="*/ 0 w 1406"/>
                <a:gd name="T25" fmla="*/ 0 h 558"/>
                <a:gd name="T26" fmla="*/ 0 w 1406"/>
                <a:gd name="T27" fmla="*/ 0 h 558"/>
                <a:gd name="T28" fmla="*/ 0 w 1406"/>
                <a:gd name="T29" fmla="*/ 0 h 558"/>
                <a:gd name="T30" fmla="*/ 0 w 1406"/>
                <a:gd name="T31" fmla="*/ 0 h 558"/>
                <a:gd name="T32" fmla="*/ 0 w 1406"/>
                <a:gd name="T33" fmla="*/ 0 h 558"/>
                <a:gd name="T34" fmla="*/ 0 w 1406"/>
                <a:gd name="T35" fmla="*/ 0 h 558"/>
                <a:gd name="T36" fmla="*/ 0 w 1406"/>
                <a:gd name="T37" fmla="*/ 0 h 558"/>
                <a:gd name="T38" fmla="*/ 0 w 1406"/>
                <a:gd name="T39" fmla="*/ 0 h 558"/>
                <a:gd name="T40" fmla="*/ 0 w 1406"/>
                <a:gd name="T41" fmla="*/ 0 h 558"/>
                <a:gd name="T42" fmla="*/ 0 w 1406"/>
                <a:gd name="T43" fmla="*/ 0 h 558"/>
                <a:gd name="T44" fmla="*/ 0 w 1406"/>
                <a:gd name="T45" fmla="*/ 0 h 558"/>
                <a:gd name="T46" fmla="*/ 0 w 1406"/>
                <a:gd name="T47" fmla="*/ 0 h 558"/>
                <a:gd name="T48" fmla="*/ 0 w 1406"/>
                <a:gd name="T49" fmla="*/ 0 h 558"/>
                <a:gd name="T50" fmla="*/ 0 w 1406"/>
                <a:gd name="T51" fmla="*/ 0 h 558"/>
                <a:gd name="T52" fmla="*/ 0 w 1406"/>
                <a:gd name="T53" fmla="*/ 0 h 558"/>
                <a:gd name="T54" fmla="*/ 0 w 1406"/>
                <a:gd name="T55" fmla="*/ 0 h 558"/>
                <a:gd name="T56" fmla="*/ 0 w 1406"/>
                <a:gd name="T57" fmla="*/ 0 h 558"/>
                <a:gd name="T58" fmla="*/ 0 w 1406"/>
                <a:gd name="T59" fmla="*/ 0 h 558"/>
                <a:gd name="T60" fmla="*/ 0 w 1406"/>
                <a:gd name="T61" fmla="*/ 0 h 558"/>
                <a:gd name="T62" fmla="*/ 0 w 1406"/>
                <a:gd name="T63" fmla="*/ 0 h 558"/>
                <a:gd name="T64" fmla="*/ 0 w 1406"/>
                <a:gd name="T65" fmla="*/ 0 h 558"/>
                <a:gd name="T66" fmla="*/ 0 w 1406"/>
                <a:gd name="T67" fmla="*/ 0 h 558"/>
                <a:gd name="T68" fmla="*/ 0 w 1406"/>
                <a:gd name="T69" fmla="*/ 0 h 558"/>
                <a:gd name="T70" fmla="*/ 0 w 1406"/>
                <a:gd name="T71" fmla="*/ 0 h 558"/>
                <a:gd name="T72" fmla="*/ 0 w 1406"/>
                <a:gd name="T73" fmla="*/ 0 h 558"/>
                <a:gd name="T74" fmla="*/ 0 w 1406"/>
                <a:gd name="T75" fmla="*/ 0 h 558"/>
                <a:gd name="T76" fmla="*/ 0 w 1406"/>
                <a:gd name="T77" fmla="*/ 0 h 558"/>
                <a:gd name="T78" fmla="*/ 0 w 1406"/>
                <a:gd name="T79" fmla="*/ 0 h 558"/>
                <a:gd name="T80" fmla="*/ 0 w 1406"/>
                <a:gd name="T81" fmla="*/ 0 h 558"/>
                <a:gd name="T82" fmla="*/ 0 w 1406"/>
                <a:gd name="T83" fmla="*/ 0 h 558"/>
                <a:gd name="T84" fmla="*/ 0 w 1406"/>
                <a:gd name="T85" fmla="*/ 0 h 558"/>
                <a:gd name="T86" fmla="*/ 0 w 1406"/>
                <a:gd name="T87" fmla="*/ 0 h 558"/>
                <a:gd name="T88" fmla="*/ 0 w 1406"/>
                <a:gd name="T89" fmla="*/ 0 h 558"/>
                <a:gd name="T90" fmla="*/ 0 w 1406"/>
                <a:gd name="T91" fmla="*/ 0 h 558"/>
                <a:gd name="T92" fmla="*/ 0 w 1406"/>
                <a:gd name="T93" fmla="*/ 0 h 558"/>
                <a:gd name="T94" fmla="*/ 0 w 1406"/>
                <a:gd name="T95" fmla="*/ 0 h 558"/>
                <a:gd name="T96" fmla="*/ 0 w 1406"/>
                <a:gd name="T97" fmla="*/ 0 h 558"/>
                <a:gd name="T98" fmla="*/ 0 w 1406"/>
                <a:gd name="T99" fmla="*/ 0 h 558"/>
                <a:gd name="T100" fmla="*/ 0 w 1406"/>
                <a:gd name="T101" fmla="*/ 0 h 55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406"/>
                <a:gd name="T154" fmla="*/ 0 h 558"/>
                <a:gd name="T155" fmla="*/ 1406 w 1406"/>
                <a:gd name="T156" fmla="*/ 558 h 55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406" h="558">
                  <a:moveTo>
                    <a:pt x="1394" y="273"/>
                  </a:moveTo>
                  <a:cubicBezTo>
                    <a:pt x="1385" y="267"/>
                    <a:pt x="1380" y="256"/>
                    <a:pt x="1380" y="256"/>
                  </a:cubicBezTo>
                  <a:cubicBezTo>
                    <a:pt x="1380" y="256"/>
                    <a:pt x="1362" y="252"/>
                    <a:pt x="1353" y="245"/>
                  </a:cubicBezTo>
                  <a:cubicBezTo>
                    <a:pt x="1344" y="238"/>
                    <a:pt x="1336" y="231"/>
                    <a:pt x="1336" y="231"/>
                  </a:cubicBezTo>
                  <a:cubicBezTo>
                    <a:pt x="1336" y="231"/>
                    <a:pt x="1333" y="231"/>
                    <a:pt x="1324" y="230"/>
                  </a:cubicBezTo>
                  <a:cubicBezTo>
                    <a:pt x="1315" y="229"/>
                    <a:pt x="1312" y="214"/>
                    <a:pt x="1312" y="214"/>
                  </a:cubicBezTo>
                  <a:cubicBezTo>
                    <a:pt x="1271" y="214"/>
                    <a:pt x="1271" y="214"/>
                    <a:pt x="1271" y="214"/>
                  </a:cubicBezTo>
                  <a:cubicBezTo>
                    <a:pt x="1271" y="214"/>
                    <a:pt x="1270" y="232"/>
                    <a:pt x="1264" y="234"/>
                  </a:cubicBezTo>
                  <a:cubicBezTo>
                    <a:pt x="1258" y="236"/>
                    <a:pt x="1247" y="225"/>
                    <a:pt x="1247" y="225"/>
                  </a:cubicBezTo>
                  <a:cubicBezTo>
                    <a:pt x="1247" y="225"/>
                    <a:pt x="1237" y="221"/>
                    <a:pt x="1218" y="222"/>
                  </a:cubicBezTo>
                  <a:cubicBezTo>
                    <a:pt x="1199" y="223"/>
                    <a:pt x="1215" y="230"/>
                    <a:pt x="1206" y="233"/>
                  </a:cubicBezTo>
                  <a:cubicBezTo>
                    <a:pt x="1197" y="236"/>
                    <a:pt x="1185" y="225"/>
                    <a:pt x="1182" y="215"/>
                  </a:cubicBezTo>
                  <a:cubicBezTo>
                    <a:pt x="1179" y="205"/>
                    <a:pt x="1184" y="202"/>
                    <a:pt x="1184" y="202"/>
                  </a:cubicBezTo>
                  <a:cubicBezTo>
                    <a:pt x="1180" y="196"/>
                    <a:pt x="1180" y="196"/>
                    <a:pt x="1180" y="196"/>
                  </a:cubicBezTo>
                  <a:cubicBezTo>
                    <a:pt x="1179" y="178"/>
                    <a:pt x="1179" y="178"/>
                    <a:pt x="1179" y="178"/>
                  </a:cubicBezTo>
                  <a:cubicBezTo>
                    <a:pt x="1174" y="172"/>
                    <a:pt x="1174" y="172"/>
                    <a:pt x="1174" y="172"/>
                  </a:cubicBezTo>
                  <a:cubicBezTo>
                    <a:pt x="1173" y="117"/>
                    <a:pt x="1173" y="117"/>
                    <a:pt x="1173" y="117"/>
                  </a:cubicBezTo>
                  <a:cubicBezTo>
                    <a:pt x="1162" y="114"/>
                    <a:pt x="1162" y="114"/>
                    <a:pt x="1162" y="114"/>
                  </a:cubicBezTo>
                  <a:cubicBezTo>
                    <a:pt x="1144" y="111"/>
                    <a:pt x="1144" y="111"/>
                    <a:pt x="1144" y="111"/>
                  </a:cubicBezTo>
                  <a:cubicBezTo>
                    <a:pt x="1144" y="111"/>
                    <a:pt x="1138" y="118"/>
                    <a:pt x="1124" y="118"/>
                  </a:cubicBezTo>
                  <a:cubicBezTo>
                    <a:pt x="1110" y="118"/>
                    <a:pt x="1100" y="102"/>
                    <a:pt x="1091" y="102"/>
                  </a:cubicBezTo>
                  <a:cubicBezTo>
                    <a:pt x="1082" y="102"/>
                    <a:pt x="1055" y="98"/>
                    <a:pt x="1055" y="98"/>
                  </a:cubicBezTo>
                  <a:cubicBezTo>
                    <a:pt x="1032" y="121"/>
                    <a:pt x="1032" y="121"/>
                    <a:pt x="1032" y="121"/>
                  </a:cubicBezTo>
                  <a:cubicBezTo>
                    <a:pt x="1032" y="121"/>
                    <a:pt x="1035" y="132"/>
                    <a:pt x="1025" y="136"/>
                  </a:cubicBezTo>
                  <a:cubicBezTo>
                    <a:pt x="1015" y="140"/>
                    <a:pt x="1003" y="137"/>
                    <a:pt x="1003" y="137"/>
                  </a:cubicBezTo>
                  <a:cubicBezTo>
                    <a:pt x="993" y="142"/>
                    <a:pt x="993" y="142"/>
                    <a:pt x="993" y="142"/>
                  </a:cubicBezTo>
                  <a:cubicBezTo>
                    <a:pt x="993" y="142"/>
                    <a:pt x="976" y="141"/>
                    <a:pt x="967" y="143"/>
                  </a:cubicBezTo>
                  <a:cubicBezTo>
                    <a:pt x="958" y="145"/>
                    <a:pt x="960" y="150"/>
                    <a:pt x="955" y="156"/>
                  </a:cubicBezTo>
                  <a:cubicBezTo>
                    <a:pt x="950" y="162"/>
                    <a:pt x="942" y="153"/>
                    <a:pt x="938" y="151"/>
                  </a:cubicBezTo>
                  <a:cubicBezTo>
                    <a:pt x="934" y="149"/>
                    <a:pt x="922" y="156"/>
                    <a:pt x="922" y="156"/>
                  </a:cubicBezTo>
                  <a:cubicBezTo>
                    <a:pt x="922" y="156"/>
                    <a:pt x="898" y="156"/>
                    <a:pt x="895" y="153"/>
                  </a:cubicBezTo>
                  <a:cubicBezTo>
                    <a:pt x="892" y="150"/>
                    <a:pt x="885" y="147"/>
                    <a:pt x="885" y="147"/>
                  </a:cubicBezTo>
                  <a:cubicBezTo>
                    <a:pt x="885" y="147"/>
                    <a:pt x="875" y="150"/>
                    <a:pt x="855" y="148"/>
                  </a:cubicBezTo>
                  <a:cubicBezTo>
                    <a:pt x="835" y="146"/>
                    <a:pt x="840" y="135"/>
                    <a:pt x="840" y="135"/>
                  </a:cubicBezTo>
                  <a:cubicBezTo>
                    <a:pt x="840" y="135"/>
                    <a:pt x="829" y="132"/>
                    <a:pt x="826" y="133"/>
                  </a:cubicBezTo>
                  <a:cubicBezTo>
                    <a:pt x="823" y="134"/>
                    <a:pt x="815" y="115"/>
                    <a:pt x="812" y="114"/>
                  </a:cubicBezTo>
                  <a:cubicBezTo>
                    <a:pt x="809" y="113"/>
                    <a:pt x="790" y="113"/>
                    <a:pt x="778" y="113"/>
                  </a:cubicBezTo>
                  <a:cubicBezTo>
                    <a:pt x="766" y="113"/>
                    <a:pt x="755" y="94"/>
                    <a:pt x="755" y="94"/>
                  </a:cubicBezTo>
                  <a:cubicBezTo>
                    <a:pt x="728" y="97"/>
                    <a:pt x="728" y="97"/>
                    <a:pt x="728" y="97"/>
                  </a:cubicBezTo>
                  <a:cubicBezTo>
                    <a:pt x="728" y="97"/>
                    <a:pt x="726" y="89"/>
                    <a:pt x="697" y="87"/>
                  </a:cubicBezTo>
                  <a:cubicBezTo>
                    <a:pt x="668" y="85"/>
                    <a:pt x="650" y="103"/>
                    <a:pt x="637" y="104"/>
                  </a:cubicBezTo>
                  <a:cubicBezTo>
                    <a:pt x="624" y="105"/>
                    <a:pt x="607" y="95"/>
                    <a:pt x="607" y="95"/>
                  </a:cubicBezTo>
                  <a:cubicBezTo>
                    <a:pt x="607" y="95"/>
                    <a:pt x="600" y="96"/>
                    <a:pt x="590" y="96"/>
                  </a:cubicBezTo>
                  <a:cubicBezTo>
                    <a:pt x="580" y="96"/>
                    <a:pt x="578" y="80"/>
                    <a:pt x="578" y="80"/>
                  </a:cubicBezTo>
                  <a:cubicBezTo>
                    <a:pt x="563" y="83"/>
                    <a:pt x="563" y="83"/>
                    <a:pt x="563" y="83"/>
                  </a:cubicBezTo>
                  <a:cubicBezTo>
                    <a:pt x="563" y="83"/>
                    <a:pt x="541" y="49"/>
                    <a:pt x="532" y="38"/>
                  </a:cubicBezTo>
                  <a:cubicBezTo>
                    <a:pt x="523" y="27"/>
                    <a:pt x="511" y="40"/>
                    <a:pt x="501" y="38"/>
                  </a:cubicBezTo>
                  <a:cubicBezTo>
                    <a:pt x="491" y="36"/>
                    <a:pt x="472" y="22"/>
                    <a:pt x="472" y="22"/>
                  </a:cubicBezTo>
                  <a:cubicBezTo>
                    <a:pt x="472" y="22"/>
                    <a:pt x="452" y="23"/>
                    <a:pt x="434" y="21"/>
                  </a:cubicBezTo>
                  <a:cubicBezTo>
                    <a:pt x="416" y="19"/>
                    <a:pt x="393" y="2"/>
                    <a:pt x="393" y="2"/>
                  </a:cubicBezTo>
                  <a:cubicBezTo>
                    <a:pt x="384" y="0"/>
                    <a:pt x="384" y="0"/>
                    <a:pt x="384" y="0"/>
                  </a:cubicBezTo>
                  <a:cubicBezTo>
                    <a:pt x="384" y="0"/>
                    <a:pt x="385" y="12"/>
                    <a:pt x="380" y="18"/>
                  </a:cubicBezTo>
                  <a:cubicBezTo>
                    <a:pt x="375" y="24"/>
                    <a:pt x="371" y="22"/>
                    <a:pt x="371" y="22"/>
                  </a:cubicBezTo>
                  <a:cubicBezTo>
                    <a:pt x="373" y="33"/>
                    <a:pt x="373" y="33"/>
                    <a:pt x="373" y="33"/>
                  </a:cubicBezTo>
                  <a:cubicBezTo>
                    <a:pt x="373" y="33"/>
                    <a:pt x="362" y="31"/>
                    <a:pt x="362" y="37"/>
                  </a:cubicBezTo>
                  <a:cubicBezTo>
                    <a:pt x="362" y="43"/>
                    <a:pt x="368" y="46"/>
                    <a:pt x="368" y="46"/>
                  </a:cubicBezTo>
                  <a:cubicBezTo>
                    <a:pt x="372" y="60"/>
                    <a:pt x="372" y="60"/>
                    <a:pt x="372" y="60"/>
                  </a:cubicBezTo>
                  <a:cubicBezTo>
                    <a:pt x="388" y="84"/>
                    <a:pt x="388" y="84"/>
                    <a:pt x="388" y="84"/>
                  </a:cubicBezTo>
                  <a:cubicBezTo>
                    <a:pt x="388" y="84"/>
                    <a:pt x="403" y="84"/>
                    <a:pt x="403" y="102"/>
                  </a:cubicBezTo>
                  <a:cubicBezTo>
                    <a:pt x="403" y="120"/>
                    <a:pt x="391" y="110"/>
                    <a:pt x="391" y="110"/>
                  </a:cubicBezTo>
                  <a:cubicBezTo>
                    <a:pt x="391" y="110"/>
                    <a:pt x="393" y="117"/>
                    <a:pt x="376" y="125"/>
                  </a:cubicBezTo>
                  <a:cubicBezTo>
                    <a:pt x="359" y="133"/>
                    <a:pt x="365" y="117"/>
                    <a:pt x="365" y="117"/>
                  </a:cubicBezTo>
                  <a:cubicBezTo>
                    <a:pt x="335" y="119"/>
                    <a:pt x="335" y="119"/>
                    <a:pt x="335" y="119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4" y="111"/>
                    <a:pt x="325" y="110"/>
                    <a:pt x="314" y="111"/>
                  </a:cubicBezTo>
                  <a:cubicBezTo>
                    <a:pt x="303" y="112"/>
                    <a:pt x="301" y="118"/>
                    <a:pt x="301" y="118"/>
                  </a:cubicBezTo>
                  <a:cubicBezTo>
                    <a:pt x="299" y="113"/>
                    <a:pt x="299" y="113"/>
                    <a:pt x="299" y="113"/>
                  </a:cubicBezTo>
                  <a:cubicBezTo>
                    <a:pt x="280" y="116"/>
                    <a:pt x="280" y="116"/>
                    <a:pt x="280" y="116"/>
                  </a:cubicBezTo>
                  <a:cubicBezTo>
                    <a:pt x="278" y="107"/>
                    <a:pt x="278" y="107"/>
                    <a:pt x="278" y="107"/>
                  </a:cubicBezTo>
                  <a:cubicBezTo>
                    <a:pt x="278" y="107"/>
                    <a:pt x="256" y="109"/>
                    <a:pt x="247" y="102"/>
                  </a:cubicBezTo>
                  <a:cubicBezTo>
                    <a:pt x="238" y="95"/>
                    <a:pt x="240" y="82"/>
                    <a:pt x="233" y="82"/>
                  </a:cubicBezTo>
                  <a:cubicBezTo>
                    <a:pt x="226" y="82"/>
                    <a:pt x="182" y="86"/>
                    <a:pt x="182" y="86"/>
                  </a:cubicBezTo>
                  <a:cubicBezTo>
                    <a:pt x="177" y="75"/>
                    <a:pt x="177" y="75"/>
                    <a:pt x="177" y="75"/>
                  </a:cubicBezTo>
                  <a:cubicBezTo>
                    <a:pt x="177" y="75"/>
                    <a:pt x="161" y="75"/>
                    <a:pt x="158" y="75"/>
                  </a:cubicBezTo>
                  <a:cubicBezTo>
                    <a:pt x="155" y="75"/>
                    <a:pt x="155" y="70"/>
                    <a:pt x="155" y="70"/>
                  </a:cubicBezTo>
                  <a:cubicBezTo>
                    <a:pt x="143" y="77"/>
                    <a:pt x="143" y="77"/>
                    <a:pt x="143" y="77"/>
                  </a:cubicBezTo>
                  <a:cubicBezTo>
                    <a:pt x="143" y="77"/>
                    <a:pt x="134" y="71"/>
                    <a:pt x="127" y="71"/>
                  </a:cubicBezTo>
                  <a:cubicBezTo>
                    <a:pt x="120" y="71"/>
                    <a:pt x="119" y="88"/>
                    <a:pt x="119" y="88"/>
                  </a:cubicBezTo>
                  <a:cubicBezTo>
                    <a:pt x="103" y="88"/>
                    <a:pt x="103" y="88"/>
                    <a:pt x="103" y="88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3" y="100"/>
                    <a:pt x="83" y="100"/>
                    <a:pt x="83" y="100"/>
                  </a:cubicBezTo>
                  <a:cubicBezTo>
                    <a:pt x="83" y="100"/>
                    <a:pt x="72" y="108"/>
                    <a:pt x="63" y="118"/>
                  </a:cubicBezTo>
                  <a:cubicBezTo>
                    <a:pt x="54" y="128"/>
                    <a:pt x="63" y="130"/>
                    <a:pt x="63" y="130"/>
                  </a:cubicBezTo>
                  <a:cubicBezTo>
                    <a:pt x="47" y="130"/>
                    <a:pt x="47" y="130"/>
                    <a:pt x="47" y="130"/>
                  </a:cubicBezTo>
                  <a:cubicBezTo>
                    <a:pt x="49" y="139"/>
                    <a:pt x="49" y="139"/>
                    <a:pt x="49" y="139"/>
                  </a:cubicBezTo>
                  <a:cubicBezTo>
                    <a:pt x="8" y="139"/>
                    <a:pt x="8" y="139"/>
                    <a:pt x="8" y="139"/>
                  </a:cubicBezTo>
                  <a:cubicBezTo>
                    <a:pt x="9" y="151"/>
                    <a:pt x="9" y="151"/>
                    <a:pt x="9" y="151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10" y="162"/>
                    <a:pt x="0" y="174"/>
                    <a:pt x="0" y="174"/>
                  </a:cubicBezTo>
                  <a:cubicBezTo>
                    <a:pt x="18" y="174"/>
                    <a:pt x="18" y="174"/>
                    <a:pt x="18" y="174"/>
                  </a:cubicBezTo>
                  <a:cubicBezTo>
                    <a:pt x="18" y="174"/>
                    <a:pt x="14" y="182"/>
                    <a:pt x="19" y="187"/>
                  </a:cubicBezTo>
                  <a:cubicBezTo>
                    <a:pt x="24" y="192"/>
                    <a:pt x="48" y="195"/>
                    <a:pt x="48" y="195"/>
                  </a:cubicBezTo>
                  <a:cubicBezTo>
                    <a:pt x="54" y="203"/>
                    <a:pt x="54" y="203"/>
                    <a:pt x="54" y="203"/>
                  </a:cubicBezTo>
                  <a:cubicBezTo>
                    <a:pt x="71" y="219"/>
                    <a:pt x="71" y="219"/>
                    <a:pt x="71" y="219"/>
                  </a:cubicBezTo>
                  <a:cubicBezTo>
                    <a:pt x="92" y="213"/>
                    <a:pt x="92" y="213"/>
                    <a:pt x="92" y="213"/>
                  </a:cubicBezTo>
                  <a:cubicBezTo>
                    <a:pt x="107" y="221"/>
                    <a:pt x="107" y="221"/>
                    <a:pt x="107" y="221"/>
                  </a:cubicBezTo>
                  <a:cubicBezTo>
                    <a:pt x="107" y="221"/>
                    <a:pt x="113" y="223"/>
                    <a:pt x="127" y="227"/>
                  </a:cubicBezTo>
                  <a:cubicBezTo>
                    <a:pt x="141" y="231"/>
                    <a:pt x="148" y="245"/>
                    <a:pt x="153" y="252"/>
                  </a:cubicBezTo>
                  <a:cubicBezTo>
                    <a:pt x="158" y="259"/>
                    <a:pt x="167" y="268"/>
                    <a:pt x="179" y="276"/>
                  </a:cubicBezTo>
                  <a:cubicBezTo>
                    <a:pt x="191" y="284"/>
                    <a:pt x="188" y="300"/>
                    <a:pt x="188" y="300"/>
                  </a:cubicBezTo>
                  <a:cubicBezTo>
                    <a:pt x="188" y="300"/>
                    <a:pt x="198" y="308"/>
                    <a:pt x="200" y="315"/>
                  </a:cubicBezTo>
                  <a:cubicBezTo>
                    <a:pt x="202" y="322"/>
                    <a:pt x="192" y="326"/>
                    <a:pt x="192" y="326"/>
                  </a:cubicBezTo>
                  <a:cubicBezTo>
                    <a:pt x="192" y="326"/>
                    <a:pt x="193" y="336"/>
                    <a:pt x="198" y="349"/>
                  </a:cubicBezTo>
                  <a:cubicBezTo>
                    <a:pt x="203" y="362"/>
                    <a:pt x="224" y="364"/>
                    <a:pt x="235" y="368"/>
                  </a:cubicBezTo>
                  <a:cubicBezTo>
                    <a:pt x="246" y="372"/>
                    <a:pt x="260" y="375"/>
                    <a:pt x="274" y="374"/>
                  </a:cubicBezTo>
                  <a:cubicBezTo>
                    <a:pt x="288" y="373"/>
                    <a:pt x="322" y="375"/>
                    <a:pt x="322" y="375"/>
                  </a:cubicBezTo>
                  <a:cubicBezTo>
                    <a:pt x="322" y="375"/>
                    <a:pt x="333" y="380"/>
                    <a:pt x="342" y="382"/>
                  </a:cubicBezTo>
                  <a:cubicBezTo>
                    <a:pt x="351" y="384"/>
                    <a:pt x="358" y="396"/>
                    <a:pt x="361" y="397"/>
                  </a:cubicBezTo>
                  <a:cubicBezTo>
                    <a:pt x="364" y="398"/>
                    <a:pt x="401" y="410"/>
                    <a:pt x="401" y="410"/>
                  </a:cubicBezTo>
                  <a:cubicBezTo>
                    <a:pt x="423" y="413"/>
                    <a:pt x="423" y="413"/>
                    <a:pt x="423" y="413"/>
                  </a:cubicBezTo>
                  <a:cubicBezTo>
                    <a:pt x="430" y="429"/>
                    <a:pt x="430" y="429"/>
                    <a:pt x="430" y="429"/>
                  </a:cubicBezTo>
                  <a:cubicBezTo>
                    <a:pt x="430" y="429"/>
                    <a:pt x="439" y="434"/>
                    <a:pt x="443" y="438"/>
                  </a:cubicBezTo>
                  <a:cubicBezTo>
                    <a:pt x="447" y="442"/>
                    <a:pt x="461" y="461"/>
                    <a:pt x="465" y="467"/>
                  </a:cubicBezTo>
                  <a:cubicBezTo>
                    <a:pt x="469" y="473"/>
                    <a:pt x="502" y="498"/>
                    <a:pt x="502" y="498"/>
                  </a:cubicBezTo>
                  <a:cubicBezTo>
                    <a:pt x="540" y="494"/>
                    <a:pt x="540" y="494"/>
                    <a:pt x="540" y="494"/>
                  </a:cubicBezTo>
                  <a:cubicBezTo>
                    <a:pt x="579" y="499"/>
                    <a:pt x="579" y="499"/>
                    <a:pt x="579" y="499"/>
                  </a:cubicBezTo>
                  <a:cubicBezTo>
                    <a:pt x="610" y="499"/>
                    <a:pt x="610" y="499"/>
                    <a:pt x="610" y="499"/>
                  </a:cubicBezTo>
                  <a:cubicBezTo>
                    <a:pt x="635" y="504"/>
                    <a:pt x="635" y="504"/>
                    <a:pt x="635" y="504"/>
                  </a:cubicBezTo>
                  <a:cubicBezTo>
                    <a:pt x="635" y="504"/>
                    <a:pt x="649" y="493"/>
                    <a:pt x="654" y="493"/>
                  </a:cubicBezTo>
                  <a:cubicBezTo>
                    <a:pt x="659" y="493"/>
                    <a:pt x="679" y="501"/>
                    <a:pt x="679" y="501"/>
                  </a:cubicBezTo>
                  <a:cubicBezTo>
                    <a:pt x="679" y="501"/>
                    <a:pt x="718" y="501"/>
                    <a:pt x="728" y="504"/>
                  </a:cubicBezTo>
                  <a:cubicBezTo>
                    <a:pt x="738" y="507"/>
                    <a:pt x="740" y="522"/>
                    <a:pt x="755" y="527"/>
                  </a:cubicBezTo>
                  <a:cubicBezTo>
                    <a:pt x="770" y="532"/>
                    <a:pt x="781" y="530"/>
                    <a:pt x="795" y="531"/>
                  </a:cubicBezTo>
                  <a:cubicBezTo>
                    <a:pt x="809" y="532"/>
                    <a:pt x="837" y="547"/>
                    <a:pt x="837" y="547"/>
                  </a:cubicBezTo>
                  <a:cubicBezTo>
                    <a:pt x="837" y="547"/>
                    <a:pt x="858" y="538"/>
                    <a:pt x="864" y="538"/>
                  </a:cubicBezTo>
                  <a:cubicBezTo>
                    <a:pt x="870" y="538"/>
                    <a:pt x="873" y="550"/>
                    <a:pt x="873" y="550"/>
                  </a:cubicBezTo>
                  <a:cubicBezTo>
                    <a:pt x="873" y="550"/>
                    <a:pt x="893" y="558"/>
                    <a:pt x="899" y="553"/>
                  </a:cubicBezTo>
                  <a:cubicBezTo>
                    <a:pt x="905" y="548"/>
                    <a:pt x="948" y="519"/>
                    <a:pt x="962" y="513"/>
                  </a:cubicBezTo>
                  <a:cubicBezTo>
                    <a:pt x="976" y="507"/>
                    <a:pt x="1066" y="510"/>
                    <a:pt x="1066" y="510"/>
                  </a:cubicBezTo>
                  <a:cubicBezTo>
                    <a:pt x="1078" y="497"/>
                    <a:pt x="1078" y="497"/>
                    <a:pt x="1078" y="497"/>
                  </a:cubicBezTo>
                  <a:cubicBezTo>
                    <a:pt x="1078" y="497"/>
                    <a:pt x="1095" y="499"/>
                    <a:pt x="1103" y="492"/>
                  </a:cubicBezTo>
                  <a:cubicBezTo>
                    <a:pt x="1111" y="485"/>
                    <a:pt x="1109" y="470"/>
                    <a:pt x="1112" y="463"/>
                  </a:cubicBezTo>
                  <a:cubicBezTo>
                    <a:pt x="1115" y="456"/>
                    <a:pt x="1125" y="459"/>
                    <a:pt x="1129" y="459"/>
                  </a:cubicBezTo>
                  <a:cubicBezTo>
                    <a:pt x="1133" y="459"/>
                    <a:pt x="1143" y="444"/>
                    <a:pt x="1144" y="439"/>
                  </a:cubicBezTo>
                  <a:cubicBezTo>
                    <a:pt x="1145" y="434"/>
                    <a:pt x="1114" y="411"/>
                    <a:pt x="1108" y="407"/>
                  </a:cubicBezTo>
                  <a:cubicBezTo>
                    <a:pt x="1102" y="403"/>
                    <a:pt x="1100" y="383"/>
                    <a:pt x="1106" y="373"/>
                  </a:cubicBezTo>
                  <a:cubicBezTo>
                    <a:pt x="1112" y="363"/>
                    <a:pt x="1130" y="369"/>
                    <a:pt x="1134" y="370"/>
                  </a:cubicBezTo>
                  <a:cubicBezTo>
                    <a:pt x="1138" y="371"/>
                    <a:pt x="1160" y="388"/>
                    <a:pt x="1160" y="388"/>
                  </a:cubicBezTo>
                  <a:cubicBezTo>
                    <a:pt x="1160" y="388"/>
                    <a:pt x="1187" y="387"/>
                    <a:pt x="1194" y="385"/>
                  </a:cubicBezTo>
                  <a:cubicBezTo>
                    <a:pt x="1201" y="383"/>
                    <a:pt x="1212" y="369"/>
                    <a:pt x="1212" y="369"/>
                  </a:cubicBezTo>
                  <a:cubicBezTo>
                    <a:pt x="1212" y="369"/>
                    <a:pt x="1210" y="353"/>
                    <a:pt x="1213" y="350"/>
                  </a:cubicBezTo>
                  <a:cubicBezTo>
                    <a:pt x="1216" y="347"/>
                    <a:pt x="1262" y="350"/>
                    <a:pt x="1262" y="350"/>
                  </a:cubicBezTo>
                  <a:cubicBezTo>
                    <a:pt x="1278" y="336"/>
                    <a:pt x="1278" y="336"/>
                    <a:pt x="1278" y="336"/>
                  </a:cubicBezTo>
                  <a:cubicBezTo>
                    <a:pt x="1278" y="336"/>
                    <a:pt x="1263" y="325"/>
                    <a:pt x="1270" y="314"/>
                  </a:cubicBezTo>
                  <a:cubicBezTo>
                    <a:pt x="1277" y="303"/>
                    <a:pt x="1302" y="302"/>
                    <a:pt x="1302" y="302"/>
                  </a:cubicBezTo>
                  <a:cubicBezTo>
                    <a:pt x="1302" y="291"/>
                    <a:pt x="1302" y="291"/>
                    <a:pt x="1302" y="291"/>
                  </a:cubicBezTo>
                  <a:cubicBezTo>
                    <a:pt x="1320" y="294"/>
                    <a:pt x="1320" y="294"/>
                    <a:pt x="1320" y="294"/>
                  </a:cubicBezTo>
                  <a:cubicBezTo>
                    <a:pt x="1326" y="291"/>
                    <a:pt x="1326" y="291"/>
                    <a:pt x="1326" y="291"/>
                  </a:cubicBezTo>
                  <a:cubicBezTo>
                    <a:pt x="1335" y="282"/>
                    <a:pt x="1335" y="282"/>
                    <a:pt x="1335" y="282"/>
                  </a:cubicBezTo>
                  <a:cubicBezTo>
                    <a:pt x="1335" y="282"/>
                    <a:pt x="1346" y="279"/>
                    <a:pt x="1355" y="279"/>
                  </a:cubicBezTo>
                  <a:cubicBezTo>
                    <a:pt x="1364" y="279"/>
                    <a:pt x="1372" y="288"/>
                    <a:pt x="1372" y="288"/>
                  </a:cubicBezTo>
                  <a:cubicBezTo>
                    <a:pt x="1372" y="288"/>
                    <a:pt x="1390" y="287"/>
                    <a:pt x="1398" y="286"/>
                  </a:cubicBezTo>
                  <a:cubicBezTo>
                    <a:pt x="1406" y="285"/>
                    <a:pt x="1403" y="279"/>
                    <a:pt x="1394" y="273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68" name="Freeform 84"/>
            <p:cNvSpPr>
              <a:spLocks/>
            </p:cNvSpPr>
            <p:nvPr/>
          </p:nvSpPr>
          <p:spPr bwMode="auto">
            <a:xfrm>
              <a:off x="3341" y="1866"/>
              <a:ext cx="117" cy="54"/>
            </a:xfrm>
            <a:custGeom>
              <a:avLst/>
              <a:gdLst>
                <a:gd name="T0" fmla="*/ 0 w 308"/>
                <a:gd name="T1" fmla="*/ 0 h 144"/>
                <a:gd name="T2" fmla="*/ 0 w 308"/>
                <a:gd name="T3" fmla="*/ 0 h 144"/>
                <a:gd name="T4" fmla="*/ 0 w 308"/>
                <a:gd name="T5" fmla="*/ 0 h 144"/>
                <a:gd name="T6" fmla="*/ 0 w 308"/>
                <a:gd name="T7" fmla="*/ 0 h 144"/>
                <a:gd name="T8" fmla="*/ 0 w 308"/>
                <a:gd name="T9" fmla="*/ 0 h 144"/>
                <a:gd name="T10" fmla="*/ 0 w 308"/>
                <a:gd name="T11" fmla="*/ 0 h 144"/>
                <a:gd name="T12" fmla="*/ 0 w 308"/>
                <a:gd name="T13" fmla="*/ 0 h 144"/>
                <a:gd name="T14" fmla="*/ 0 w 308"/>
                <a:gd name="T15" fmla="*/ 0 h 144"/>
                <a:gd name="T16" fmla="*/ 0 w 308"/>
                <a:gd name="T17" fmla="*/ 0 h 144"/>
                <a:gd name="T18" fmla="*/ 0 w 308"/>
                <a:gd name="T19" fmla="*/ 0 h 144"/>
                <a:gd name="T20" fmla="*/ 0 w 308"/>
                <a:gd name="T21" fmla="*/ 0 h 144"/>
                <a:gd name="T22" fmla="*/ 0 w 308"/>
                <a:gd name="T23" fmla="*/ 0 h 144"/>
                <a:gd name="T24" fmla="*/ 0 w 308"/>
                <a:gd name="T25" fmla="*/ 0 h 144"/>
                <a:gd name="T26" fmla="*/ 0 w 308"/>
                <a:gd name="T27" fmla="*/ 0 h 144"/>
                <a:gd name="T28" fmla="*/ 0 w 308"/>
                <a:gd name="T29" fmla="*/ 0 h 144"/>
                <a:gd name="T30" fmla="*/ 0 w 308"/>
                <a:gd name="T31" fmla="*/ 0 h 144"/>
                <a:gd name="T32" fmla="*/ 0 w 308"/>
                <a:gd name="T33" fmla="*/ 0 h 144"/>
                <a:gd name="T34" fmla="*/ 0 w 308"/>
                <a:gd name="T35" fmla="*/ 0 h 144"/>
                <a:gd name="T36" fmla="*/ 0 w 308"/>
                <a:gd name="T37" fmla="*/ 0 h 144"/>
                <a:gd name="T38" fmla="*/ 0 w 308"/>
                <a:gd name="T39" fmla="*/ 0 h 144"/>
                <a:gd name="T40" fmla="*/ 0 w 308"/>
                <a:gd name="T41" fmla="*/ 0 h 144"/>
                <a:gd name="T42" fmla="*/ 0 w 308"/>
                <a:gd name="T43" fmla="*/ 0 h 144"/>
                <a:gd name="T44" fmla="*/ 0 w 308"/>
                <a:gd name="T45" fmla="*/ 0 h 144"/>
                <a:gd name="T46" fmla="*/ 0 w 308"/>
                <a:gd name="T47" fmla="*/ 0 h 144"/>
                <a:gd name="T48" fmla="*/ 0 w 308"/>
                <a:gd name="T49" fmla="*/ 0 h 144"/>
                <a:gd name="T50" fmla="*/ 0 w 308"/>
                <a:gd name="T51" fmla="*/ 0 h 144"/>
                <a:gd name="T52" fmla="*/ 0 w 308"/>
                <a:gd name="T53" fmla="*/ 0 h 144"/>
                <a:gd name="T54" fmla="*/ 0 w 308"/>
                <a:gd name="T55" fmla="*/ 0 h 144"/>
                <a:gd name="T56" fmla="*/ 0 w 308"/>
                <a:gd name="T57" fmla="*/ 0 h 144"/>
                <a:gd name="T58" fmla="*/ 0 w 308"/>
                <a:gd name="T59" fmla="*/ 0 h 144"/>
                <a:gd name="T60" fmla="*/ 0 w 308"/>
                <a:gd name="T61" fmla="*/ 0 h 144"/>
                <a:gd name="T62" fmla="*/ 0 w 308"/>
                <a:gd name="T63" fmla="*/ 0 h 144"/>
                <a:gd name="T64" fmla="*/ 0 w 308"/>
                <a:gd name="T65" fmla="*/ 0 h 144"/>
                <a:gd name="T66" fmla="*/ 0 w 308"/>
                <a:gd name="T67" fmla="*/ 0 h 144"/>
                <a:gd name="T68" fmla="*/ 0 w 308"/>
                <a:gd name="T69" fmla="*/ 0 h 144"/>
                <a:gd name="T70" fmla="*/ 0 w 308"/>
                <a:gd name="T71" fmla="*/ 0 h 144"/>
                <a:gd name="T72" fmla="*/ 0 w 308"/>
                <a:gd name="T73" fmla="*/ 0 h 14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08"/>
                <a:gd name="T112" fmla="*/ 0 h 144"/>
                <a:gd name="T113" fmla="*/ 308 w 308"/>
                <a:gd name="T114" fmla="*/ 144 h 14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08" h="144">
                  <a:moveTo>
                    <a:pt x="4" y="12"/>
                  </a:moveTo>
                  <a:cubicBezTo>
                    <a:pt x="4" y="12"/>
                    <a:pt x="44" y="34"/>
                    <a:pt x="52" y="37"/>
                  </a:cubicBezTo>
                  <a:cubicBezTo>
                    <a:pt x="60" y="40"/>
                    <a:pt x="75" y="54"/>
                    <a:pt x="75" y="54"/>
                  </a:cubicBezTo>
                  <a:cubicBezTo>
                    <a:pt x="75" y="54"/>
                    <a:pt x="79" y="82"/>
                    <a:pt x="79" y="85"/>
                  </a:cubicBezTo>
                  <a:cubicBezTo>
                    <a:pt x="79" y="88"/>
                    <a:pt x="92" y="103"/>
                    <a:pt x="92" y="103"/>
                  </a:cubicBezTo>
                  <a:cubicBezTo>
                    <a:pt x="92" y="103"/>
                    <a:pt x="90" y="105"/>
                    <a:pt x="85" y="110"/>
                  </a:cubicBezTo>
                  <a:cubicBezTo>
                    <a:pt x="111" y="115"/>
                    <a:pt x="111" y="115"/>
                    <a:pt x="111" y="115"/>
                  </a:cubicBezTo>
                  <a:cubicBezTo>
                    <a:pt x="111" y="115"/>
                    <a:pt x="117" y="105"/>
                    <a:pt x="131" y="108"/>
                  </a:cubicBezTo>
                  <a:cubicBezTo>
                    <a:pt x="145" y="111"/>
                    <a:pt x="147" y="126"/>
                    <a:pt x="147" y="126"/>
                  </a:cubicBezTo>
                  <a:cubicBezTo>
                    <a:pt x="164" y="126"/>
                    <a:pt x="164" y="126"/>
                    <a:pt x="164" y="126"/>
                  </a:cubicBezTo>
                  <a:cubicBezTo>
                    <a:pt x="164" y="126"/>
                    <a:pt x="165" y="129"/>
                    <a:pt x="166" y="134"/>
                  </a:cubicBezTo>
                  <a:cubicBezTo>
                    <a:pt x="183" y="133"/>
                    <a:pt x="183" y="133"/>
                    <a:pt x="183" y="133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221" y="130"/>
                    <a:pt x="221" y="130"/>
                    <a:pt x="221" y="130"/>
                  </a:cubicBezTo>
                  <a:cubicBezTo>
                    <a:pt x="221" y="130"/>
                    <a:pt x="224" y="120"/>
                    <a:pt x="227" y="120"/>
                  </a:cubicBezTo>
                  <a:cubicBezTo>
                    <a:pt x="228" y="120"/>
                    <a:pt x="232" y="121"/>
                    <a:pt x="235" y="123"/>
                  </a:cubicBezTo>
                  <a:cubicBezTo>
                    <a:pt x="235" y="123"/>
                    <a:pt x="235" y="123"/>
                    <a:pt x="235" y="123"/>
                  </a:cubicBezTo>
                  <a:cubicBezTo>
                    <a:pt x="236" y="119"/>
                    <a:pt x="240" y="111"/>
                    <a:pt x="250" y="112"/>
                  </a:cubicBezTo>
                  <a:cubicBezTo>
                    <a:pt x="263" y="113"/>
                    <a:pt x="261" y="120"/>
                    <a:pt x="261" y="120"/>
                  </a:cubicBezTo>
                  <a:cubicBezTo>
                    <a:pt x="275" y="130"/>
                    <a:pt x="275" y="130"/>
                    <a:pt x="275" y="130"/>
                  </a:cubicBezTo>
                  <a:cubicBezTo>
                    <a:pt x="275" y="130"/>
                    <a:pt x="286" y="127"/>
                    <a:pt x="289" y="127"/>
                  </a:cubicBezTo>
                  <a:cubicBezTo>
                    <a:pt x="292" y="127"/>
                    <a:pt x="304" y="144"/>
                    <a:pt x="306" y="134"/>
                  </a:cubicBezTo>
                  <a:cubicBezTo>
                    <a:pt x="308" y="124"/>
                    <a:pt x="287" y="113"/>
                    <a:pt x="287" y="113"/>
                  </a:cubicBezTo>
                  <a:cubicBezTo>
                    <a:pt x="287" y="113"/>
                    <a:pt x="272" y="102"/>
                    <a:pt x="278" y="97"/>
                  </a:cubicBezTo>
                  <a:cubicBezTo>
                    <a:pt x="280" y="95"/>
                    <a:pt x="283" y="94"/>
                    <a:pt x="286" y="93"/>
                  </a:cubicBezTo>
                  <a:cubicBezTo>
                    <a:pt x="279" y="86"/>
                    <a:pt x="268" y="76"/>
                    <a:pt x="251" y="75"/>
                  </a:cubicBezTo>
                  <a:cubicBezTo>
                    <a:pt x="251" y="76"/>
                    <a:pt x="256" y="58"/>
                    <a:pt x="256" y="58"/>
                  </a:cubicBezTo>
                  <a:cubicBezTo>
                    <a:pt x="236" y="55"/>
                    <a:pt x="236" y="55"/>
                    <a:pt x="236" y="55"/>
                  </a:cubicBezTo>
                  <a:cubicBezTo>
                    <a:pt x="236" y="55"/>
                    <a:pt x="226" y="40"/>
                    <a:pt x="208" y="42"/>
                  </a:cubicBezTo>
                  <a:cubicBezTo>
                    <a:pt x="190" y="44"/>
                    <a:pt x="198" y="53"/>
                    <a:pt x="179" y="53"/>
                  </a:cubicBezTo>
                  <a:cubicBezTo>
                    <a:pt x="160" y="53"/>
                    <a:pt x="160" y="42"/>
                    <a:pt x="160" y="42"/>
                  </a:cubicBezTo>
                  <a:cubicBezTo>
                    <a:pt x="128" y="22"/>
                    <a:pt x="128" y="22"/>
                    <a:pt x="128" y="22"/>
                  </a:cubicBezTo>
                  <a:cubicBezTo>
                    <a:pt x="128" y="22"/>
                    <a:pt x="108" y="17"/>
                    <a:pt x="95" y="18"/>
                  </a:cubicBezTo>
                  <a:cubicBezTo>
                    <a:pt x="82" y="19"/>
                    <a:pt x="70" y="17"/>
                    <a:pt x="54" y="10"/>
                  </a:cubicBezTo>
                  <a:cubicBezTo>
                    <a:pt x="38" y="3"/>
                    <a:pt x="13" y="0"/>
                    <a:pt x="13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3" y="12"/>
                    <a:pt x="4" y="12"/>
                    <a:pt x="4" y="12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69" name="Freeform 85"/>
            <p:cNvSpPr>
              <a:spLocks noEditPoints="1"/>
            </p:cNvSpPr>
            <p:nvPr/>
          </p:nvSpPr>
          <p:spPr bwMode="auto">
            <a:xfrm>
              <a:off x="3431" y="1900"/>
              <a:ext cx="91" cy="73"/>
            </a:xfrm>
            <a:custGeom>
              <a:avLst/>
              <a:gdLst>
                <a:gd name="T0" fmla="*/ 0 w 240"/>
                <a:gd name="T1" fmla="*/ 0 h 194"/>
                <a:gd name="T2" fmla="*/ 0 w 240"/>
                <a:gd name="T3" fmla="*/ 0 h 194"/>
                <a:gd name="T4" fmla="*/ 0 w 240"/>
                <a:gd name="T5" fmla="*/ 0 h 194"/>
                <a:gd name="T6" fmla="*/ 0 w 240"/>
                <a:gd name="T7" fmla="*/ 0 h 194"/>
                <a:gd name="T8" fmla="*/ 0 w 240"/>
                <a:gd name="T9" fmla="*/ 0 h 194"/>
                <a:gd name="T10" fmla="*/ 0 w 240"/>
                <a:gd name="T11" fmla="*/ 0 h 194"/>
                <a:gd name="T12" fmla="*/ 0 w 240"/>
                <a:gd name="T13" fmla="*/ 0 h 194"/>
                <a:gd name="T14" fmla="*/ 0 w 240"/>
                <a:gd name="T15" fmla="*/ 0 h 194"/>
                <a:gd name="T16" fmla="*/ 0 w 240"/>
                <a:gd name="T17" fmla="*/ 0 h 194"/>
                <a:gd name="T18" fmla="*/ 0 w 240"/>
                <a:gd name="T19" fmla="*/ 0 h 194"/>
                <a:gd name="T20" fmla="*/ 0 w 240"/>
                <a:gd name="T21" fmla="*/ 0 h 194"/>
                <a:gd name="T22" fmla="*/ 0 w 240"/>
                <a:gd name="T23" fmla="*/ 0 h 194"/>
                <a:gd name="T24" fmla="*/ 0 w 240"/>
                <a:gd name="T25" fmla="*/ 0 h 194"/>
                <a:gd name="T26" fmla="*/ 0 w 240"/>
                <a:gd name="T27" fmla="*/ 0 h 194"/>
                <a:gd name="T28" fmla="*/ 0 w 240"/>
                <a:gd name="T29" fmla="*/ 0 h 194"/>
                <a:gd name="T30" fmla="*/ 0 w 240"/>
                <a:gd name="T31" fmla="*/ 0 h 194"/>
                <a:gd name="T32" fmla="*/ 0 w 240"/>
                <a:gd name="T33" fmla="*/ 0 h 194"/>
                <a:gd name="T34" fmla="*/ 0 w 240"/>
                <a:gd name="T35" fmla="*/ 0 h 194"/>
                <a:gd name="T36" fmla="*/ 0 w 240"/>
                <a:gd name="T37" fmla="*/ 0 h 194"/>
                <a:gd name="T38" fmla="*/ 0 w 240"/>
                <a:gd name="T39" fmla="*/ 0 h 194"/>
                <a:gd name="T40" fmla="*/ 0 w 240"/>
                <a:gd name="T41" fmla="*/ 0 h 194"/>
                <a:gd name="T42" fmla="*/ 0 w 240"/>
                <a:gd name="T43" fmla="*/ 0 h 194"/>
                <a:gd name="T44" fmla="*/ 0 w 240"/>
                <a:gd name="T45" fmla="*/ 0 h 194"/>
                <a:gd name="T46" fmla="*/ 0 w 240"/>
                <a:gd name="T47" fmla="*/ 0 h 194"/>
                <a:gd name="T48" fmla="*/ 0 w 240"/>
                <a:gd name="T49" fmla="*/ 0 h 194"/>
                <a:gd name="T50" fmla="*/ 0 w 240"/>
                <a:gd name="T51" fmla="*/ 0 h 194"/>
                <a:gd name="T52" fmla="*/ 0 w 240"/>
                <a:gd name="T53" fmla="*/ 0 h 194"/>
                <a:gd name="T54" fmla="*/ 0 w 240"/>
                <a:gd name="T55" fmla="*/ 0 h 194"/>
                <a:gd name="T56" fmla="*/ 0 w 240"/>
                <a:gd name="T57" fmla="*/ 0 h 194"/>
                <a:gd name="T58" fmla="*/ 0 w 240"/>
                <a:gd name="T59" fmla="*/ 0 h 194"/>
                <a:gd name="T60" fmla="*/ 0 w 240"/>
                <a:gd name="T61" fmla="*/ 0 h 194"/>
                <a:gd name="T62" fmla="*/ 0 w 240"/>
                <a:gd name="T63" fmla="*/ 0 h 194"/>
                <a:gd name="T64" fmla="*/ 0 w 240"/>
                <a:gd name="T65" fmla="*/ 0 h 194"/>
                <a:gd name="T66" fmla="*/ 0 w 240"/>
                <a:gd name="T67" fmla="*/ 0 h 194"/>
                <a:gd name="T68" fmla="*/ 0 w 240"/>
                <a:gd name="T69" fmla="*/ 0 h 194"/>
                <a:gd name="T70" fmla="*/ 0 w 240"/>
                <a:gd name="T71" fmla="*/ 0 h 194"/>
                <a:gd name="T72" fmla="*/ 0 w 240"/>
                <a:gd name="T73" fmla="*/ 0 h 194"/>
                <a:gd name="T74" fmla="*/ 0 w 240"/>
                <a:gd name="T75" fmla="*/ 0 h 194"/>
                <a:gd name="T76" fmla="*/ 0 w 240"/>
                <a:gd name="T77" fmla="*/ 0 h 194"/>
                <a:gd name="T78" fmla="*/ 0 w 240"/>
                <a:gd name="T79" fmla="*/ 0 h 194"/>
                <a:gd name="T80" fmla="*/ 0 w 240"/>
                <a:gd name="T81" fmla="*/ 0 h 194"/>
                <a:gd name="T82" fmla="*/ 0 w 240"/>
                <a:gd name="T83" fmla="*/ 0 h 194"/>
                <a:gd name="T84" fmla="*/ 0 w 240"/>
                <a:gd name="T85" fmla="*/ 0 h 194"/>
                <a:gd name="T86" fmla="*/ 0 w 240"/>
                <a:gd name="T87" fmla="*/ 0 h 194"/>
                <a:gd name="T88" fmla="*/ 0 w 240"/>
                <a:gd name="T89" fmla="*/ 0 h 194"/>
                <a:gd name="T90" fmla="*/ 0 w 240"/>
                <a:gd name="T91" fmla="*/ 0 h 194"/>
                <a:gd name="T92" fmla="*/ 0 w 240"/>
                <a:gd name="T93" fmla="*/ 0 h 194"/>
                <a:gd name="T94" fmla="*/ 0 w 240"/>
                <a:gd name="T95" fmla="*/ 0 h 194"/>
                <a:gd name="T96" fmla="*/ 0 w 240"/>
                <a:gd name="T97" fmla="*/ 0 h 194"/>
                <a:gd name="T98" fmla="*/ 0 w 240"/>
                <a:gd name="T99" fmla="*/ 0 h 194"/>
                <a:gd name="T100" fmla="*/ 0 w 240"/>
                <a:gd name="T101" fmla="*/ 0 h 194"/>
                <a:gd name="T102" fmla="*/ 0 w 240"/>
                <a:gd name="T103" fmla="*/ 0 h 194"/>
                <a:gd name="T104" fmla="*/ 0 w 240"/>
                <a:gd name="T105" fmla="*/ 0 h 194"/>
                <a:gd name="T106" fmla="*/ 0 w 240"/>
                <a:gd name="T107" fmla="*/ 0 h 194"/>
                <a:gd name="T108" fmla="*/ 0 w 240"/>
                <a:gd name="T109" fmla="*/ 0 h 194"/>
                <a:gd name="T110" fmla="*/ 0 w 240"/>
                <a:gd name="T111" fmla="*/ 0 h 194"/>
                <a:gd name="T112" fmla="*/ 0 w 240"/>
                <a:gd name="T113" fmla="*/ 0 h 194"/>
                <a:gd name="T114" fmla="*/ 0 w 240"/>
                <a:gd name="T115" fmla="*/ 0 h 194"/>
                <a:gd name="T116" fmla="*/ 0 w 240"/>
                <a:gd name="T117" fmla="*/ 0 h 194"/>
                <a:gd name="T118" fmla="*/ 0 w 240"/>
                <a:gd name="T119" fmla="*/ 0 h 194"/>
                <a:gd name="T120" fmla="*/ 0 w 240"/>
                <a:gd name="T121" fmla="*/ 0 h 194"/>
                <a:gd name="T122" fmla="*/ 0 w 240"/>
                <a:gd name="T123" fmla="*/ 0 h 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40"/>
                <a:gd name="T187" fmla="*/ 0 h 194"/>
                <a:gd name="T188" fmla="*/ 240 w 240"/>
                <a:gd name="T189" fmla="*/ 194 h 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40" h="194">
                  <a:moveTo>
                    <a:pt x="42" y="125"/>
                  </a:moveTo>
                  <a:cubicBezTo>
                    <a:pt x="33" y="124"/>
                    <a:pt x="31" y="127"/>
                    <a:pt x="31" y="127"/>
                  </a:cubicBezTo>
                  <a:cubicBezTo>
                    <a:pt x="31" y="127"/>
                    <a:pt x="21" y="126"/>
                    <a:pt x="14" y="116"/>
                  </a:cubicBezTo>
                  <a:cubicBezTo>
                    <a:pt x="13" y="116"/>
                    <a:pt x="6" y="118"/>
                    <a:pt x="4" y="119"/>
                  </a:cubicBezTo>
                  <a:cubicBezTo>
                    <a:pt x="6" y="125"/>
                    <a:pt x="7" y="135"/>
                    <a:pt x="14" y="141"/>
                  </a:cubicBezTo>
                  <a:cubicBezTo>
                    <a:pt x="24" y="149"/>
                    <a:pt x="41" y="163"/>
                    <a:pt x="56" y="163"/>
                  </a:cubicBezTo>
                  <a:cubicBezTo>
                    <a:pt x="57" y="163"/>
                    <a:pt x="58" y="163"/>
                    <a:pt x="59" y="163"/>
                  </a:cubicBezTo>
                  <a:cubicBezTo>
                    <a:pt x="57" y="156"/>
                    <a:pt x="52" y="144"/>
                    <a:pt x="50" y="141"/>
                  </a:cubicBezTo>
                  <a:cubicBezTo>
                    <a:pt x="47" y="137"/>
                    <a:pt x="51" y="126"/>
                    <a:pt x="42" y="125"/>
                  </a:cubicBezTo>
                  <a:close/>
                  <a:moveTo>
                    <a:pt x="235" y="75"/>
                  </a:moveTo>
                  <a:cubicBezTo>
                    <a:pt x="231" y="67"/>
                    <a:pt x="215" y="74"/>
                    <a:pt x="205" y="74"/>
                  </a:cubicBezTo>
                  <a:cubicBezTo>
                    <a:pt x="195" y="74"/>
                    <a:pt x="193" y="56"/>
                    <a:pt x="193" y="56"/>
                  </a:cubicBezTo>
                  <a:cubicBezTo>
                    <a:pt x="176" y="38"/>
                    <a:pt x="176" y="38"/>
                    <a:pt x="176" y="38"/>
                  </a:cubicBezTo>
                  <a:cubicBezTo>
                    <a:pt x="177" y="29"/>
                    <a:pt x="177" y="29"/>
                    <a:pt x="177" y="29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2"/>
                    <a:pt x="144" y="13"/>
                    <a:pt x="143" y="20"/>
                  </a:cubicBezTo>
                  <a:cubicBezTo>
                    <a:pt x="142" y="27"/>
                    <a:pt x="126" y="24"/>
                    <a:pt x="126" y="24"/>
                  </a:cubicBezTo>
                  <a:cubicBezTo>
                    <a:pt x="126" y="24"/>
                    <a:pt x="132" y="36"/>
                    <a:pt x="116" y="38"/>
                  </a:cubicBezTo>
                  <a:cubicBezTo>
                    <a:pt x="100" y="40"/>
                    <a:pt x="91" y="18"/>
                    <a:pt x="78" y="9"/>
                  </a:cubicBezTo>
                  <a:cubicBezTo>
                    <a:pt x="65" y="0"/>
                    <a:pt x="49" y="2"/>
                    <a:pt x="43" y="7"/>
                  </a:cubicBezTo>
                  <a:cubicBezTo>
                    <a:pt x="37" y="12"/>
                    <a:pt x="52" y="23"/>
                    <a:pt x="52" y="23"/>
                  </a:cubicBezTo>
                  <a:cubicBezTo>
                    <a:pt x="52" y="23"/>
                    <a:pt x="73" y="34"/>
                    <a:pt x="71" y="44"/>
                  </a:cubicBezTo>
                  <a:cubicBezTo>
                    <a:pt x="69" y="54"/>
                    <a:pt x="57" y="37"/>
                    <a:pt x="54" y="37"/>
                  </a:cubicBezTo>
                  <a:cubicBezTo>
                    <a:pt x="51" y="37"/>
                    <a:pt x="40" y="40"/>
                    <a:pt x="40" y="4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8" y="23"/>
                    <a:pt x="15" y="22"/>
                  </a:cubicBezTo>
                  <a:cubicBezTo>
                    <a:pt x="5" y="21"/>
                    <a:pt x="1" y="29"/>
                    <a:pt x="0" y="33"/>
                  </a:cubicBezTo>
                  <a:cubicBezTo>
                    <a:pt x="3" y="35"/>
                    <a:pt x="7" y="37"/>
                    <a:pt x="7" y="37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25" y="47"/>
                    <a:pt x="25" y="54"/>
                  </a:cubicBezTo>
                  <a:cubicBezTo>
                    <a:pt x="25" y="61"/>
                    <a:pt x="19" y="69"/>
                    <a:pt x="19" y="69"/>
                  </a:cubicBezTo>
                  <a:cubicBezTo>
                    <a:pt x="19" y="69"/>
                    <a:pt x="50" y="82"/>
                    <a:pt x="49" y="91"/>
                  </a:cubicBezTo>
                  <a:cubicBezTo>
                    <a:pt x="48" y="100"/>
                    <a:pt x="28" y="100"/>
                    <a:pt x="28" y="100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56" y="122"/>
                    <a:pt x="56" y="122"/>
                    <a:pt x="56" y="122"/>
                  </a:cubicBezTo>
                  <a:cubicBezTo>
                    <a:pt x="76" y="124"/>
                    <a:pt x="76" y="124"/>
                    <a:pt x="76" y="124"/>
                  </a:cubicBezTo>
                  <a:cubicBezTo>
                    <a:pt x="74" y="134"/>
                    <a:pt x="74" y="134"/>
                    <a:pt x="74" y="134"/>
                  </a:cubicBezTo>
                  <a:cubicBezTo>
                    <a:pt x="78" y="141"/>
                    <a:pt x="78" y="141"/>
                    <a:pt x="78" y="141"/>
                  </a:cubicBezTo>
                  <a:cubicBezTo>
                    <a:pt x="78" y="141"/>
                    <a:pt x="80" y="154"/>
                    <a:pt x="81" y="162"/>
                  </a:cubicBezTo>
                  <a:cubicBezTo>
                    <a:pt x="82" y="162"/>
                    <a:pt x="82" y="162"/>
                    <a:pt x="83" y="162"/>
                  </a:cubicBezTo>
                  <a:cubicBezTo>
                    <a:pt x="86" y="161"/>
                    <a:pt x="94" y="150"/>
                    <a:pt x="97" y="146"/>
                  </a:cubicBezTo>
                  <a:cubicBezTo>
                    <a:pt x="100" y="142"/>
                    <a:pt x="136" y="115"/>
                    <a:pt x="142" y="115"/>
                  </a:cubicBezTo>
                  <a:cubicBezTo>
                    <a:pt x="148" y="115"/>
                    <a:pt x="155" y="127"/>
                    <a:pt x="157" y="133"/>
                  </a:cubicBezTo>
                  <a:cubicBezTo>
                    <a:pt x="159" y="139"/>
                    <a:pt x="150" y="139"/>
                    <a:pt x="150" y="144"/>
                  </a:cubicBezTo>
                  <a:cubicBezTo>
                    <a:pt x="150" y="149"/>
                    <a:pt x="159" y="151"/>
                    <a:pt x="159" y="157"/>
                  </a:cubicBezTo>
                  <a:cubicBezTo>
                    <a:pt x="159" y="163"/>
                    <a:pt x="149" y="159"/>
                    <a:pt x="149" y="164"/>
                  </a:cubicBezTo>
                  <a:cubicBezTo>
                    <a:pt x="149" y="169"/>
                    <a:pt x="162" y="177"/>
                    <a:pt x="168" y="180"/>
                  </a:cubicBezTo>
                  <a:cubicBezTo>
                    <a:pt x="174" y="183"/>
                    <a:pt x="177" y="189"/>
                    <a:pt x="177" y="189"/>
                  </a:cubicBezTo>
                  <a:cubicBezTo>
                    <a:pt x="187" y="191"/>
                    <a:pt x="187" y="191"/>
                    <a:pt x="187" y="191"/>
                  </a:cubicBezTo>
                  <a:cubicBezTo>
                    <a:pt x="187" y="191"/>
                    <a:pt x="187" y="192"/>
                    <a:pt x="188" y="194"/>
                  </a:cubicBezTo>
                  <a:cubicBezTo>
                    <a:pt x="190" y="187"/>
                    <a:pt x="192" y="178"/>
                    <a:pt x="191" y="174"/>
                  </a:cubicBezTo>
                  <a:cubicBezTo>
                    <a:pt x="189" y="168"/>
                    <a:pt x="179" y="165"/>
                    <a:pt x="179" y="165"/>
                  </a:cubicBezTo>
                  <a:cubicBezTo>
                    <a:pt x="190" y="161"/>
                    <a:pt x="190" y="161"/>
                    <a:pt x="190" y="161"/>
                  </a:cubicBezTo>
                  <a:cubicBezTo>
                    <a:pt x="190" y="142"/>
                    <a:pt x="190" y="142"/>
                    <a:pt x="190" y="142"/>
                  </a:cubicBezTo>
                  <a:cubicBezTo>
                    <a:pt x="190" y="142"/>
                    <a:pt x="202" y="155"/>
                    <a:pt x="208" y="147"/>
                  </a:cubicBezTo>
                  <a:cubicBezTo>
                    <a:pt x="214" y="139"/>
                    <a:pt x="198" y="129"/>
                    <a:pt x="198" y="129"/>
                  </a:cubicBezTo>
                  <a:cubicBezTo>
                    <a:pt x="201" y="116"/>
                    <a:pt x="201" y="116"/>
                    <a:pt x="201" y="116"/>
                  </a:cubicBezTo>
                  <a:cubicBezTo>
                    <a:pt x="200" y="93"/>
                    <a:pt x="200" y="93"/>
                    <a:pt x="200" y="93"/>
                  </a:cubicBezTo>
                  <a:cubicBezTo>
                    <a:pt x="210" y="95"/>
                    <a:pt x="210" y="95"/>
                    <a:pt x="210" y="95"/>
                  </a:cubicBezTo>
                  <a:cubicBezTo>
                    <a:pt x="218" y="86"/>
                    <a:pt x="218" y="86"/>
                    <a:pt x="218" y="86"/>
                  </a:cubicBezTo>
                  <a:cubicBezTo>
                    <a:pt x="240" y="88"/>
                    <a:pt x="240" y="88"/>
                    <a:pt x="240" y="88"/>
                  </a:cubicBezTo>
                  <a:cubicBezTo>
                    <a:pt x="240" y="88"/>
                    <a:pt x="239" y="83"/>
                    <a:pt x="235" y="75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70" name="Freeform 86"/>
            <p:cNvSpPr>
              <a:spLocks/>
            </p:cNvSpPr>
            <p:nvPr/>
          </p:nvSpPr>
          <p:spPr bwMode="auto">
            <a:xfrm>
              <a:off x="3044" y="1692"/>
              <a:ext cx="285" cy="158"/>
            </a:xfrm>
            <a:custGeom>
              <a:avLst/>
              <a:gdLst>
                <a:gd name="T0" fmla="*/ 0 w 750"/>
                <a:gd name="T1" fmla="*/ 0 h 415"/>
                <a:gd name="T2" fmla="*/ 0 w 750"/>
                <a:gd name="T3" fmla="*/ 0 h 415"/>
                <a:gd name="T4" fmla="*/ 0 w 750"/>
                <a:gd name="T5" fmla="*/ 0 h 415"/>
                <a:gd name="T6" fmla="*/ 0 w 750"/>
                <a:gd name="T7" fmla="*/ 0 h 415"/>
                <a:gd name="T8" fmla="*/ 0 w 750"/>
                <a:gd name="T9" fmla="*/ 0 h 415"/>
                <a:gd name="T10" fmla="*/ 0 w 750"/>
                <a:gd name="T11" fmla="*/ 0 h 415"/>
                <a:gd name="T12" fmla="*/ 0 w 750"/>
                <a:gd name="T13" fmla="*/ 0 h 415"/>
                <a:gd name="T14" fmla="*/ 0 w 750"/>
                <a:gd name="T15" fmla="*/ 0 h 415"/>
                <a:gd name="T16" fmla="*/ 0 w 750"/>
                <a:gd name="T17" fmla="*/ 0 h 415"/>
                <a:gd name="T18" fmla="*/ 0 w 750"/>
                <a:gd name="T19" fmla="*/ 0 h 415"/>
                <a:gd name="T20" fmla="*/ 0 w 750"/>
                <a:gd name="T21" fmla="*/ 0 h 415"/>
                <a:gd name="T22" fmla="*/ 0 w 750"/>
                <a:gd name="T23" fmla="*/ 0 h 415"/>
                <a:gd name="T24" fmla="*/ 0 w 750"/>
                <a:gd name="T25" fmla="*/ 0 h 415"/>
                <a:gd name="T26" fmla="*/ 0 w 750"/>
                <a:gd name="T27" fmla="*/ 0 h 415"/>
                <a:gd name="T28" fmla="*/ 0 w 750"/>
                <a:gd name="T29" fmla="*/ 0 h 415"/>
                <a:gd name="T30" fmla="*/ 0 w 750"/>
                <a:gd name="T31" fmla="*/ 0 h 415"/>
                <a:gd name="T32" fmla="*/ 0 w 750"/>
                <a:gd name="T33" fmla="*/ 0 h 415"/>
                <a:gd name="T34" fmla="*/ 0 w 750"/>
                <a:gd name="T35" fmla="*/ 0 h 415"/>
                <a:gd name="T36" fmla="*/ 0 w 750"/>
                <a:gd name="T37" fmla="*/ 0 h 415"/>
                <a:gd name="T38" fmla="*/ 0 w 750"/>
                <a:gd name="T39" fmla="*/ 0 h 415"/>
                <a:gd name="T40" fmla="*/ 0 w 750"/>
                <a:gd name="T41" fmla="*/ 0 h 415"/>
                <a:gd name="T42" fmla="*/ 0 w 750"/>
                <a:gd name="T43" fmla="*/ 0 h 415"/>
                <a:gd name="T44" fmla="*/ 0 w 750"/>
                <a:gd name="T45" fmla="*/ 0 h 415"/>
                <a:gd name="T46" fmla="*/ 0 w 750"/>
                <a:gd name="T47" fmla="*/ 0 h 415"/>
                <a:gd name="T48" fmla="*/ 0 w 750"/>
                <a:gd name="T49" fmla="*/ 0 h 415"/>
                <a:gd name="T50" fmla="*/ 0 w 750"/>
                <a:gd name="T51" fmla="*/ 0 h 415"/>
                <a:gd name="T52" fmla="*/ 0 w 750"/>
                <a:gd name="T53" fmla="*/ 0 h 415"/>
                <a:gd name="T54" fmla="*/ 0 w 750"/>
                <a:gd name="T55" fmla="*/ 0 h 415"/>
                <a:gd name="T56" fmla="*/ 0 w 750"/>
                <a:gd name="T57" fmla="*/ 0 h 415"/>
                <a:gd name="T58" fmla="*/ 0 w 750"/>
                <a:gd name="T59" fmla="*/ 0 h 415"/>
                <a:gd name="T60" fmla="*/ 0 w 750"/>
                <a:gd name="T61" fmla="*/ 0 h 415"/>
                <a:gd name="T62" fmla="*/ 0 w 750"/>
                <a:gd name="T63" fmla="*/ 0 h 415"/>
                <a:gd name="T64" fmla="*/ 0 w 750"/>
                <a:gd name="T65" fmla="*/ 0 h 415"/>
                <a:gd name="T66" fmla="*/ 0 w 750"/>
                <a:gd name="T67" fmla="*/ 0 h 415"/>
                <a:gd name="T68" fmla="*/ 0 w 750"/>
                <a:gd name="T69" fmla="*/ 0 h 415"/>
                <a:gd name="T70" fmla="*/ 0 w 750"/>
                <a:gd name="T71" fmla="*/ 0 h 415"/>
                <a:gd name="T72" fmla="*/ 0 w 750"/>
                <a:gd name="T73" fmla="*/ 0 h 415"/>
                <a:gd name="T74" fmla="*/ 0 w 750"/>
                <a:gd name="T75" fmla="*/ 0 h 415"/>
                <a:gd name="T76" fmla="*/ 0 w 750"/>
                <a:gd name="T77" fmla="*/ 0 h 415"/>
                <a:gd name="T78" fmla="*/ 0 w 750"/>
                <a:gd name="T79" fmla="*/ 0 h 415"/>
                <a:gd name="T80" fmla="*/ 0 w 750"/>
                <a:gd name="T81" fmla="*/ 0 h 415"/>
                <a:gd name="T82" fmla="*/ 0 w 750"/>
                <a:gd name="T83" fmla="*/ 0 h 415"/>
                <a:gd name="T84" fmla="*/ 0 w 750"/>
                <a:gd name="T85" fmla="*/ 0 h 415"/>
                <a:gd name="T86" fmla="*/ 0 w 750"/>
                <a:gd name="T87" fmla="*/ 0 h 415"/>
                <a:gd name="T88" fmla="*/ 0 w 750"/>
                <a:gd name="T89" fmla="*/ 0 h 415"/>
                <a:gd name="T90" fmla="*/ 0 w 750"/>
                <a:gd name="T91" fmla="*/ 0 h 415"/>
                <a:gd name="T92" fmla="*/ 0 w 750"/>
                <a:gd name="T93" fmla="*/ 0 h 415"/>
                <a:gd name="T94" fmla="*/ 0 w 750"/>
                <a:gd name="T95" fmla="*/ 0 h 415"/>
                <a:gd name="T96" fmla="*/ 0 w 750"/>
                <a:gd name="T97" fmla="*/ 0 h 415"/>
                <a:gd name="T98" fmla="*/ 0 w 750"/>
                <a:gd name="T99" fmla="*/ 0 h 415"/>
                <a:gd name="T100" fmla="*/ 0 w 750"/>
                <a:gd name="T101" fmla="*/ 0 h 41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50"/>
                <a:gd name="T154" fmla="*/ 0 h 415"/>
                <a:gd name="T155" fmla="*/ 750 w 750"/>
                <a:gd name="T156" fmla="*/ 415 h 41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50" h="415">
                  <a:moveTo>
                    <a:pt x="16" y="215"/>
                  </a:moveTo>
                  <a:cubicBezTo>
                    <a:pt x="22" y="216"/>
                    <a:pt x="38" y="223"/>
                    <a:pt x="38" y="223"/>
                  </a:cubicBezTo>
                  <a:cubicBezTo>
                    <a:pt x="38" y="223"/>
                    <a:pt x="47" y="223"/>
                    <a:pt x="51" y="223"/>
                  </a:cubicBezTo>
                  <a:cubicBezTo>
                    <a:pt x="55" y="223"/>
                    <a:pt x="57" y="230"/>
                    <a:pt x="57" y="230"/>
                  </a:cubicBezTo>
                  <a:cubicBezTo>
                    <a:pt x="73" y="227"/>
                    <a:pt x="73" y="227"/>
                    <a:pt x="73" y="227"/>
                  </a:cubicBezTo>
                  <a:cubicBezTo>
                    <a:pt x="79" y="232"/>
                    <a:pt x="79" y="232"/>
                    <a:pt x="79" y="232"/>
                  </a:cubicBezTo>
                  <a:cubicBezTo>
                    <a:pt x="79" y="232"/>
                    <a:pt x="94" y="224"/>
                    <a:pt x="100" y="225"/>
                  </a:cubicBezTo>
                  <a:cubicBezTo>
                    <a:pt x="106" y="226"/>
                    <a:pt x="112" y="245"/>
                    <a:pt x="122" y="242"/>
                  </a:cubicBezTo>
                  <a:cubicBezTo>
                    <a:pt x="132" y="239"/>
                    <a:pt x="132" y="230"/>
                    <a:pt x="132" y="230"/>
                  </a:cubicBezTo>
                  <a:cubicBezTo>
                    <a:pt x="149" y="233"/>
                    <a:pt x="149" y="233"/>
                    <a:pt x="149" y="233"/>
                  </a:cubicBezTo>
                  <a:cubicBezTo>
                    <a:pt x="153" y="226"/>
                    <a:pt x="153" y="226"/>
                    <a:pt x="153" y="226"/>
                  </a:cubicBezTo>
                  <a:cubicBezTo>
                    <a:pt x="153" y="226"/>
                    <a:pt x="156" y="227"/>
                    <a:pt x="166" y="227"/>
                  </a:cubicBezTo>
                  <a:cubicBezTo>
                    <a:pt x="176" y="227"/>
                    <a:pt x="174" y="209"/>
                    <a:pt x="191" y="212"/>
                  </a:cubicBezTo>
                  <a:cubicBezTo>
                    <a:pt x="193" y="204"/>
                    <a:pt x="193" y="204"/>
                    <a:pt x="193" y="204"/>
                  </a:cubicBezTo>
                  <a:cubicBezTo>
                    <a:pt x="193" y="204"/>
                    <a:pt x="203" y="210"/>
                    <a:pt x="209" y="209"/>
                  </a:cubicBezTo>
                  <a:cubicBezTo>
                    <a:pt x="215" y="208"/>
                    <a:pt x="215" y="203"/>
                    <a:pt x="224" y="202"/>
                  </a:cubicBezTo>
                  <a:cubicBezTo>
                    <a:pt x="233" y="201"/>
                    <a:pt x="239" y="210"/>
                    <a:pt x="239" y="210"/>
                  </a:cubicBezTo>
                  <a:cubicBezTo>
                    <a:pt x="243" y="208"/>
                    <a:pt x="243" y="208"/>
                    <a:pt x="243" y="208"/>
                  </a:cubicBezTo>
                  <a:cubicBezTo>
                    <a:pt x="243" y="208"/>
                    <a:pt x="239" y="213"/>
                    <a:pt x="248" y="213"/>
                  </a:cubicBezTo>
                  <a:cubicBezTo>
                    <a:pt x="257" y="213"/>
                    <a:pt x="264" y="210"/>
                    <a:pt x="269" y="214"/>
                  </a:cubicBezTo>
                  <a:cubicBezTo>
                    <a:pt x="274" y="218"/>
                    <a:pt x="274" y="225"/>
                    <a:pt x="274" y="225"/>
                  </a:cubicBezTo>
                  <a:cubicBezTo>
                    <a:pt x="274" y="225"/>
                    <a:pt x="283" y="219"/>
                    <a:pt x="294" y="227"/>
                  </a:cubicBezTo>
                  <a:cubicBezTo>
                    <a:pt x="305" y="235"/>
                    <a:pt x="296" y="244"/>
                    <a:pt x="296" y="244"/>
                  </a:cubicBezTo>
                  <a:cubicBezTo>
                    <a:pt x="296" y="244"/>
                    <a:pt x="293" y="259"/>
                    <a:pt x="296" y="259"/>
                  </a:cubicBezTo>
                  <a:cubicBezTo>
                    <a:pt x="299" y="259"/>
                    <a:pt x="308" y="257"/>
                    <a:pt x="308" y="257"/>
                  </a:cubicBezTo>
                  <a:cubicBezTo>
                    <a:pt x="313" y="262"/>
                    <a:pt x="313" y="262"/>
                    <a:pt x="313" y="262"/>
                  </a:cubicBezTo>
                  <a:cubicBezTo>
                    <a:pt x="313" y="262"/>
                    <a:pt x="304" y="276"/>
                    <a:pt x="311" y="278"/>
                  </a:cubicBezTo>
                  <a:cubicBezTo>
                    <a:pt x="318" y="280"/>
                    <a:pt x="331" y="277"/>
                    <a:pt x="332" y="284"/>
                  </a:cubicBezTo>
                  <a:cubicBezTo>
                    <a:pt x="333" y="291"/>
                    <a:pt x="334" y="305"/>
                    <a:pt x="334" y="305"/>
                  </a:cubicBezTo>
                  <a:cubicBezTo>
                    <a:pt x="334" y="305"/>
                    <a:pt x="324" y="309"/>
                    <a:pt x="317" y="310"/>
                  </a:cubicBezTo>
                  <a:cubicBezTo>
                    <a:pt x="310" y="311"/>
                    <a:pt x="304" y="303"/>
                    <a:pt x="304" y="303"/>
                  </a:cubicBezTo>
                  <a:cubicBezTo>
                    <a:pt x="304" y="303"/>
                    <a:pt x="287" y="303"/>
                    <a:pt x="288" y="307"/>
                  </a:cubicBezTo>
                  <a:cubicBezTo>
                    <a:pt x="289" y="311"/>
                    <a:pt x="304" y="321"/>
                    <a:pt x="304" y="321"/>
                  </a:cubicBezTo>
                  <a:cubicBezTo>
                    <a:pt x="295" y="330"/>
                    <a:pt x="295" y="330"/>
                    <a:pt x="295" y="330"/>
                  </a:cubicBezTo>
                  <a:cubicBezTo>
                    <a:pt x="295" y="330"/>
                    <a:pt x="279" y="338"/>
                    <a:pt x="279" y="342"/>
                  </a:cubicBezTo>
                  <a:cubicBezTo>
                    <a:pt x="279" y="346"/>
                    <a:pt x="283" y="356"/>
                    <a:pt x="283" y="356"/>
                  </a:cubicBezTo>
                  <a:cubicBezTo>
                    <a:pt x="266" y="359"/>
                    <a:pt x="266" y="359"/>
                    <a:pt x="266" y="359"/>
                  </a:cubicBezTo>
                  <a:cubicBezTo>
                    <a:pt x="263" y="353"/>
                    <a:pt x="264" y="348"/>
                    <a:pt x="264" y="345"/>
                  </a:cubicBezTo>
                  <a:cubicBezTo>
                    <a:pt x="263" y="350"/>
                    <a:pt x="263" y="367"/>
                    <a:pt x="281" y="370"/>
                  </a:cubicBezTo>
                  <a:cubicBezTo>
                    <a:pt x="302" y="373"/>
                    <a:pt x="298" y="359"/>
                    <a:pt x="310" y="360"/>
                  </a:cubicBezTo>
                  <a:cubicBezTo>
                    <a:pt x="319" y="361"/>
                    <a:pt x="323" y="357"/>
                    <a:pt x="324" y="355"/>
                  </a:cubicBezTo>
                  <a:cubicBezTo>
                    <a:pt x="324" y="353"/>
                    <a:pt x="323" y="353"/>
                    <a:pt x="323" y="353"/>
                  </a:cubicBezTo>
                  <a:cubicBezTo>
                    <a:pt x="323" y="353"/>
                    <a:pt x="340" y="346"/>
                    <a:pt x="348" y="340"/>
                  </a:cubicBezTo>
                  <a:cubicBezTo>
                    <a:pt x="357" y="334"/>
                    <a:pt x="370" y="310"/>
                    <a:pt x="370" y="310"/>
                  </a:cubicBezTo>
                  <a:cubicBezTo>
                    <a:pt x="391" y="301"/>
                    <a:pt x="391" y="301"/>
                    <a:pt x="391" y="301"/>
                  </a:cubicBezTo>
                  <a:cubicBezTo>
                    <a:pt x="400" y="290"/>
                    <a:pt x="400" y="290"/>
                    <a:pt x="400" y="290"/>
                  </a:cubicBezTo>
                  <a:cubicBezTo>
                    <a:pt x="411" y="295"/>
                    <a:pt x="411" y="295"/>
                    <a:pt x="411" y="295"/>
                  </a:cubicBezTo>
                  <a:cubicBezTo>
                    <a:pt x="411" y="295"/>
                    <a:pt x="433" y="299"/>
                    <a:pt x="436" y="299"/>
                  </a:cubicBezTo>
                  <a:cubicBezTo>
                    <a:pt x="439" y="299"/>
                    <a:pt x="447" y="293"/>
                    <a:pt x="447" y="293"/>
                  </a:cubicBezTo>
                  <a:cubicBezTo>
                    <a:pt x="435" y="309"/>
                    <a:pt x="435" y="309"/>
                    <a:pt x="435" y="309"/>
                  </a:cubicBezTo>
                  <a:cubicBezTo>
                    <a:pt x="435" y="309"/>
                    <a:pt x="417" y="303"/>
                    <a:pt x="420" y="310"/>
                  </a:cubicBezTo>
                  <a:cubicBezTo>
                    <a:pt x="423" y="317"/>
                    <a:pt x="443" y="322"/>
                    <a:pt x="443" y="322"/>
                  </a:cubicBezTo>
                  <a:cubicBezTo>
                    <a:pt x="475" y="323"/>
                    <a:pt x="475" y="323"/>
                    <a:pt x="475" y="323"/>
                  </a:cubicBezTo>
                  <a:cubicBezTo>
                    <a:pt x="488" y="324"/>
                    <a:pt x="488" y="324"/>
                    <a:pt x="488" y="324"/>
                  </a:cubicBezTo>
                  <a:cubicBezTo>
                    <a:pt x="495" y="335"/>
                    <a:pt x="495" y="335"/>
                    <a:pt x="495" y="335"/>
                  </a:cubicBezTo>
                  <a:cubicBezTo>
                    <a:pt x="495" y="335"/>
                    <a:pt x="449" y="361"/>
                    <a:pt x="452" y="364"/>
                  </a:cubicBezTo>
                  <a:cubicBezTo>
                    <a:pt x="455" y="367"/>
                    <a:pt x="497" y="368"/>
                    <a:pt x="499" y="381"/>
                  </a:cubicBezTo>
                  <a:cubicBezTo>
                    <a:pt x="501" y="395"/>
                    <a:pt x="489" y="409"/>
                    <a:pt x="494" y="411"/>
                  </a:cubicBezTo>
                  <a:cubicBezTo>
                    <a:pt x="500" y="413"/>
                    <a:pt x="521" y="415"/>
                    <a:pt x="521" y="415"/>
                  </a:cubicBezTo>
                  <a:cubicBezTo>
                    <a:pt x="521" y="415"/>
                    <a:pt x="535" y="396"/>
                    <a:pt x="542" y="396"/>
                  </a:cubicBezTo>
                  <a:cubicBezTo>
                    <a:pt x="550" y="396"/>
                    <a:pt x="553" y="402"/>
                    <a:pt x="563" y="396"/>
                  </a:cubicBezTo>
                  <a:cubicBezTo>
                    <a:pt x="573" y="390"/>
                    <a:pt x="571" y="378"/>
                    <a:pt x="578" y="377"/>
                  </a:cubicBezTo>
                  <a:cubicBezTo>
                    <a:pt x="585" y="376"/>
                    <a:pt x="591" y="385"/>
                    <a:pt x="591" y="385"/>
                  </a:cubicBezTo>
                  <a:cubicBezTo>
                    <a:pt x="614" y="381"/>
                    <a:pt x="614" y="381"/>
                    <a:pt x="614" y="381"/>
                  </a:cubicBezTo>
                  <a:cubicBezTo>
                    <a:pt x="616" y="370"/>
                    <a:pt x="616" y="370"/>
                    <a:pt x="616" y="370"/>
                  </a:cubicBezTo>
                  <a:cubicBezTo>
                    <a:pt x="622" y="361"/>
                    <a:pt x="622" y="361"/>
                    <a:pt x="622" y="361"/>
                  </a:cubicBezTo>
                  <a:cubicBezTo>
                    <a:pt x="622" y="361"/>
                    <a:pt x="608" y="355"/>
                    <a:pt x="602" y="361"/>
                  </a:cubicBezTo>
                  <a:cubicBezTo>
                    <a:pt x="596" y="367"/>
                    <a:pt x="572" y="368"/>
                    <a:pt x="572" y="368"/>
                  </a:cubicBezTo>
                  <a:cubicBezTo>
                    <a:pt x="572" y="368"/>
                    <a:pt x="554" y="362"/>
                    <a:pt x="553" y="352"/>
                  </a:cubicBezTo>
                  <a:cubicBezTo>
                    <a:pt x="552" y="342"/>
                    <a:pt x="540" y="343"/>
                    <a:pt x="540" y="343"/>
                  </a:cubicBezTo>
                  <a:cubicBezTo>
                    <a:pt x="528" y="330"/>
                    <a:pt x="528" y="330"/>
                    <a:pt x="528" y="330"/>
                  </a:cubicBezTo>
                  <a:cubicBezTo>
                    <a:pt x="503" y="328"/>
                    <a:pt x="503" y="328"/>
                    <a:pt x="503" y="328"/>
                  </a:cubicBezTo>
                  <a:cubicBezTo>
                    <a:pt x="496" y="320"/>
                    <a:pt x="496" y="320"/>
                    <a:pt x="496" y="320"/>
                  </a:cubicBezTo>
                  <a:cubicBezTo>
                    <a:pt x="512" y="319"/>
                    <a:pt x="512" y="319"/>
                    <a:pt x="512" y="319"/>
                  </a:cubicBezTo>
                  <a:cubicBezTo>
                    <a:pt x="512" y="319"/>
                    <a:pt x="531" y="323"/>
                    <a:pt x="537" y="322"/>
                  </a:cubicBezTo>
                  <a:cubicBezTo>
                    <a:pt x="544" y="320"/>
                    <a:pt x="559" y="308"/>
                    <a:pt x="559" y="308"/>
                  </a:cubicBezTo>
                  <a:cubicBezTo>
                    <a:pt x="565" y="313"/>
                    <a:pt x="565" y="313"/>
                    <a:pt x="565" y="313"/>
                  </a:cubicBezTo>
                  <a:cubicBezTo>
                    <a:pt x="565" y="313"/>
                    <a:pt x="579" y="300"/>
                    <a:pt x="588" y="297"/>
                  </a:cubicBezTo>
                  <a:cubicBezTo>
                    <a:pt x="598" y="294"/>
                    <a:pt x="624" y="293"/>
                    <a:pt x="624" y="293"/>
                  </a:cubicBezTo>
                  <a:cubicBezTo>
                    <a:pt x="652" y="271"/>
                    <a:pt x="652" y="271"/>
                    <a:pt x="652" y="271"/>
                  </a:cubicBezTo>
                  <a:cubicBezTo>
                    <a:pt x="652" y="271"/>
                    <a:pt x="667" y="278"/>
                    <a:pt x="679" y="273"/>
                  </a:cubicBezTo>
                  <a:cubicBezTo>
                    <a:pt x="676" y="248"/>
                    <a:pt x="676" y="248"/>
                    <a:pt x="676" y="248"/>
                  </a:cubicBezTo>
                  <a:cubicBezTo>
                    <a:pt x="676" y="248"/>
                    <a:pt x="689" y="248"/>
                    <a:pt x="692" y="244"/>
                  </a:cubicBezTo>
                  <a:cubicBezTo>
                    <a:pt x="695" y="240"/>
                    <a:pt x="703" y="231"/>
                    <a:pt x="703" y="231"/>
                  </a:cubicBezTo>
                  <a:cubicBezTo>
                    <a:pt x="703" y="231"/>
                    <a:pt x="726" y="233"/>
                    <a:pt x="738" y="229"/>
                  </a:cubicBezTo>
                  <a:cubicBezTo>
                    <a:pt x="750" y="225"/>
                    <a:pt x="742" y="212"/>
                    <a:pt x="741" y="206"/>
                  </a:cubicBezTo>
                  <a:cubicBezTo>
                    <a:pt x="740" y="200"/>
                    <a:pt x="728" y="192"/>
                    <a:pt x="727" y="189"/>
                  </a:cubicBezTo>
                  <a:cubicBezTo>
                    <a:pt x="726" y="186"/>
                    <a:pt x="743" y="188"/>
                    <a:pt x="744" y="182"/>
                  </a:cubicBezTo>
                  <a:cubicBezTo>
                    <a:pt x="745" y="176"/>
                    <a:pt x="728" y="173"/>
                    <a:pt x="728" y="173"/>
                  </a:cubicBezTo>
                  <a:cubicBezTo>
                    <a:pt x="742" y="166"/>
                    <a:pt x="742" y="166"/>
                    <a:pt x="742" y="166"/>
                  </a:cubicBezTo>
                  <a:cubicBezTo>
                    <a:pt x="742" y="166"/>
                    <a:pt x="741" y="159"/>
                    <a:pt x="740" y="149"/>
                  </a:cubicBezTo>
                  <a:cubicBezTo>
                    <a:pt x="739" y="139"/>
                    <a:pt x="722" y="145"/>
                    <a:pt x="722" y="145"/>
                  </a:cubicBezTo>
                  <a:cubicBezTo>
                    <a:pt x="709" y="136"/>
                    <a:pt x="709" y="136"/>
                    <a:pt x="709" y="136"/>
                  </a:cubicBezTo>
                  <a:cubicBezTo>
                    <a:pt x="709" y="136"/>
                    <a:pt x="707" y="130"/>
                    <a:pt x="700" y="128"/>
                  </a:cubicBezTo>
                  <a:cubicBezTo>
                    <a:pt x="693" y="126"/>
                    <a:pt x="679" y="128"/>
                    <a:pt x="679" y="128"/>
                  </a:cubicBezTo>
                  <a:cubicBezTo>
                    <a:pt x="679" y="128"/>
                    <a:pt x="666" y="119"/>
                    <a:pt x="662" y="119"/>
                  </a:cubicBezTo>
                  <a:cubicBezTo>
                    <a:pt x="658" y="119"/>
                    <a:pt x="646" y="125"/>
                    <a:pt x="646" y="125"/>
                  </a:cubicBezTo>
                  <a:cubicBezTo>
                    <a:pt x="646" y="125"/>
                    <a:pt x="643" y="120"/>
                    <a:pt x="637" y="116"/>
                  </a:cubicBezTo>
                  <a:cubicBezTo>
                    <a:pt x="631" y="112"/>
                    <a:pt x="629" y="101"/>
                    <a:pt x="620" y="100"/>
                  </a:cubicBezTo>
                  <a:cubicBezTo>
                    <a:pt x="611" y="99"/>
                    <a:pt x="615" y="109"/>
                    <a:pt x="615" y="109"/>
                  </a:cubicBezTo>
                  <a:cubicBezTo>
                    <a:pt x="615" y="109"/>
                    <a:pt x="606" y="103"/>
                    <a:pt x="595" y="104"/>
                  </a:cubicBezTo>
                  <a:cubicBezTo>
                    <a:pt x="584" y="105"/>
                    <a:pt x="586" y="110"/>
                    <a:pt x="578" y="106"/>
                  </a:cubicBezTo>
                  <a:cubicBezTo>
                    <a:pt x="570" y="102"/>
                    <a:pt x="562" y="98"/>
                    <a:pt x="562" y="98"/>
                  </a:cubicBezTo>
                  <a:cubicBezTo>
                    <a:pt x="544" y="102"/>
                    <a:pt x="544" y="102"/>
                    <a:pt x="544" y="102"/>
                  </a:cubicBezTo>
                  <a:cubicBezTo>
                    <a:pt x="540" y="99"/>
                    <a:pt x="540" y="99"/>
                    <a:pt x="540" y="99"/>
                  </a:cubicBezTo>
                  <a:cubicBezTo>
                    <a:pt x="533" y="70"/>
                    <a:pt x="533" y="70"/>
                    <a:pt x="533" y="70"/>
                  </a:cubicBezTo>
                  <a:cubicBezTo>
                    <a:pt x="505" y="58"/>
                    <a:pt x="505" y="58"/>
                    <a:pt x="505" y="58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481" y="45"/>
                    <a:pt x="481" y="45"/>
                    <a:pt x="481" y="45"/>
                  </a:cubicBezTo>
                  <a:cubicBezTo>
                    <a:pt x="476" y="33"/>
                    <a:pt x="476" y="33"/>
                    <a:pt x="476" y="33"/>
                  </a:cubicBezTo>
                  <a:cubicBezTo>
                    <a:pt x="476" y="33"/>
                    <a:pt x="484" y="32"/>
                    <a:pt x="486" y="26"/>
                  </a:cubicBezTo>
                  <a:cubicBezTo>
                    <a:pt x="488" y="20"/>
                    <a:pt x="467" y="14"/>
                    <a:pt x="467" y="14"/>
                  </a:cubicBezTo>
                  <a:cubicBezTo>
                    <a:pt x="461" y="0"/>
                    <a:pt x="461" y="0"/>
                    <a:pt x="461" y="0"/>
                  </a:cubicBezTo>
                  <a:cubicBezTo>
                    <a:pt x="431" y="1"/>
                    <a:pt x="431" y="1"/>
                    <a:pt x="431" y="1"/>
                  </a:cubicBezTo>
                  <a:cubicBezTo>
                    <a:pt x="420" y="6"/>
                    <a:pt x="420" y="6"/>
                    <a:pt x="420" y="6"/>
                  </a:cubicBezTo>
                  <a:cubicBezTo>
                    <a:pt x="402" y="3"/>
                    <a:pt x="402" y="3"/>
                    <a:pt x="402" y="3"/>
                  </a:cubicBezTo>
                  <a:cubicBezTo>
                    <a:pt x="402" y="3"/>
                    <a:pt x="406" y="12"/>
                    <a:pt x="398" y="16"/>
                  </a:cubicBezTo>
                  <a:cubicBezTo>
                    <a:pt x="390" y="20"/>
                    <a:pt x="356" y="12"/>
                    <a:pt x="349" y="12"/>
                  </a:cubicBezTo>
                  <a:cubicBezTo>
                    <a:pt x="342" y="12"/>
                    <a:pt x="326" y="37"/>
                    <a:pt x="326" y="37"/>
                  </a:cubicBezTo>
                  <a:cubicBezTo>
                    <a:pt x="326" y="37"/>
                    <a:pt x="336" y="50"/>
                    <a:pt x="327" y="53"/>
                  </a:cubicBezTo>
                  <a:cubicBezTo>
                    <a:pt x="318" y="56"/>
                    <a:pt x="304" y="47"/>
                    <a:pt x="304" y="47"/>
                  </a:cubicBezTo>
                  <a:cubicBezTo>
                    <a:pt x="304" y="47"/>
                    <a:pt x="293" y="50"/>
                    <a:pt x="285" y="51"/>
                  </a:cubicBezTo>
                  <a:cubicBezTo>
                    <a:pt x="277" y="52"/>
                    <a:pt x="285" y="40"/>
                    <a:pt x="273" y="39"/>
                  </a:cubicBezTo>
                  <a:cubicBezTo>
                    <a:pt x="261" y="38"/>
                    <a:pt x="262" y="48"/>
                    <a:pt x="262" y="48"/>
                  </a:cubicBezTo>
                  <a:cubicBezTo>
                    <a:pt x="252" y="40"/>
                    <a:pt x="252" y="40"/>
                    <a:pt x="252" y="40"/>
                  </a:cubicBezTo>
                  <a:cubicBezTo>
                    <a:pt x="247" y="46"/>
                    <a:pt x="247" y="46"/>
                    <a:pt x="247" y="46"/>
                  </a:cubicBezTo>
                  <a:cubicBezTo>
                    <a:pt x="241" y="41"/>
                    <a:pt x="241" y="41"/>
                    <a:pt x="241" y="41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24" y="38"/>
                    <a:pt x="224" y="38"/>
                    <a:pt x="224" y="38"/>
                  </a:cubicBezTo>
                  <a:cubicBezTo>
                    <a:pt x="219" y="45"/>
                    <a:pt x="219" y="45"/>
                    <a:pt x="219" y="45"/>
                  </a:cubicBezTo>
                  <a:cubicBezTo>
                    <a:pt x="207" y="37"/>
                    <a:pt x="207" y="37"/>
                    <a:pt x="207" y="37"/>
                  </a:cubicBezTo>
                  <a:cubicBezTo>
                    <a:pt x="202" y="40"/>
                    <a:pt x="202" y="40"/>
                    <a:pt x="202" y="40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72" y="28"/>
                    <a:pt x="172" y="28"/>
                    <a:pt x="172" y="28"/>
                  </a:cubicBezTo>
                  <a:cubicBezTo>
                    <a:pt x="172" y="28"/>
                    <a:pt x="167" y="28"/>
                    <a:pt x="157" y="28"/>
                  </a:cubicBezTo>
                  <a:cubicBezTo>
                    <a:pt x="147" y="28"/>
                    <a:pt x="147" y="20"/>
                    <a:pt x="147" y="20"/>
                  </a:cubicBezTo>
                  <a:cubicBezTo>
                    <a:pt x="147" y="20"/>
                    <a:pt x="120" y="19"/>
                    <a:pt x="117" y="20"/>
                  </a:cubicBezTo>
                  <a:cubicBezTo>
                    <a:pt x="114" y="21"/>
                    <a:pt x="103" y="27"/>
                    <a:pt x="103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6" y="37"/>
                    <a:pt x="68" y="42"/>
                  </a:cubicBezTo>
                  <a:cubicBezTo>
                    <a:pt x="60" y="47"/>
                    <a:pt x="47" y="40"/>
                    <a:pt x="47" y="40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3"/>
                    <a:pt x="57" y="55"/>
                    <a:pt x="60" y="64"/>
                  </a:cubicBezTo>
                  <a:cubicBezTo>
                    <a:pt x="63" y="73"/>
                    <a:pt x="75" y="76"/>
                    <a:pt x="75" y="76"/>
                  </a:cubicBezTo>
                  <a:cubicBezTo>
                    <a:pt x="68" y="84"/>
                    <a:pt x="68" y="84"/>
                    <a:pt x="68" y="84"/>
                  </a:cubicBezTo>
                  <a:cubicBezTo>
                    <a:pt x="68" y="84"/>
                    <a:pt x="74" y="92"/>
                    <a:pt x="76" y="97"/>
                  </a:cubicBezTo>
                  <a:cubicBezTo>
                    <a:pt x="78" y="102"/>
                    <a:pt x="58" y="103"/>
                    <a:pt x="58" y="103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3" y="138"/>
                    <a:pt x="23" y="148"/>
                    <a:pt x="22" y="158"/>
                  </a:cubicBezTo>
                  <a:cubicBezTo>
                    <a:pt x="21" y="168"/>
                    <a:pt x="30" y="174"/>
                    <a:pt x="30" y="174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3"/>
                    <a:pt x="13" y="180"/>
                    <a:pt x="11" y="186"/>
                  </a:cubicBezTo>
                  <a:cubicBezTo>
                    <a:pt x="9" y="192"/>
                    <a:pt x="1" y="194"/>
                    <a:pt x="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8" y="204"/>
                    <a:pt x="10" y="214"/>
                    <a:pt x="16" y="215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71" name="Freeform 87"/>
            <p:cNvSpPr>
              <a:spLocks/>
            </p:cNvSpPr>
            <p:nvPr/>
          </p:nvSpPr>
          <p:spPr bwMode="auto">
            <a:xfrm>
              <a:off x="3054" y="1619"/>
              <a:ext cx="145" cy="94"/>
            </a:xfrm>
            <a:custGeom>
              <a:avLst/>
              <a:gdLst>
                <a:gd name="T0" fmla="*/ 0 w 382"/>
                <a:gd name="T1" fmla="*/ 0 h 250"/>
                <a:gd name="T2" fmla="*/ 0 w 382"/>
                <a:gd name="T3" fmla="*/ 0 h 250"/>
                <a:gd name="T4" fmla="*/ 0 w 382"/>
                <a:gd name="T5" fmla="*/ 0 h 250"/>
                <a:gd name="T6" fmla="*/ 0 w 382"/>
                <a:gd name="T7" fmla="*/ 0 h 250"/>
                <a:gd name="T8" fmla="*/ 0 w 382"/>
                <a:gd name="T9" fmla="*/ 0 h 250"/>
                <a:gd name="T10" fmla="*/ 0 w 382"/>
                <a:gd name="T11" fmla="*/ 0 h 250"/>
                <a:gd name="T12" fmla="*/ 0 w 382"/>
                <a:gd name="T13" fmla="*/ 0 h 250"/>
                <a:gd name="T14" fmla="*/ 0 w 382"/>
                <a:gd name="T15" fmla="*/ 0 h 250"/>
                <a:gd name="T16" fmla="*/ 0 w 382"/>
                <a:gd name="T17" fmla="*/ 0 h 250"/>
                <a:gd name="T18" fmla="*/ 0 w 382"/>
                <a:gd name="T19" fmla="*/ 0 h 250"/>
                <a:gd name="T20" fmla="*/ 0 w 382"/>
                <a:gd name="T21" fmla="*/ 0 h 250"/>
                <a:gd name="T22" fmla="*/ 0 w 382"/>
                <a:gd name="T23" fmla="*/ 0 h 250"/>
                <a:gd name="T24" fmla="*/ 0 w 382"/>
                <a:gd name="T25" fmla="*/ 0 h 250"/>
                <a:gd name="T26" fmla="*/ 0 w 382"/>
                <a:gd name="T27" fmla="*/ 0 h 250"/>
                <a:gd name="T28" fmla="*/ 0 w 382"/>
                <a:gd name="T29" fmla="*/ 0 h 250"/>
                <a:gd name="T30" fmla="*/ 0 w 382"/>
                <a:gd name="T31" fmla="*/ 0 h 250"/>
                <a:gd name="T32" fmla="*/ 0 w 382"/>
                <a:gd name="T33" fmla="*/ 0 h 250"/>
                <a:gd name="T34" fmla="*/ 0 w 382"/>
                <a:gd name="T35" fmla="*/ 0 h 250"/>
                <a:gd name="T36" fmla="*/ 0 w 382"/>
                <a:gd name="T37" fmla="*/ 0 h 250"/>
                <a:gd name="T38" fmla="*/ 0 w 382"/>
                <a:gd name="T39" fmla="*/ 0 h 250"/>
                <a:gd name="T40" fmla="*/ 0 w 382"/>
                <a:gd name="T41" fmla="*/ 0 h 250"/>
                <a:gd name="T42" fmla="*/ 0 w 382"/>
                <a:gd name="T43" fmla="*/ 0 h 250"/>
                <a:gd name="T44" fmla="*/ 0 w 382"/>
                <a:gd name="T45" fmla="*/ 0 h 250"/>
                <a:gd name="T46" fmla="*/ 0 w 382"/>
                <a:gd name="T47" fmla="*/ 0 h 250"/>
                <a:gd name="T48" fmla="*/ 0 w 382"/>
                <a:gd name="T49" fmla="*/ 0 h 250"/>
                <a:gd name="T50" fmla="*/ 0 w 382"/>
                <a:gd name="T51" fmla="*/ 0 h 250"/>
                <a:gd name="T52" fmla="*/ 0 w 382"/>
                <a:gd name="T53" fmla="*/ 0 h 250"/>
                <a:gd name="T54" fmla="*/ 0 w 382"/>
                <a:gd name="T55" fmla="*/ 0 h 250"/>
                <a:gd name="T56" fmla="*/ 0 w 382"/>
                <a:gd name="T57" fmla="*/ 0 h 250"/>
                <a:gd name="T58" fmla="*/ 0 w 382"/>
                <a:gd name="T59" fmla="*/ 0 h 250"/>
                <a:gd name="T60" fmla="*/ 0 w 382"/>
                <a:gd name="T61" fmla="*/ 0 h 250"/>
                <a:gd name="T62" fmla="*/ 0 w 382"/>
                <a:gd name="T63" fmla="*/ 0 h 250"/>
                <a:gd name="T64" fmla="*/ 0 w 382"/>
                <a:gd name="T65" fmla="*/ 0 h 250"/>
                <a:gd name="T66" fmla="*/ 0 w 382"/>
                <a:gd name="T67" fmla="*/ 0 h 250"/>
                <a:gd name="T68" fmla="*/ 0 w 382"/>
                <a:gd name="T69" fmla="*/ 0 h 250"/>
                <a:gd name="T70" fmla="*/ 0 w 382"/>
                <a:gd name="T71" fmla="*/ 0 h 250"/>
                <a:gd name="T72" fmla="*/ 0 w 382"/>
                <a:gd name="T73" fmla="*/ 0 h 250"/>
                <a:gd name="T74" fmla="*/ 0 w 382"/>
                <a:gd name="T75" fmla="*/ 0 h 250"/>
                <a:gd name="T76" fmla="*/ 0 w 382"/>
                <a:gd name="T77" fmla="*/ 0 h 25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82"/>
                <a:gd name="T118" fmla="*/ 0 h 250"/>
                <a:gd name="T119" fmla="*/ 382 w 382"/>
                <a:gd name="T120" fmla="*/ 250 h 25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82" h="250">
                  <a:moveTo>
                    <a:pt x="20" y="207"/>
                  </a:moveTo>
                  <a:cubicBezTo>
                    <a:pt x="22" y="211"/>
                    <a:pt x="19" y="225"/>
                    <a:pt x="19" y="225"/>
                  </a:cubicBezTo>
                  <a:cubicBezTo>
                    <a:pt x="22" y="234"/>
                    <a:pt x="22" y="234"/>
                    <a:pt x="22" y="234"/>
                  </a:cubicBezTo>
                  <a:cubicBezTo>
                    <a:pt x="26" y="236"/>
                    <a:pt x="35" y="240"/>
                    <a:pt x="42" y="236"/>
                  </a:cubicBezTo>
                  <a:cubicBezTo>
                    <a:pt x="50" y="231"/>
                    <a:pt x="51" y="221"/>
                    <a:pt x="51" y="221"/>
                  </a:cubicBezTo>
                  <a:cubicBezTo>
                    <a:pt x="77" y="221"/>
                    <a:pt x="77" y="221"/>
                    <a:pt x="77" y="221"/>
                  </a:cubicBezTo>
                  <a:cubicBezTo>
                    <a:pt x="77" y="221"/>
                    <a:pt x="88" y="215"/>
                    <a:pt x="91" y="214"/>
                  </a:cubicBezTo>
                  <a:cubicBezTo>
                    <a:pt x="94" y="213"/>
                    <a:pt x="121" y="214"/>
                    <a:pt x="121" y="214"/>
                  </a:cubicBezTo>
                  <a:cubicBezTo>
                    <a:pt x="121" y="214"/>
                    <a:pt x="121" y="222"/>
                    <a:pt x="131" y="222"/>
                  </a:cubicBezTo>
                  <a:cubicBezTo>
                    <a:pt x="141" y="222"/>
                    <a:pt x="146" y="222"/>
                    <a:pt x="146" y="222"/>
                  </a:cubicBezTo>
                  <a:cubicBezTo>
                    <a:pt x="165" y="225"/>
                    <a:pt x="165" y="225"/>
                    <a:pt x="165" y="225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81" y="231"/>
                    <a:pt x="181" y="231"/>
                    <a:pt x="181" y="231"/>
                  </a:cubicBezTo>
                  <a:cubicBezTo>
                    <a:pt x="193" y="239"/>
                    <a:pt x="193" y="239"/>
                    <a:pt x="193" y="239"/>
                  </a:cubicBezTo>
                  <a:cubicBezTo>
                    <a:pt x="198" y="232"/>
                    <a:pt x="198" y="232"/>
                    <a:pt x="198" y="232"/>
                  </a:cubicBezTo>
                  <a:cubicBezTo>
                    <a:pt x="205" y="237"/>
                    <a:pt x="205" y="237"/>
                    <a:pt x="205" y="237"/>
                  </a:cubicBezTo>
                  <a:cubicBezTo>
                    <a:pt x="215" y="235"/>
                    <a:pt x="215" y="235"/>
                    <a:pt x="215" y="235"/>
                  </a:cubicBezTo>
                  <a:cubicBezTo>
                    <a:pt x="221" y="240"/>
                    <a:pt x="221" y="240"/>
                    <a:pt x="221" y="240"/>
                  </a:cubicBezTo>
                  <a:cubicBezTo>
                    <a:pt x="226" y="234"/>
                    <a:pt x="226" y="234"/>
                    <a:pt x="226" y="234"/>
                  </a:cubicBezTo>
                  <a:cubicBezTo>
                    <a:pt x="236" y="242"/>
                    <a:pt x="236" y="242"/>
                    <a:pt x="236" y="242"/>
                  </a:cubicBezTo>
                  <a:cubicBezTo>
                    <a:pt x="236" y="242"/>
                    <a:pt x="235" y="232"/>
                    <a:pt x="247" y="233"/>
                  </a:cubicBezTo>
                  <a:cubicBezTo>
                    <a:pt x="259" y="234"/>
                    <a:pt x="251" y="246"/>
                    <a:pt x="259" y="245"/>
                  </a:cubicBezTo>
                  <a:cubicBezTo>
                    <a:pt x="267" y="244"/>
                    <a:pt x="278" y="241"/>
                    <a:pt x="278" y="241"/>
                  </a:cubicBezTo>
                  <a:cubicBezTo>
                    <a:pt x="278" y="241"/>
                    <a:pt x="292" y="250"/>
                    <a:pt x="301" y="247"/>
                  </a:cubicBezTo>
                  <a:cubicBezTo>
                    <a:pt x="310" y="244"/>
                    <a:pt x="300" y="231"/>
                    <a:pt x="300" y="231"/>
                  </a:cubicBezTo>
                  <a:cubicBezTo>
                    <a:pt x="300" y="231"/>
                    <a:pt x="316" y="206"/>
                    <a:pt x="323" y="206"/>
                  </a:cubicBezTo>
                  <a:cubicBezTo>
                    <a:pt x="326" y="206"/>
                    <a:pt x="336" y="208"/>
                    <a:pt x="347" y="209"/>
                  </a:cubicBezTo>
                  <a:cubicBezTo>
                    <a:pt x="346" y="201"/>
                    <a:pt x="346" y="191"/>
                    <a:pt x="344" y="191"/>
                  </a:cubicBezTo>
                  <a:cubicBezTo>
                    <a:pt x="341" y="190"/>
                    <a:pt x="341" y="176"/>
                    <a:pt x="341" y="176"/>
                  </a:cubicBezTo>
                  <a:cubicBezTo>
                    <a:pt x="341" y="176"/>
                    <a:pt x="314" y="154"/>
                    <a:pt x="328" y="151"/>
                  </a:cubicBezTo>
                  <a:cubicBezTo>
                    <a:pt x="342" y="148"/>
                    <a:pt x="344" y="154"/>
                    <a:pt x="344" y="154"/>
                  </a:cubicBezTo>
                  <a:cubicBezTo>
                    <a:pt x="344" y="154"/>
                    <a:pt x="357" y="162"/>
                    <a:pt x="365" y="155"/>
                  </a:cubicBezTo>
                  <a:cubicBezTo>
                    <a:pt x="373" y="148"/>
                    <a:pt x="382" y="139"/>
                    <a:pt x="382" y="139"/>
                  </a:cubicBezTo>
                  <a:cubicBezTo>
                    <a:pt x="368" y="131"/>
                    <a:pt x="368" y="131"/>
                    <a:pt x="368" y="131"/>
                  </a:cubicBezTo>
                  <a:cubicBezTo>
                    <a:pt x="368" y="131"/>
                    <a:pt x="376" y="122"/>
                    <a:pt x="363" y="119"/>
                  </a:cubicBezTo>
                  <a:cubicBezTo>
                    <a:pt x="350" y="116"/>
                    <a:pt x="340" y="118"/>
                    <a:pt x="340" y="118"/>
                  </a:cubicBezTo>
                  <a:cubicBezTo>
                    <a:pt x="338" y="103"/>
                    <a:pt x="338" y="103"/>
                    <a:pt x="338" y="103"/>
                  </a:cubicBezTo>
                  <a:cubicBezTo>
                    <a:pt x="318" y="96"/>
                    <a:pt x="318" y="96"/>
                    <a:pt x="318" y="96"/>
                  </a:cubicBezTo>
                  <a:cubicBezTo>
                    <a:pt x="318" y="96"/>
                    <a:pt x="315" y="75"/>
                    <a:pt x="307" y="73"/>
                  </a:cubicBezTo>
                  <a:cubicBezTo>
                    <a:pt x="299" y="71"/>
                    <a:pt x="294" y="66"/>
                    <a:pt x="294" y="66"/>
                  </a:cubicBezTo>
                  <a:cubicBezTo>
                    <a:pt x="298" y="54"/>
                    <a:pt x="298" y="54"/>
                    <a:pt x="298" y="54"/>
                  </a:cubicBezTo>
                  <a:cubicBezTo>
                    <a:pt x="290" y="44"/>
                    <a:pt x="290" y="44"/>
                    <a:pt x="290" y="44"/>
                  </a:cubicBezTo>
                  <a:cubicBezTo>
                    <a:pt x="290" y="44"/>
                    <a:pt x="304" y="30"/>
                    <a:pt x="293" y="25"/>
                  </a:cubicBezTo>
                  <a:cubicBezTo>
                    <a:pt x="282" y="20"/>
                    <a:pt x="260" y="9"/>
                    <a:pt x="260" y="9"/>
                  </a:cubicBezTo>
                  <a:cubicBezTo>
                    <a:pt x="238" y="21"/>
                    <a:pt x="238" y="21"/>
                    <a:pt x="238" y="21"/>
                  </a:cubicBezTo>
                  <a:cubicBezTo>
                    <a:pt x="236" y="11"/>
                    <a:pt x="236" y="11"/>
                    <a:pt x="236" y="11"/>
                  </a:cubicBezTo>
                  <a:cubicBezTo>
                    <a:pt x="210" y="5"/>
                    <a:pt x="210" y="5"/>
                    <a:pt x="210" y="5"/>
                  </a:cubicBezTo>
                  <a:cubicBezTo>
                    <a:pt x="204" y="11"/>
                    <a:pt x="204" y="11"/>
                    <a:pt x="204" y="11"/>
                  </a:cubicBezTo>
                  <a:cubicBezTo>
                    <a:pt x="204" y="11"/>
                    <a:pt x="203" y="4"/>
                    <a:pt x="195" y="3"/>
                  </a:cubicBezTo>
                  <a:cubicBezTo>
                    <a:pt x="187" y="2"/>
                    <a:pt x="176" y="0"/>
                    <a:pt x="176" y="0"/>
                  </a:cubicBezTo>
                  <a:cubicBezTo>
                    <a:pt x="176" y="0"/>
                    <a:pt x="162" y="16"/>
                    <a:pt x="162" y="13"/>
                  </a:cubicBezTo>
                  <a:cubicBezTo>
                    <a:pt x="162" y="10"/>
                    <a:pt x="157" y="19"/>
                    <a:pt x="157" y="19"/>
                  </a:cubicBezTo>
                  <a:cubicBezTo>
                    <a:pt x="157" y="19"/>
                    <a:pt x="146" y="13"/>
                    <a:pt x="141" y="13"/>
                  </a:cubicBezTo>
                  <a:cubicBezTo>
                    <a:pt x="136" y="13"/>
                    <a:pt x="121" y="26"/>
                    <a:pt x="119" y="31"/>
                  </a:cubicBezTo>
                  <a:cubicBezTo>
                    <a:pt x="117" y="36"/>
                    <a:pt x="133" y="46"/>
                    <a:pt x="133" y="46"/>
                  </a:cubicBezTo>
                  <a:cubicBezTo>
                    <a:pt x="133" y="46"/>
                    <a:pt x="126" y="52"/>
                    <a:pt x="120" y="52"/>
                  </a:cubicBezTo>
                  <a:cubicBezTo>
                    <a:pt x="114" y="52"/>
                    <a:pt x="107" y="47"/>
                    <a:pt x="107" y="47"/>
                  </a:cubicBezTo>
                  <a:cubicBezTo>
                    <a:pt x="111" y="60"/>
                    <a:pt x="111" y="60"/>
                    <a:pt x="111" y="60"/>
                  </a:cubicBezTo>
                  <a:cubicBezTo>
                    <a:pt x="111" y="60"/>
                    <a:pt x="98" y="55"/>
                    <a:pt x="96" y="62"/>
                  </a:cubicBezTo>
                  <a:cubicBezTo>
                    <a:pt x="94" y="69"/>
                    <a:pt x="98" y="77"/>
                    <a:pt x="98" y="77"/>
                  </a:cubicBezTo>
                  <a:cubicBezTo>
                    <a:pt x="98" y="77"/>
                    <a:pt x="86" y="76"/>
                    <a:pt x="91" y="84"/>
                  </a:cubicBezTo>
                  <a:cubicBezTo>
                    <a:pt x="96" y="92"/>
                    <a:pt x="103" y="103"/>
                    <a:pt x="96" y="104"/>
                  </a:cubicBezTo>
                  <a:cubicBezTo>
                    <a:pt x="89" y="105"/>
                    <a:pt x="100" y="96"/>
                    <a:pt x="90" y="96"/>
                  </a:cubicBezTo>
                  <a:cubicBezTo>
                    <a:pt x="80" y="96"/>
                    <a:pt x="72" y="103"/>
                    <a:pt x="72" y="103"/>
                  </a:cubicBezTo>
                  <a:cubicBezTo>
                    <a:pt x="68" y="111"/>
                    <a:pt x="68" y="111"/>
                    <a:pt x="68" y="111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58" y="113"/>
                    <a:pt x="58" y="113"/>
                    <a:pt x="58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40" y="113"/>
                    <a:pt x="38" y="107"/>
                    <a:pt x="30" y="108"/>
                  </a:cubicBezTo>
                  <a:cubicBezTo>
                    <a:pt x="22" y="109"/>
                    <a:pt x="6" y="113"/>
                    <a:pt x="6" y="113"/>
                  </a:cubicBezTo>
                  <a:cubicBezTo>
                    <a:pt x="6" y="113"/>
                    <a:pt x="14" y="126"/>
                    <a:pt x="14" y="131"/>
                  </a:cubicBezTo>
                  <a:cubicBezTo>
                    <a:pt x="14" y="136"/>
                    <a:pt x="25" y="145"/>
                    <a:pt x="25" y="145"/>
                  </a:cubicBezTo>
                  <a:cubicBezTo>
                    <a:pt x="25" y="145"/>
                    <a:pt x="33" y="157"/>
                    <a:pt x="31" y="161"/>
                  </a:cubicBezTo>
                  <a:cubicBezTo>
                    <a:pt x="29" y="165"/>
                    <a:pt x="27" y="173"/>
                    <a:pt x="27" y="173"/>
                  </a:cubicBezTo>
                  <a:cubicBezTo>
                    <a:pt x="13" y="178"/>
                    <a:pt x="13" y="178"/>
                    <a:pt x="13" y="178"/>
                  </a:cubicBezTo>
                  <a:cubicBezTo>
                    <a:pt x="13" y="178"/>
                    <a:pt x="15" y="190"/>
                    <a:pt x="12" y="190"/>
                  </a:cubicBezTo>
                  <a:cubicBezTo>
                    <a:pt x="9" y="190"/>
                    <a:pt x="0" y="188"/>
                    <a:pt x="2" y="194"/>
                  </a:cubicBezTo>
                  <a:cubicBezTo>
                    <a:pt x="4" y="200"/>
                    <a:pt x="18" y="203"/>
                    <a:pt x="20" y="207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72" name="Freeform 88"/>
            <p:cNvSpPr>
              <a:spLocks/>
            </p:cNvSpPr>
            <p:nvPr/>
          </p:nvSpPr>
          <p:spPr bwMode="auto">
            <a:xfrm>
              <a:off x="3016" y="1581"/>
              <a:ext cx="108" cy="46"/>
            </a:xfrm>
            <a:custGeom>
              <a:avLst/>
              <a:gdLst>
                <a:gd name="T0" fmla="*/ 0 w 286"/>
                <a:gd name="T1" fmla="*/ 0 h 123"/>
                <a:gd name="T2" fmla="*/ 0 w 286"/>
                <a:gd name="T3" fmla="*/ 0 h 123"/>
                <a:gd name="T4" fmla="*/ 0 w 286"/>
                <a:gd name="T5" fmla="*/ 0 h 123"/>
                <a:gd name="T6" fmla="*/ 0 w 286"/>
                <a:gd name="T7" fmla="*/ 0 h 123"/>
                <a:gd name="T8" fmla="*/ 0 w 286"/>
                <a:gd name="T9" fmla="*/ 0 h 123"/>
                <a:gd name="T10" fmla="*/ 0 w 286"/>
                <a:gd name="T11" fmla="*/ 0 h 123"/>
                <a:gd name="T12" fmla="*/ 0 w 286"/>
                <a:gd name="T13" fmla="*/ 0 h 123"/>
                <a:gd name="T14" fmla="*/ 0 w 286"/>
                <a:gd name="T15" fmla="*/ 0 h 123"/>
                <a:gd name="T16" fmla="*/ 0 w 286"/>
                <a:gd name="T17" fmla="*/ 0 h 123"/>
                <a:gd name="T18" fmla="*/ 0 w 286"/>
                <a:gd name="T19" fmla="*/ 0 h 123"/>
                <a:gd name="T20" fmla="*/ 0 w 286"/>
                <a:gd name="T21" fmla="*/ 0 h 123"/>
                <a:gd name="T22" fmla="*/ 0 w 286"/>
                <a:gd name="T23" fmla="*/ 0 h 123"/>
                <a:gd name="T24" fmla="*/ 0 w 286"/>
                <a:gd name="T25" fmla="*/ 0 h 123"/>
                <a:gd name="T26" fmla="*/ 0 w 286"/>
                <a:gd name="T27" fmla="*/ 0 h 123"/>
                <a:gd name="T28" fmla="*/ 0 w 286"/>
                <a:gd name="T29" fmla="*/ 0 h 123"/>
                <a:gd name="T30" fmla="*/ 0 w 286"/>
                <a:gd name="T31" fmla="*/ 0 h 123"/>
                <a:gd name="T32" fmla="*/ 0 w 286"/>
                <a:gd name="T33" fmla="*/ 0 h 123"/>
                <a:gd name="T34" fmla="*/ 0 w 286"/>
                <a:gd name="T35" fmla="*/ 0 h 123"/>
                <a:gd name="T36" fmla="*/ 0 w 286"/>
                <a:gd name="T37" fmla="*/ 0 h 123"/>
                <a:gd name="T38" fmla="*/ 0 w 286"/>
                <a:gd name="T39" fmla="*/ 0 h 123"/>
                <a:gd name="T40" fmla="*/ 0 w 286"/>
                <a:gd name="T41" fmla="*/ 0 h 123"/>
                <a:gd name="T42" fmla="*/ 0 w 286"/>
                <a:gd name="T43" fmla="*/ 0 h 123"/>
                <a:gd name="T44" fmla="*/ 0 w 286"/>
                <a:gd name="T45" fmla="*/ 0 h 123"/>
                <a:gd name="T46" fmla="*/ 0 w 286"/>
                <a:gd name="T47" fmla="*/ 0 h 123"/>
                <a:gd name="T48" fmla="*/ 0 w 286"/>
                <a:gd name="T49" fmla="*/ 0 h 123"/>
                <a:gd name="T50" fmla="*/ 0 w 286"/>
                <a:gd name="T51" fmla="*/ 0 h 123"/>
                <a:gd name="T52" fmla="*/ 0 w 286"/>
                <a:gd name="T53" fmla="*/ 0 h 123"/>
                <a:gd name="T54" fmla="*/ 0 w 286"/>
                <a:gd name="T55" fmla="*/ 0 h 123"/>
                <a:gd name="T56" fmla="*/ 0 w 286"/>
                <a:gd name="T57" fmla="*/ 0 h 123"/>
                <a:gd name="T58" fmla="*/ 0 w 286"/>
                <a:gd name="T59" fmla="*/ 0 h 123"/>
                <a:gd name="T60" fmla="*/ 0 w 286"/>
                <a:gd name="T61" fmla="*/ 0 h 123"/>
                <a:gd name="T62" fmla="*/ 0 w 286"/>
                <a:gd name="T63" fmla="*/ 0 h 123"/>
                <a:gd name="T64" fmla="*/ 0 w 286"/>
                <a:gd name="T65" fmla="*/ 0 h 123"/>
                <a:gd name="T66" fmla="*/ 0 w 286"/>
                <a:gd name="T67" fmla="*/ 0 h 123"/>
                <a:gd name="T68" fmla="*/ 0 w 286"/>
                <a:gd name="T69" fmla="*/ 0 h 123"/>
                <a:gd name="T70" fmla="*/ 0 w 286"/>
                <a:gd name="T71" fmla="*/ 0 h 123"/>
                <a:gd name="T72" fmla="*/ 0 w 286"/>
                <a:gd name="T73" fmla="*/ 0 h 123"/>
                <a:gd name="T74" fmla="*/ 0 w 286"/>
                <a:gd name="T75" fmla="*/ 0 h 123"/>
                <a:gd name="T76" fmla="*/ 0 w 286"/>
                <a:gd name="T77" fmla="*/ 0 h 123"/>
                <a:gd name="T78" fmla="*/ 0 w 286"/>
                <a:gd name="T79" fmla="*/ 0 h 123"/>
                <a:gd name="T80" fmla="*/ 0 w 286"/>
                <a:gd name="T81" fmla="*/ 0 h 123"/>
                <a:gd name="T82" fmla="*/ 0 w 286"/>
                <a:gd name="T83" fmla="*/ 0 h 123"/>
                <a:gd name="T84" fmla="*/ 0 w 286"/>
                <a:gd name="T85" fmla="*/ 0 h 123"/>
                <a:gd name="T86" fmla="*/ 0 w 286"/>
                <a:gd name="T87" fmla="*/ 0 h 12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86"/>
                <a:gd name="T133" fmla="*/ 0 h 123"/>
                <a:gd name="T134" fmla="*/ 286 w 286"/>
                <a:gd name="T135" fmla="*/ 123 h 12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86" h="123">
                  <a:moveTo>
                    <a:pt x="5" y="97"/>
                  </a:moveTo>
                  <a:cubicBezTo>
                    <a:pt x="8" y="95"/>
                    <a:pt x="12" y="93"/>
                    <a:pt x="18" y="92"/>
                  </a:cubicBezTo>
                  <a:cubicBezTo>
                    <a:pt x="38" y="89"/>
                    <a:pt x="45" y="89"/>
                    <a:pt x="51" y="86"/>
                  </a:cubicBezTo>
                  <a:cubicBezTo>
                    <a:pt x="57" y="83"/>
                    <a:pt x="59" y="81"/>
                    <a:pt x="65" y="83"/>
                  </a:cubicBezTo>
                  <a:cubicBezTo>
                    <a:pt x="71" y="85"/>
                    <a:pt x="78" y="90"/>
                    <a:pt x="78" y="90"/>
                  </a:cubicBezTo>
                  <a:cubicBezTo>
                    <a:pt x="78" y="90"/>
                    <a:pt x="83" y="89"/>
                    <a:pt x="86" y="88"/>
                  </a:cubicBezTo>
                  <a:cubicBezTo>
                    <a:pt x="89" y="87"/>
                    <a:pt x="109" y="94"/>
                    <a:pt x="109" y="94"/>
                  </a:cubicBezTo>
                  <a:cubicBezTo>
                    <a:pt x="109" y="94"/>
                    <a:pt x="113" y="89"/>
                    <a:pt x="118" y="89"/>
                  </a:cubicBezTo>
                  <a:cubicBezTo>
                    <a:pt x="123" y="89"/>
                    <a:pt x="125" y="93"/>
                    <a:pt x="133" y="93"/>
                  </a:cubicBezTo>
                  <a:cubicBezTo>
                    <a:pt x="141" y="93"/>
                    <a:pt x="144" y="85"/>
                    <a:pt x="150" y="85"/>
                  </a:cubicBezTo>
                  <a:cubicBezTo>
                    <a:pt x="156" y="85"/>
                    <a:pt x="162" y="98"/>
                    <a:pt x="162" y="98"/>
                  </a:cubicBezTo>
                  <a:cubicBezTo>
                    <a:pt x="162" y="98"/>
                    <a:pt x="183" y="99"/>
                    <a:pt x="189" y="101"/>
                  </a:cubicBezTo>
                  <a:cubicBezTo>
                    <a:pt x="195" y="103"/>
                    <a:pt x="200" y="111"/>
                    <a:pt x="200" y="111"/>
                  </a:cubicBezTo>
                  <a:cubicBezTo>
                    <a:pt x="215" y="119"/>
                    <a:pt x="215" y="119"/>
                    <a:pt x="215" y="119"/>
                  </a:cubicBezTo>
                  <a:cubicBezTo>
                    <a:pt x="227" y="123"/>
                    <a:pt x="227" y="123"/>
                    <a:pt x="227" y="123"/>
                  </a:cubicBezTo>
                  <a:cubicBezTo>
                    <a:pt x="233" y="118"/>
                    <a:pt x="240" y="113"/>
                    <a:pt x="243" y="113"/>
                  </a:cubicBezTo>
                  <a:cubicBezTo>
                    <a:pt x="248" y="113"/>
                    <a:pt x="259" y="119"/>
                    <a:pt x="259" y="119"/>
                  </a:cubicBezTo>
                  <a:cubicBezTo>
                    <a:pt x="259" y="119"/>
                    <a:pt x="264" y="110"/>
                    <a:pt x="264" y="113"/>
                  </a:cubicBezTo>
                  <a:cubicBezTo>
                    <a:pt x="264" y="116"/>
                    <a:pt x="278" y="100"/>
                    <a:pt x="278" y="100"/>
                  </a:cubicBezTo>
                  <a:cubicBezTo>
                    <a:pt x="278" y="100"/>
                    <a:pt x="282" y="101"/>
                    <a:pt x="286" y="101"/>
                  </a:cubicBezTo>
                  <a:cubicBezTo>
                    <a:pt x="286" y="97"/>
                    <a:pt x="286" y="87"/>
                    <a:pt x="280" y="82"/>
                  </a:cubicBezTo>
                  <a:cubicBezTo>
                    <a:pt x="273" y="76"/>
                    <a:pt x="268" y="65"/>
                    <a:pt x="268" y="65"/>
                  </a:cubicBezTo>
                  <a:cubicBezTo>
                    <a:pt x="255" y="61"/>
                    <a:pt x="255" y="61"/>
                    <a:pt x="255" y="61"/>
                  </a:cubicBezTo>
                  <a:cubicBezTo>
                    <a:pt x="256" y="52"/>
                    <a:pt x="256" y="52"/>
                    <a:pt x="256" y="52"/>
                  </a:cubicBezTo>
                  <a:cubicBezTo>
                    <a:pt x="256" y="52"/>
                    <a:pt x="269" y="50"/>
                    <a:pt x="268" y="45"/>
                  </a:cubicBezTo>
                  <a:cubicBezTo>
                    <a:pt x="267" y="40"/>
                    <a:pt x="246" y="30"/>
                    <a:pt x="246" y="30"/>
                  </a:cubicBezTo>
                  <a:cubicBezTo>
                    <a:pt x="238" y="31"/>
                    <a:pt x="238" y="31"/>
                    <a:pt x="238" y="31"/>
                  </a:cubicBezTo>
                  <a:cubicBezTo>
                    <a:pt x="238" y="31"/>
                    <a:pt x="228" y="27"/>
                    <a:pt x="225" y="26"/>
                  </a:cubicBezTo>
                  <a:cubicBezTo>
                    <a:pt x="222" y="25"/>
                    <a:pt x="220" y="32"/>
                    <a:pt x="214" y="32"/>
                  </a:cubicBezTo>
                  <a:cubicBezTo>
                    <a:pt x="208" y="32"/>
                    <a:pt x="205" y="29"/>
                    <a:pt x="194" y="20"/>
                  </a:cubicBezTo>
                  <a:cubicBezTo>
                    <a:pt x="183" y="11"/>
                    <a:pt x="181" y="6"/>
                    <a:pt x="166" y="3"/>
                  </a:cubicBezTo>
                  <a:cubicBezTo>
                    <a:pt x="151" y="0"/>
                    <a:pt x="145" y="4"/>
                    <a:pt x="145" y="4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0" y="10"/>
                    <a:pt x="120" y="10"/>
                    <a:pt x="120" y="10"/>
                  </a:cubicBezTo>
                  <a:cubicBezTo>
                    <a:pt x="119" y="12"/>
                    <a:pt x="119" y="12"/>
                    <a:pt x="119" y="12"/>
                  </a:cubicBezTo>
                  <a:cubicBezTo>
                    <a:pt x="119" y="12"/>
                    <a:pt x="136" y="55"/>
                    <a:pt x="123" y="55"/>
                  </a:cubicBezTo>
                  <a:cubicBezTo>
                    <a:pt x="110" y="55"/>
                    <a:pt x="86" y="52"/>
                    <a:pt x="86" y="52"/>
                  </a:cubicBezTo>
                  <a:cubicBezTo>
                    <a:pt x="79" y="37"/>
                    <a:pt x="79" y="37"/>
                    <a:pt x="79" y="37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24" y="23"/>
                    <a:pt x="21" y="30"/>
                  </a:cubicBezTo>
                  <a:cubicBezTo>
                    <a:pt x="18" y="37"/>
                    <a:pt x="16" y="46"/>
                    <a:pt x="16" y="46"/>
                  </a:cubicBezTo>
                  <a:cubicBezTo>
                    <a:pt x="16" y="46"/>
                    <a:pt x="0" y="64"/>
                    <a:pt x="0" y="69"/>
                  </a:cubicBezTo>
                  <a:cubicBezTo>
                    <a:pt x="0" y="74"/>
                    <a:pt x="6" y="104"/>
                    <a:pt x="6" y="104"/>
                  </a:cubicBezTo>
                  <a:cubicBezTo>
                    <a:pt x="6" y="104"/>
                    <a:pt x="5" y="101"/>
                    <a:pt x="5" y="97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73" name="Freeform 89"/>
            <p:cNvSpPr>
              <a:spLocks/>
            </p:cNvSpPr>
            <p:nvPr/>
          </p:nvSpPr>
          <p:spPr bwMode="auto">
            <a:xfrm>
              <a:off x="2994" y="1366"/>
              <a:ext cx="160" cy="182"/>
            </a:xfrm>
            <a:custGeom>
              <a:avLst/>
              <a:gdLst>
                <a:gd name="T0" fmla="*/ 0 w 422"/>
                <a:gd name="T1" fmla="*/ 0 h 480"/>
                <a:gd name="T2" fmla="*/ 0 w 422"/>
                <a:gd name="T3" fmla="*/ 0 h 480"/>
                <a:gd name="T4" fmla="*/ 0 w 422"/>
                <a:gd name="T5" fmla="*/ 0 h 480"/>
                <a:gd name="T6" fmla="*/ 0 w 422"/>
                <a:gd name="T7" fmla="*/ 0 h 480"/>
                <a:gd name="T8" fmla="*/ 0 w 422"/>
                <a:gd name="T9" fmla="*/ 0 h 480"/>
                <a:gd name="T10" fmla="*/ 0 w 422"/>
                <a:gd name="T11" fmla="*/ 0 h 480"/>
                <a:gd name="T12" fmla="*/ 0 w 422"/>
                <a:gd name="T13" fmla="*/ 0 h 480"/>
                <a:gd name="T14" fmla="*/ 0 w 422"/>
                <a:gd name="T15" fmla="*/ 0 h 480"/>
                <a:gd name="T16" fmla="*/ 0 w 422"/>
                <a:gd name="T17" fmla="*/ 0 h 480"/>
                <a:gd name="T18" fmla="*/ 0 w 422"/>
                <a:gd name="T19" fmla="*/ 0 h 480"/>
                <a:gd name="T20" fmla="*/ 0 w 422"/>
                <a:gd name="T21" fmla="*/ 0 h 480"/>
                <a:gd name="T22" fmla="*/ 0 w 422"/>
                <a:gd name="T23" fmla="*/ 0 h 480"/>
                <a:gd name="T24" fmla="*/ 0 w 422"/>
                <a:gd name="T25" fmla="*/ 0 h 480"/>
                <a:gd name="T26" fmla="*/ 0 w 422"/>
                <a:gd name="T27" fmla="*/ 0 h 480"/>
                <a:gd name="T28" fmla="*/ 0 w 422"/>
                <a:gd name="T29" fmla="*/ 0 h 480"/>
                <a:gd name="T30" fmla="*/ 0 w 422"/>
                <a:gd name="T31" fmla="*/ 0 h 480"/>
                <a:gd name="T32" fmla="*/ 0 w 422"/>
                <a:gd name="T33" fmla="*/ 0 h 480"/>
                <a:gd name="T34" fmla="*/ 0 w 422"/>
                <a:gd name="T35" fmla="*/ 0 h 480"/>
                <a:gd name="T36" fmla="*/ 0 w 422"/>
                <a:gd name="T37" fmla="*/ 0 h 480"/>
                <a:gd name="T38" fmla="*/ 0 w 422"/>
                <a:gd name="T39" fmla="*/ 0 h 480"/>
                <a:gd name="T40" fmla="*/ 0 w 422"/>
                <a:gd name="T41" fmla="*/ 0 h 480"/>
                <a:gd name="T42" fmla="*/ 0 w 422"/>
                <a:gd name="T43" fmla="*/ 0 h 480"/>
                <a:gd name="T44" fmla="*/ 0 w 422"/>
                <a:gd name="T45" fmla="*/ 0 h 480"/>
                <a:gd name="T46" fmla="*/ 0 w 422"/>
                <a:gd name="T47" fmla="*/ 0 h 480"/>
                <a:gd name="T48" fmla="*/ 0 w 422"/>
                <a:gd name="T49" fmla="*/ 0 h 480"/>
                <a:gd name="T50" fmla="*/ 0 w 422"/>
                <a:gd name="T51" fmla="*/ 0 h 480"/>
                <a:gd name="T52" fmla="*/ 0 w 422"/>
                <a:gd name="T53" fmla="*/ 0 h 480"/>
                <a:gd name="T54" fmla="*/ 0 w 422"/>
                <a:gd name="T55" fmla="*/ 0 h 480"/>
                <a:gd name="T56" fmla="*/ 0 w 422"/>
                <a:gd name="T57" fmla="*/ 0 h 480"/>
                <a:gd name="T58" fmla="*/ 0 w 422"/>
                <a:gd name="T59" fmla="*/ 0 h 480"/>
                <a:gd name="T60" fmla="*/ 0 w 422"/>
                <a:gd name="T61" fmla="*/ 0 h 480"/>
                <a:gd name="T62" fmla="*/ 0 w 422"/>
                <a:gd name="T63" fmla="*/ 0 h 480"/>
                <a:gd name="T64" fmla="*/ 0 w 422"/>
                <a:gd name="T65" fmla="*/ 0 h 480"/>
                <a:gd name="T66" fmla="*/ 0 w 422"/>
                <a:gd name="T67" fmla="*/ 0 h 480"/>
                <a:gd name="T68" fmla="*/ 0 w 422"/>
                <a:gd name="T69" fmla="*/ 0 h 480"/>
                <a:gd name="T70" fmla="*/ 0 w 422"/>
                <a:gd name="T71" fmla="*/ 0 h 480"/>
                <a:gd name="T72" fmla="*/ 0 w 422"/>
                <a:gd name="T73" fmla="*/ 0 h 480"/>
                <a:gd name="T74" fmla="*/ 0 w 422"/>
                <a:gd name="T75" fmla="*/ 0 h 480"/>
                <a:gd name="T76" fmla="*/ 0 w 422"/>
                <a:gd name="T77" fmla="*/ 0 h 480"/>
                <a:gd name="T78" fmla="*/ 0 w 422"/>
                <a:gd name="T79" fmla="*/ 0 h 480"/>
                <a:gd name="T80" fmla="*/ 0 w 422"/>
                <a:gd name="T81" fmla="*/ 0 h 480"/>
                <a:gd name="T82" fmla="*/ 0 w 422"/>
                <a:gd name="T83" fmla="*/ 0 h 480"/>
                <a:gd name="T84" fmla="*/ 0 w 422"/>
                <a:gd name="T85" fmla="*/ 0 h 480"/>
                <a:gd name="T86" fmla="*/ 0 w 422"/>
                <a:gd name="T87" fmla="*/ 0 h 4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2"/>
                <a:gd name="T133" fmla="*/ 0 h 480"/>
                <a:gd name="T134" fmla="*/ 422 w 422"/>
                <a:gd name="T135" fmla="*/ 480 h 4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2" h="480">
                  <a:moveTo>
                    <a:pt x="107" y="59"/>
                  </a:moveTo>
                  <a:cubicBezTo>
                    <a:pt x="107" y="59"/>
                    <a:pt x="98" y="67"/>
                    <a:pt x="88" y="64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8" y="61"/>
                    <a:pt x="78" y="60"/>
                    <a:pt x="64" y="59"/>
                  </a:cubicBezTo>
                  <a:cubicBezTo>
                    <a:pt x="50" y="58"/>
                    <a:pt x="49" y="48"/>
                    <a:pt x="49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31" y="33"/>
                    <a:pt x="27" y="33"/>
                  </a:cubicBezTo>
                  <a:cubicBezTo>
                    <a:pt x="23" y="33"/>
                    <a:pt x="16" y="36"/>
                    <a:pt x="16" y="36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7" y="52"/>
                    <a:pt x="17" y="56"/>
                  </a:cubicBezTo>
                  <a:cubicBezTo>
                    <a:pt x="27" y="60"/>
                    <a:pt x="40" y="64"/>
                    <a:pt x="40" y="64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2" y="85"/>
                    <a:pt x="92" y="85"/>
                    <a:pt x="92" y="85"/>
                  </a:cubicBezTo>
                  <a:cubicBezTo>
                    <a:pt x="92" y="85"/>
                    <a:pt x="110" y="90"/>
                    <a:pt x="109" y="95"/>
                  </a:cubicBezTo>
                  <a:cubicBezTo>
                    <a:pt x="108" y="100"/>
                    <a:pt x="103" y="114"/>
                    <a:pt x="103" y="114"/>
                  </a:cubicBezTo>
                  <a:cubicBezTo>
                    <a:pt x="111" y="119"/>
                    <a:pt x="111" y="119"/>
                    <a:pt x="111" y="119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4" y="142"/>
                    <a:pt x="111" y="157"/>
                    <a:pt x="113" y="165"/>
                  </a:cubicBezTo>
                  <a:cubicBezTo>
                    <a:pt x="115" y="173"/>
                    <a:pt x="130" y="183"/>
                    <a:pt x="130" y="183"/>
                  </a:cubicBezTo>
                  <a:cubicBezTo>
                    <a:pt x="138" y="204"/>
                    <a:pt x="138" y="204"/>
                    <a:pt x="138" y="204"/>
                  </a:cubicBezTo>
                  <a:cubicBezTo>
                    <a:pt x="148" y="198"/>
                    <a:pt x="148" y="198"/>
                    <a:pt x="148" y="198"/>
                  </a:cubicBezTo>
                  <a:cubicBezTo>
                    <a:pt x="148" y="198"/>
                    <a:pt x="177" y="205"/>
                    <a:pt x="179" y="217"/>
                  </a:cubicBezTo>
                  <a:cubicBezTo>
                    <a:pt x="181" y="229"/>
                    <a:pt x="182" y="239"/>
                    <a:pt x="182" y="239"/>
                  </a:cubicBezTo>
                  <a:cubicBezTo>
                    <a:pt x="182" y="239"/>
                    <a:pt x="170" y="233"/>
                    <a:pt x="167" y="234"/>
                  </a:cubicBezTo>
                  <a:cubicBezTo>
                    <a:pt x="164" y="235"/>
                    <a:pt x="142" y="260"/>
                    <a:pt x="142" y="260"/>
                  </a:cubicBezTo>
                  <a:cubicBezTo>
                    <a:pt x="119" y="283"/>
                    <a:pt x="119" y="283"/>
                    <a:pt x="119" y="283"/>
                  </a:cubicBezTo>
                  <a:cubicBezTo>
                    <a:pt x="96" y="288"/>
                    <a:pt x="96" y="288"/>
                    <a:pt x="96" y="288"/>
                  </a:cubicBezTo>
                  <a:cubicBezTo>
                    <a:pt x="96" y="288"/>
                    <a:pt x="81" y="300"/>
                    <a:pt x="81" y="309"/>
                  </a:cubicBezTo>
                  <a:cubicBezTo>
                    <a:pt x="81" y="318"/>
                    <a:pt x="61" y="318"/>
                    <a:pt x="61" y="318"/>
                  </a:cubicBezTo>
                  <a:cubicBezTo>
                    <a:pt x="45" y="336"/>
                    <a:pt x="45" y="336"/>
                    <a:pt x="45" y="336"/>
                  </a:cubicBezTo>
                  <a:cubicBezTo>
                    <a:pt x="45" y="336"/>
                    <a:pt x="41" y="348"/>
                    <a:pt x="43" y="352"/>
                  </a:cubicBezTo>
                  <a:cubicBezTo>
                    <a:pt x="45" y="356"/>
                    <a:pt x="49" y="364"/>
                    <a:pt x="49" y="364"/>
                  </a:cubicBezTo>
                  <a:cubicBezTo>
                    <a:pt x="47" y="380"/>
                    <a:pt x="47" y="380"/>
                    <a:pt x="47" y="380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2" y="393"/>
                    <a:pt x="52" y="425"/>
                    <a:pt x="56" y="434"/>
                  </a:cubicBezTo>
                  <a:cubicBezTo>
                    <a:pt x="60" y="443"/>
                    <a:pt x="71" y="452"/>
                    <a:pt x="71" y="452"/>
                  </a:cubicBezTo>
                  <a:cubicBezTo>
                    <a:pt x="86" y="463"/>
                    <a:pt x="86" y="463"/>
                    <a:pt x="86" y="463"/>
                  </a:cubicBezTo>
                  <a:cubicBezTo>
                    <a:pt x="114" y="460"/>
                    <a:pt x="114" y="460"/>
                    <a:pt x="114" y="460"/>
                  </a:cubicBezTo>
                  <a:cubicBezTo>
                    <a:pt x="114" y="460"/>
                    <a:pt x="105" y="476"/>
                    <a:pt x="125" y="478"/>
                  </a:cubicBezTo>
                  <a:cubicBezTo>
                    <a:pt x="145" y="480"/>
                    <a:pt x="180" y="475"/>
                    <a:pt x="180" y="475"/>
                  </a:cubicBezTo>
                  <a:cubicBezTo>
                    <a:pt x="199" y="465"/>
                    <a:pt x="199" y="465"/>
                    <a:pt x="199" y="465"/>
                  </a:cubicBezTo>
                  <a:cubicBezTo>
                    <a:pt x="222" y="465"/>
                    <a:pt x="222" y="465"/>
                    <a:pt x="222" y="465"/>
                  </a:cubicBezTo>
                  <a:cubicBezTo>
                    <a:pt x="255" y="448"/>
                    <a:pt x="255" y="448"/>
                    <a:pt x="255" y="448"/>
                  </a:cubicBezTo>
                  <a:cubicBezTo>
                    <a:pt x="304" y="451"/>
                    <a:pt x="304" y="451"/>
                    <a:pt x="304" y="451"/>
                  </a:cubicBezTo>
                  <a:cubicBezTo>
                    <a:pt x="309" y="448"/>
                    <a:pt x="309" y="448"/>
                    <a:pt x="309" y="448"/>
                  </a:cubicBezTo>
                  <a:cubicBezTo>
                    <a:pt x="305" y="441"/>
                    <a:pt x="305" y="441"/>
                    <a:pt x="305" y="441"/>
                  </a:cubicBezTo>
                  <a:cubicBezTo>
                    <a:pt x="305" y="441"/>
                    <a:pt x="346" y="417"/>
                    <a:pt x="350" y="412"/>
                  </a:cubicBezTo>
                  <a:cubicBezTo>
                    <a:pt x="354" y="407"/>
                    <a:pt x="382" y="381"/>
                    <a:pt x="382" y="381"/>
                  </a:cubicBezTo>
                  <a:cubicBezTo>
                    <a:pt x="382" y="381"/>
                    <a:pt x="403" y="369"/>
                    <a:pt x="407" y="362"/>
                  </a:cubicBezTo>
                  <a:cubicBezTo>
                    <a:pt x="411" y="355"/>
                    <a:pt x="420" y="348"/>
                    <a:pt x="421" y="340"/>
                  </a:cubicBezTo>
                  <a:cubicBezTo>
                    <a:pt x="422" y="332"/>
                    <a:pt x="399" y="313"/>
                    <a:pt x="399" y="313"/>
                  </a:cubicBezTo>
                  <a:cubicBezTo>
                    <a:pt x="360" y="295"/>
                    <a:pt x="360" y="295"/>
                    <a:pt x="360" y="295"/>
                  </a:cubicBezTo>
                  <a:cubicBezTo>
                    <a:pt x="360" y="295"/>
                    <a:pt x="381" y="281"/>
                    <a:pt x="380" y="277"/>
                  </a:cubicBezTo>
                  <a:cubicBezTo>
                    <a:pt x="379" y="273"/>
                    <a:pt x="368" y="265"/>
                    <a:pt x="368" y="265"/>
                  </a:cubicBezTo>
                  <a:cubicBezTo>
                    <a:pt x="353" y="262"/>
                    <a:pt x="353" y="262"/>
                    <a:pt x="353" y="262"/>
                  </a:cubicBezTo>
                  <a:cubicBezTo>
                    <a:pt x="353" y="262"/>
                    <a:pt x="360" y="251"/>
                    <a:pt x="359" y="247"/>
                  </a:cubicBezTo>
                  <a:cubicBezTo>
                    <a:pt x="358" y="243"/>
                    <a:pt x="339" y="238"/>
                    <a:pt x="339" y="238"/>
                  </a:cubicBezTo>
                  <a:cubicBezTo>
                    <a:pt x="339" y="228"/>
                    <a:pt x="339" y="228"/>
                    <a:pt x="339" y="228"/>
                  </a:cubicBezTo>
                  <a:cubicBezTo>
                    <a:pt x="332" y="222"/>
                    <a:pt x="332" y="222"/>
                    <a:pt x="332" y="222"/>
                  </a:cubicBezTo>
                  <a:cubicBezTo>
                    <a:pt x="337" y="202"/>
                    <a:pt x="337" y="202"/>
                    <a:pt x="337" y="202"/>
                  </a:cubicBezTo>
                  <a:cubicBezTo>
                    <a:pt x="337" y="202"/>
                    <a:pt x="365" y="208"/>
                    <a:pt x="359" y="198"/>
                  </a:cubicBezTo>
                  <a:cubicBezTo>
                    <a:pt x="353" y="188"/>
                    <a:pt x="312" y="156"/>
                    <a:pt x="312" y="156"/>
                  </a:cubicBezTo>
                  <a:cubicBezTo>
                    <a:pt x="299" y="145"/>
                    <a:pt x="299" y="145"/>
                    <a:pt x="299" y="145"/>
                  </a:cubicBezTo>
                  <a:cubicBezTo>
                    <a:pt x="299" y="145"/>
                    <a:pt x="316" y="138"/>
                    <a:pt x="316" y="133"/>
                  </a:cubicBezTo>
                  <a:cubicBezTo>
                    <a:pt x="316" y="128"/>
                    <a:pt x="340" y="126"/>
                    <a:pt x="331" y="116"/>
                  </a:cubicBezTo>
                  <a:cubicBezTo>
                    <a:pt x="322" y="106"/>
                    <a:pt x="316" y="103"/>
                    <a:pt x="312" y="98"/>
                  </a:cubicBezTo>
                  <a:cubicBezTo>
                    <a:pt x="308" y="93"/>
                    <a:pt x="303" y="86"/>
                    <a:pt x="297" y="86"/>
                  </a:cubicBezTo>
                  <a:cubicBezTo>
                    <a:pt x="291" y="86"/>
                    <a:pt x="277" y="94"/>
                    <a:pt x="275" y="82"/>
                  </a:cubicBezTo>
                  <a:cubicBezTo>
                    <a:pt x="273" y="70"/>
                    <a:pt x="270" y="67"/>
                    <a:pt x="270" y="67"/>
                  </a:cubicBezTo>
                  <a:cubicBezTo>
                    <a:pt x="270" y="67"/>
                    <a:pt x="283" y="65"/>
                    <a:pt x="282" y="62"/>
                  </a:cubicBezTo>
                  <a:cubicBezTo>
                    <a:pt x="281" y="59"/>
                    <a:pt x="277" y="53"/>
                    <a:pt x="277" y="53"/>
                  </a:cubicBezTo>
                  <a:cubicBezTo>
                    <a:pt x="280" y="36"/>
                    <a:pt x="280" y="36"/>
                    <a:pt x="280" y="36"/>
                  </a:cubicBezTo>
                  <a:cubicBezTo>
                    <a:pt x="280" y="36"/>
                    <a:pt x="293" y="48"/>
                    <a:pt x="289" y="31"/>
                  </a:cubicBezTo>
                  <a:cubicBezTo>
                    <a:pt x="285" y="14"/>
                    <a:pt x="271" y="13"/>
                    <a:pt x="271" y="13"/>
                  </a:cubicBezTo>
                  <a:cubicBezTo>
                    <a:pt x="248" y="8"/>
                    <a:pt x="248" y="8"/>
                    <a:pt x="248" y="8"/>
                  </a:cubicBezTo>
                  <a:cubicBezTo>
                    <a:pt x="248" y="8"/>
                    <a:pt x="255" y="2"/>
                    <a:pt x="240" y="1"/>
                  </a:cubicBezTo>
                  <a:cubicBezTo>
                    <a:pt x="225" y="0"/>
                    <a:pt x="214" y="7"/>
                    <a:pt x="214" y="7"/>
                  </a:cubicBezTo>
                  <a:cubicBezTo>
                    <a:pt x="214" y="7"/>
                    <a:pt x="203" y="6"/>
                    <a:pt x="198" y="5"/>
                  </a:cubicBezTo>
                  <a:cubicBezTo>
                    <a:pt x="193" y="4"/>
                    <a:pt x="176" y="13"/>
                    <a:pt x="176" y="13"/>
                  </a:cubicBezTo>
                  <a:cubicBezTo>
                    <a:pt x="176" y="13"/>
                    <a:pt x="172" y="26"/>
                    <a:pt x="173" y="30"/>
                  </a:cubicBezTo>
                  <a:cubicBezTo>
                    <a:pt x="174" y="34"/>
                    <a:pt x="173" y="50"/>
                    <a:pt x="173" y="50"/>
                  </a:cubicBezTo>
                  <a:cubicBezTo>
                    <a:pt x="173" y="50"/>
                    <a:pt x="164" y="45"/>
                    <a:pt x="157" y="50"/>
                  </a:cubicBezTo>
                  <a:cubicBezTo>
                    <a:pt x="150" y="55"/>
                    <a:pt x="156" y="65"/>
                    <a:pt x="148" y="65"/>
                  </a:cubicBezTo>
                  <a:cubicBezTo>
                    <a:pt x="140" y="65"/>
                    <a:pt x="128" y="57"/>
                    <a:pt x="123" y="56"/>
                  </a:cubicBezTo>
                  <a:cubicBezTo>
                    <a:pt x="118" y="55"/>
                    <a:pt x="107" y="59"/>
                    <a:pt x="107" y="59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74" name="Freeform 90"/>
            <p:cNvSpPr>
              <a:spLocks/>
            </p:cNvSpPr>
            <p:nvPr/>
          </p:nvSpPr>
          <p:spPr bwMode="auto">
            <a:xfrm>
              <a:off x="3280" y="2091"/>
              <a:ext cx="12" cy="27"/>
            </a:xfrm>
            <a:custGeom>
              <a:avLst/>
              <a:gdLst>
                <a:gd name="T0" fmla="*/ 0 w 32"/>
                <a:gd name="T1" fmla="*/ 0 h 70"/>
                <a:gd name="T2" fmla="*/ 0 w 32"/>
                <a:gd name="T3" fmla="*/ 0 h 70"/>
                <a:gd name="T4" fmla="*/ 0 w 32"/>
                <a:gd name="T5" fmla="*/ 0 h 70"/>
                <a:gd name="T6" fmla="*/ 0 w 32"/>
                <a:gd name="T7" fmla="*/ 0 h 70"/>
                <a:gd name="T8" fmla="*/ 0 w 32"/>
                <a:gd name="T9" fmla="*/ 0 h 70"/>
                <a:gd name="T10" fmla="*/ 0 w 32"/>
                <a:gd name="T11" fmla="*/ 0 h 70"/>
                <a:gd name="T12" fmla="*/ 0 w 32"/>
                <a:gd name="T13" fmla="*/ 0 h 70"/>
                <a:gd name="T14" fmla="*/ 0 w 32"/>
                <a:gd name="T15" fmla="*/ 0 h 70"/>
                <a:gd name="T16" fmla="*/ 0 w 32"/>
                <a:gd name="T17" fmla="*/ 0 h 7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70"/>
                <a:gd name="T29" fmla="*/ 32 w 32"/>
                <a:gd name="T30" fmla="*/ 70 h 7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70">
                  <a:moveTo>
                    <a:pt x="21" y="54"/>
                  </a:moveTo>
                  <a:cubicBezTo>
                    <a:pt x="22" y="53"/>
                    <a:pt x="24" y="54"/>
                    <a:pt x="27" y="56"/>
                  </a:cubicBezTo>
                  <a:cubicBezTo>
                    <a:pt x="29" y="51"/>
                    <a:pt x="32" y="47"/>
                    <a:pt x="32" y="4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26" y="0"/>
                    <a:pt x="17" y="0"/>
                    <a:pt x="13" y="2"/>
                  </a:cubicBezTo>
                  <a:cubicBezTo>
                    <a:pt x="7" y="6"/>
                    <a:pt x="6" y="21"/>
                    <a:pt x="6" y="21"/>
                  </a:cubicBezTo>
                  <a:cubicBezTo>
                    <a:pt x="6" y="21"/>
                    <a:pt x="7" y="34"/>
                    <a:pt x="6" y="40"/>
                  </a:cubicBezTo>
                  <a:cubicBezTo>
                    <a:pt x="5" y="46"/>
                    <a:pt x="0" y="54"/>
                    <a:pt x="7" y="62"/>
                  </a:cubicBezTo>
                  <a:cubicBezTo>
                    <a:pt x="13" y="70"/>
                    <a:pt x="18" y="55"/>
                    <a:pt x="21" y="54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75" name="Freeform 91"/>
            <p:cNvSpPr>
              <a:spLocks/>
            </p:cNvSpPr>
            <p:nvPr/>
          </p:nvSpPr>
          <p:spPr bwMode="auto">
            <a:xfrm>
              <a:off x="3285" y="2074"/>
              <a:ext cx="71" cy="89"/>
            </a:xfrm>
            <a:custGeom>
              <a:avLst/>
              <a:gdLst>
                <a:gd name="T0" fmla="*/ 0 w 186"/>
                <a:gd name="T1" fmla="*/ 0 h 236"/>
                <a:gd name="T2" fmla="*/ 0 w 186"/>
                <a:gd name="T3" fmla="*/ 0 h 236"/>
                <a:gd name="T4" fmla="*/ 0 w 186"/>
                <a:gd name="T5" fmla="*/ 0 h 236"/>
                <a:gd name="T6" fmla="*/ 0 w 186"/>
                <a:gd name="T7" fmla="*/ 0 h 236"/>
                <a:gd name="T8" fmla="*/ 0 w 186"/>
                <a:gd name="T9" fmla="*/ 0 h 236"/>
                <a:gd name="T10" fmla="*/ 0 w 186"/>
                <a:gd name="T11" fmla="*/ 0 h 236"/>
                <a:gd name="T12" fmla="*/ 0 w 186"/>
                <a:gd name="T13" fmla="*/ 0 h 236"/>
                <a:gd name="T14" fmla="*/ 0 w 186"/>
                <a:gd name="T15" fmla="*/ 0 h 236"/>
                <a:gd name="T16" fmla="*/ 0 w 186"/>
                <a:gd name="T17" fmla="*/ 0 h 236"/>
                <a:gd name="T18" fmla="*/ 0 w 186"/>
                <a:gd name="T19" fmla="*/ 0 h 236"/>
                <a:gd name="T20" fmla="*/ 0 w 186"/>
                <a:gd name="T21" fmla="*/ 0 h 236"/>
                <a:gd name="T22" fmla="*/ 0 w 186"/>
                <a:gd name="T23" fmla="*/ 0 h 236"/>
                <a:gd name="T24" fmla="*/ 0 w 186"/>
                <a:gd name="T25" fmla="*/ 0 h 236"/>
                <a:gd name="T26" fmla="*/ 0 w 186"/>
                <a:gd name="T27" fmla="*/ 0 h 236"/>
                <a:gd name="T28" fmla="*/ 0 w 186"/>
                <a:gd name="T29" fmla="*/ 0 h 236"/>
                <a:gd name="T30" fmla="*/ 0 w 186"/>
                <a:gd name="T31" fmla="*/ 0 h 236"/>
                <a:gd name="T32" fmla="*/ 0 w 186"/>
                <a:gd name="T33" fmla="*/ 0 h 236"/>
                <a:gd name="T34" fmla="*/ 0 w 186"/>
                <a:gd name="T35" fmla="*/ 0 h 236"/>
                <a:gd name="T36" fmla="*/ 0 w 186"/>
                <a:gd name="T37" fmla="*/ 0 h 236"/>
                <a:gd name="T38" fmla="*/ 0 w 186"/>
                <a:gd name="T39" fmla="*/ 0 h 236"/>
                <a:gd name="T40" fmla="*/ 0 w 186"/>
                <a:gd name="T41" fmla="*/ 0 h 236"/>
                <a:gd name="T42" fmla="*/ 0 w 186"/>
                <a:gd name="T43" fmla="*/ 0 h 236"/>
                <a:gd name="T44" fmla="*/ 0 w 186"/>
                <a:gd name="T45" fmla="*/ 0 h 236"/>
                <a:gd name="T46" fmla="*/ 0 w 186"/>
                <a:gd name="T47" fmla="*/ 0 h 236"/>
                <a:gd name="T48" fmla="*/ 0 w 186"/>
                <a:gd name="T49" fmla="*/ 0 h 236"/>
                <a:gd name="T50" fmla="*/ 0 w 186"/>
                <a:gd name="T51" fmla="*/ 0 h 236"/>
                <a:gd name="T52" fmla="*/ 0 w 186"/>
                <a:gd name="T53" fmla="*/ 0 h 236"/>
                <a:gd name="T54" fmla="*/ 0 w 186"/>
                <a:gd name="T55" fmla="*/ 0 h 236"/>
                <a:gd name="T56" fmla="*/ 0 w 186"/>
                <a:gd name="T57" fmla="*/ 0 h 2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86"/>
                <a:gd name="T88" fmla="*/ 0 h 236"/>
                <a:gd name="T89" fmla="*/ 186 w 186"/>
                <a:gd name="T90" fmla="*/ 236 h 2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86" h="236">
                  <a:moveTo>
                    <a:pt x="169" y="44"/>
                  </a:moveTo>
                  <a:cubicBezTo>
                    <a:pt x="169" y="30"/>
                    <a:pt x="169" y="30"/>
                    <a:pt x="169" y="3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54" y="2"/>
                    <a:pt x="94" y="57"/>
                    <a:pt x="73" y="57"/>
                  </a:cubicBezTo>
                  <a:cubicBezTo>
                    <a:pt x="52" y="57"/>
                    <a:pt x="45" y="45"/>
                    <a:pt x="45" y="45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3"/>
                    <a:pt x="10" y="103"/>
                    <a:pt x="10" y="107"/>
                  </a:cubicBezTo>
                  <a:cubicBezTo>
                    <a:pt x="10" y="111"/>
                    <a:pt x="12" y="111"/>
                    <a:pt x="16" y="115"/>
                  </a:cubicBezTo>
                  <a:cubicBezTo>
                    <a:pt x="20" y="119"/>
                    <a:pt x="18" y="127"/>
                    <a:pt x="15" y="134"/>
                  </a:cubicBezTo>
                  <a:cubicBezTo>
                    <a:pt x="12" y="141"/>
                    <a:pt x="4" y="146"/>
                    <a:pt x="4" y="158"/>
                  </a:cubicBezTo>
                  <a:cubicBezTo>
                    <a:pt x="4" y="170"/>
                    <a:pt x="0" y="211"/>
                    <a:pt x="0" y="211"/>
                  </a:cubicBezTo>
                  <a:cubicBezTo>
                    <a:pt x="2" y="217"/>
                    <a:pt x="2" y="217"/>
                    <a:pt x="2" y="217"/>
                  </a:cubicBezTo>
                  <a:cubicBezTo>
                    <a:pt x="2" y="217"/>
                    <a:pt x="3" y="217"/>
                    <a:pt x="3" y="217"/>
                  </a:cubicBezTo>
                  <a:cubicBezTo>
                    <a:pt x="10" y="216"/>
                    <a:pt x="41" y="236"/>
                    <a:pt x="55" y="225"/>
                  </a:cubicBezTo>
                  <a:cubicBezTo>
                    <a:pt x="69" y="214"/>
                    <a:pt x="71" y="187"/>
                    <a:pt x="77" y="185"/>
                  </a:cubicBezTo>
                  <a:cubicBezTo>
                    <a:pt x="83" y="183"/>
                    <a:pt x="100" y="187"/>
                    <a:pt x="108" y="180"/>
                  </a:cubicBezTo>
                  <a:cubicBezTo>
                    <a:pt x="116" y="173"/>
                    <a:pt x="122" y="147"/>
                    <a:pt x="122" y="147"/>
                  </a:cubicBezTo>
                  <a:cubicBezTo>
                    <a:pt x="122" y="147"/>
                    <a:pt x="103" y="112"/>
                    <a:pt x="96" y="108"/>
                  </a:cubicBezTo>
                  <a:cubicBezTo>
                    <a:pt x="89" y="104"/>
                    <a:pt x="57" y="107"/>
                    <a:pt x="64" y="100"/>
                  </a:cubicBezTo>
                  <a:cubicBezTo>
                    <a:pt x="71" y="93"/>
                    <a:pt x="96" y="94"/>
                    <a:pt x="96" y="94"/>
                  </a:cubicBezTo>
                  <a:cubicBezTo>
                    <a:pt x="124" y="94"/>
                    <a:pt x="124" y="94"/>
                    <a:pt x="124" y="94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80"/>
                    <a:pt x="160" y="82"/>
                    <a:pt x="166" y="76"/>
                  </a:cubicBezTo>
                  <a:cubicBezTo>
                    <a:pt x="172" y="70"/>
                    <a:pt x="185" y="62"/>
                    <a:pt x="185" y="62"/>
                  </a:cubicBezTo>
                  <a:cubicBezTo>
                    <a:pt x="186" y="53"/>
                    <a:pt x="186" y="53"/>
                    <a:pt x="186" y="53"/>
                  </a:cubicBezTo>
                  <a:lnTo>
                    <a:pt x="169" y="44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76" name="Freeform 92"/>
            <p:cNvSpPr>
              <a:spLocks/>
            </p:cNvSpPr>
            <p:nvPr/>
          </p:nvSpPr>
          <p:spPr bwMode="auto">
            <a:xfrm>
              <a:off x="3270" y="2072"/>
              <a:ext cx="25" cy="82"/>
            </a:xfrm>
            <a:custGeom>
              <a:avLst/>
              <a:gdLst>
                <a:gd name="T0" fmla="*/ 0 w 67"/>
                <a:gd name="T1" fmla="*/ 0 h 216"/>
                <a:gd name="T2" fmla="*/ 0 w 67"/>
                <a:gd name="T3" fmla="*/ 0 h 216"/>
                <a:gd name="T4" fmla="*/ 0 w 67"/>
                <a:gd name="T5" fmla="*/ 0 h 216"/>
                <a:gd name="T6" fmla="*/ 0 w 67"/>
                <a:gd name="T7" fmla="*/ 0 h 216"/>
                <a:gd name="T8" fmla="*/ 0 w 67"/>
                <a:gd name="T9" fmla="*/ 0 h 216"/>
                <a:gd name="T10" fmla="*/ 0 w 67"/>
                <a:gd name="T11" fmla="*/ 0 h 216"/>
                <a:gd name="T12" fmla="*/ 0 w 67"/>
                <a:gd name="T13" fmla="*/ 0 h 216"/>
                <a:gd name="T14" fmla="*/ 0 w 67"/>
                <a:gd name="T15" fmla="*/ 0 h 216"/>
                <a:gd name="T16" fmla="*/ 0 w 67"/>
                <a:gd name="T17" fmla="*/ 0 h 216"/>
                <a:gd name="T18" fmla="*/ 0 w 67"/>
                <a:gd name="T19" fmla="*/ 0 h 216"/>
                <a:gd name="T20" fmla="*/ 0 w 67"/>
                <a:gd name="T21" fmla="*/ 0 h 216"/>
                <a:gd name="T22" fmla="*/ 0 w 67"/>
                <a:gd name="T23" fmla="*/ 0 h 216"/>
                <a:gd name="T24" fmla="*/ 0 w 67"/>
                <a:gd name="T25" fmla="*/ 0 h 216"/>
                <a:gd name="T26" fmla="*/ 0 w 67"/>
                <a:gd name="T27" fmla="*/ 0 h 216"/>
                <a:gd name="T28" fmla="*/ 0 w 67"/>
                <a:gd name="T29" fmla="*/ 0 h 216"/>
                <a:gd name="T30" fmla="*/ 0 w 67"/>
                <a:gd name="T31" fmla="*/ 0 h 216"/>
                <a:gd name="T32" fmla="*/ 0 w 67"/>
                <a:gd name="T33" fmla="*/ 0 h 216"/>
                <a:gd name="T34" fmla="*/ 0 w 67"/>
                <a:gd name="T35" fmla="*/ 0 h 216"/>
                <a:gd name="T36" fmla="*/ 0 w 67"/>
                <a:gd name="T37" fmla="*/ 0 h 216"/>
                <a:gd name="T38" fmla="*/ 0 w 67"/>
                <a:gd name="T39" fmla="*/ 0 h 216"/>
                <a:gd name="T40" fmla="*/ 0 w 67"/>
                <a:gd name="T41" fmla="*/ 0 h 216"/>
                <a:gd name="T42" fmla="*/ 0 w 67"/>
                <a:gd name="T43" fmla="*/ 0 h 216"/>
                <a:gd name="T44" fmla="*/ 0 w 67"/>
                <a:gd name="T45" fmla="*/ 0 h 216"/>
                <a:gd name="T46" fmla="*/ 0 w 67"/>
                <a:gd name="T47" fmla="*/ 0 h 216"/>
                <a:gd name="T48" fmla="*/ 0 w 67"/>
                <a:gd name="T49" fmla="*/ 0 h 216"/>
                <a:gd name="T50" fmla="*/ 0 w 67"/>
                <a:gd name="T51" fmla="*/ 0 h 216"/>
                <a:gd name="T52" fmla="*/ 0 w 67"/>
                <a:gd name="T53" fmla="*/ 0 h 21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7"/>
                <a:gd name="T82" fmla="*/ 0 h 216"/>
                <a:gd name="T83" fmla="*/ 67 w 67"/>
                <a:gd name="T84" fmla="*/ 216 h 21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7" h="216">
                  <a:moveTo>
                    <a:pt x="0" y="113"/>
                  </a:moveTo>
                  <a:cubicBezTo>
                    <a:pt x="36" y="206"/>
                    <a:pt x="36" y="206"/>
                    <a:pt x="36" y="206"/>
                  </a:cubicBezTo>
                  <a:cubicBezTo>
                    <a:pt x="41" y="216"/>
                    <a:pt x="41" y="216"/>
                    <a:pt x="41" y="216"/>
                  </a:cubicBezTo>
                  <a:cubicBezTo>
                    <a:pt x="41" y="216"/>
                    <a:pt x="45" y="175"/>
                    <a:pt x="45" y="163"/>
                  </a:cubicBezTo>
                  <a:cubicBezTo>
                    <a:pt x="45" y="151"/>
                    <a:pt x="53" y="146"/>
                    <a:pt x="56" y="139"/>
                  </a:cubicBezTo>
                  <a:cubicBezTo>
                    <a:pt x="59" y="132"/>
                    <a:pt x="61" y="124"/>
                    <a:pt x="57" y="120"/>
                  </a:cubicBezTo>
                  <a:cubicBezTo>
                    <a:pt x="53" y="116"/>
                    <a:pt x="51" y="116"/>
                    <a:pt x="51" y="112"/>
                  </a:cubicBezTo>
                  <a:cubicBezTo>
                    <a:pt x="51" y="111"/>
                    <a:pt x="52" y="109"/>
                    <a:pt x="53" y="107"/>
                  </a:cubicBezTo>
                  <a:cubicBezTo>
                    <a:pt x="50" y="105"/>
                    <a:pt x="48" y="104"/>
                    <a:pt x="47" y="105"/>
                  </a:cubicBezTo>
                  <a:cubicBezTo>
                    <a:pt x="44" y="106"/>
                    <a:pt x="39" y="121"/>
                    <a:pt x="33" y="113"/>
                  </a:cubicBezTo>
                  <a:cubicBezTo>
                    <a:pt x="26" y="105"/>
                    <a:pt x="31" y="97"/>
                    <a:pt x="32" y="91"/>
                  </a:cubicBezTo>
                  <a:cubicBezTo>
                    <a:pt x="33" y="85"/>
                    <a:pt x="32" y="72"/>
                    <a:pt x="32" y="72"/>
                  </a:cubicBezTo>
                  <a:cubicBezTo>
                    <a:pt x="32" y="72"/>
                    <a:pt x="33" y="57"/>
                    <a:pt x="39" y="53"/>
                  </a:cubicBezTo>
                  <a:cubicBezTo>
                    <a:pt x="43" y="51"/>
                    <a:pt x="52" y="51"/>
                    <a:pt x="57" y="52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3"/>
                    <a:pt x="53" y="13"/>
                    <a:pt x="48" y="20"/>
                  </a:cubicBezTo>
                  <a:cubicBezTo>
                    <a:pt x="43" y="27"/>
                    <a:pt x="34" y="21"/>
                    <a:pt x="34" y="21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3" y="52"/>
                    <a:pt x="27" y="63"/>
                    <a:pt x="27" y="63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1" y="105"/>
                    <a:pt x="11" y="105"/>
                    <a:pt x="11" y="105"/>
                  </a:cubicBezTo>
                  <a:lnTo>
                    <a:pt x="0" y="113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77" name="Freeform 93"/>
            <p:cNvSpPr>
              <a:spLocks/>
            </p:cNvSpPr>
            <p:nvPr/>
          </p:nvSpPr>
          <p:spPr bwMode="auto">
            <a:xfrm>
              <a:off x="2376" y="2190"/>
              <a:ext cx="152" cy="130"/>
            </a:xfrm>
            <a:custGeom>
              <a:avLst/>
              <a:gdLst>
                <a:gd name="T0" fmla="*/ 0 w 401"/>
                <a:gd name="T1" fmla="*/ 0 h 343"/>
                <a:gd name="T2" fmla="*/ 0 w 401"/>
                <a:gd name="T3" fmla="*/ 0 h 343"/>
                <a:gd name="T4" fmla="*/ 0 w 401"/>
                <a:gd name="T5" fmla="*/ 0 h 343"/>
                <a:gd name="T6" fmla="*/ 0 w 401"/>
                <a:gd name="T7" fmla="*/ 0 h 343"/>
                <a:gd name="T8" fmla="*/ 0 w 401"/>
                <a:gd name="T9" fmla="*/ 0 h 343"/>
                <a:gd name="T10" fmla="*/ 0 w 401"/>
                <a:gd name="T11" fmla="*/ 0 h 343"/>
                <a:gd name="T12" fmla="*/ 0 w 401"/>
                <a:gd name="T13" fmla="*/ 0 h 343"/>
                <a:gd name="T14" fmla="*/ 0 w 401"/>
                <a:gd name="T15" fmla="*/ 0 h 343"/>
                <a:gd name="T16" fmla="*/ 0 w 401"/>
                <a:gd name="T17" fmla="*/ 0 h 343"/>
                <a:gd name="T18" fmla="*/ 0 w 401"/>
                <a:gd name="T19" fmla="*/ 0 h 343"/>
                <a:gd name="T20" fmla="*/ 0 w 401"/>
                <a:gd name="T21" fmla="*/ 0 h 343"/>
                <a:gd name="T22" fmla="*/ 0 w 401"/>
                <a:gd name="T23" fmla="*/ 0 h 343"/>
                <a:gd name="T24" fmla="*/ 0 w 401"/>
                <a:gd name="T25" fmla="*/ 0 h 343"/>
                <a:gd name="T26" fmla="*/ 0 w 401"/>
                <a:gd name="T27" fmla="*/ 0 h 343"/>
                <a:gd name="T28" fmla="*/ 0 w 401"/>
                <a:gd name="T29" fmla="*/ 0 h 343"/>
                <a:gd name="T30" fmla="*/ 0 w 401"/>
                <a:gd name="T31" fmla="*/ 0 h 343"/>
                <a:gd name="T32" fmla="*/ 0 w 401"/>
                <a:gd name="T33" fmla="*/ 0 h 343"/>
                <a:gd name="T34" fmla="*/ 0 w 401"/>
                <a:gd name="T35" fmla="*/ 0 h 343"/>
                <a:gd name="T36" fmla="*/ 0 w 401"/>
                <a:gd name="T37" fmla="*/ 0 h 343"/>
                <a:gd name="T38" fmla="*/ 0 w 401"/>
                <a:gd name="T39" fmla="*/ 0 h 343"/>
                <a:gd name="T40" fmla="*/ 0 w 401"/>
                <a:gd name="T41" fmla="*/ 0 h 343"/>
                <a:gd name="T42" fmla="*/ 0 w 401"/>
                <a:gd name="T43" fmla="*/ 0 h 343"/>
                <a:gd name="T44" fmla="*/ 0 w 401"/>
                <a:gd name="T45" fmla="*/ 0 h 343"/>
                <a:gd name="T46" fmla="*/ 0 w 401"/>
                <a:gd name="T47" fmla="*/ 0 h 343"/>
                <a:gd name="T48" fmla="*/ 0 w 401"/>
                <a:gd name="T49" fmla="*/ 0 h 343"/>
                <a:gd name="T50" fmla="*/ 0 w 401"/>
                <a:gd name="T51" fmla="*/ 0 h 343"/>
                <a:gd name="T52" fmla="*/ 0 w 401"/>
                <a:gd name="T53" fmla="*/ 0 h 343"/>
                <a:gd name="T54" fmla="*/ 0 w 401"/>
                <a:gd name="T55" fmla="*/ 0 h 343"/>
                <a:gd name="T56" fmla="*/ 0 w 401"/>
                <a:gd name="T57" fmla="*/ 0 h 343"/>
                <a:gd name="T58" fmla="*/ 0 w 401"/>
                <a:gd name="T59" fmla="*/ 0 h 343"/>
                <a:gd name="T60" fmla="*/ 0 w 401"/>
                <a:gd name="T61" fmla="*/ 0 h 343"/>
                <a:gd name="T62" fmla="*/ 0 w 401"/>
                <a:gd name="T63" fmla="*/ 0 h 343"/>
                <a:gd name="T64" fmla="*/ 0 w 401"/>
                <a:gd name="T65" fmla="*/ 0 h 343"/>
                <a:gd name="T66" fmla="*/ 0 w 401"/>
                <a:gd name="T67" fmla="*/ 0 h 343"/>
                <a:gd name="T68" fmla="*/ 0 w 401"/>
                <a:gd name="T69" fmla="*/ 0 h 34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01"/>
                <a:gd name="T106" fmla="*/ 0 h 343"/>
                <a:gd name="T107" fmla="*/ 401 w 401"/>
                <a:gd name="T108" fmla="*/ 343 h 34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01" h="343">
                  <a:moveTo>
                    <a:pt x="364" y="0"/>
                  </a:moveTo>
                  <a:cubicBezTo>
                    <a:pt x="192" y="0"/>
                    <a:pt x="192" y="0"/>
                    <a:pt x="192" y="0"/>
                  </a:cubicBezTo>
                  <a:cubicBezTo>
                    <a:pt x="190" y="3"/>
                    <a:pt x="188" y="8"/>
                    <a:pt x="186" y="12"/>
                  </a:cubicBezTo>
                  <a:cubicBezTo>
                    <a:pt x="181" y="25"/>
                    <a:pt x="176" y="47"/>
                    <a:pt x="176" y="47"/>
                  </a:cubicBezTo>
                  <a:cubicBezTo>
                    <a:pt x="176" y="47"/>
                    <a:pt x="164" y="57"/>
                    <a:pt x="160" y="61"/>
                  </a:cubicBezTo>
                  <a:cubicBezTo>
                    <a:pt x="156" y="65"/>
                    <a:pt x="140" y="66"/>
                    <a:pt x="140" y="66"/>
                  </a:cubicBezTo>
                  <a:cubicBezTo>
                    <a:pt x="140" y="66"/>
                    <a:pt x="129" y="63"/>
                    <a:pt x="125" y="72"/>
                  </a:cubicBezTo>
                  <a:cubicBezTo>
                    <a:pt x="121" y="81"/>
                    <a:pt x="123" y="97"/>
                    <a:pt x="123" y="97"/>
                  </a:cubicBezTo>
                  <a:cubicBezTo>
                    <a:pt x="123" y="97"/>
                    <a:pt x="104" y="116"/>
                    <a:pt x="104" y="122"/>
                  </a:cubicBezTo>
                  <a:cubicBezTo>
                    <a:pt x="104" y="128"/>
                    <a:pt x="115" y="145"/>
                    <a:pt x="108" y="158"/>
                  </a:cubicBezTo>
                  <a:cubicBezTo>
                    <a:pt x="101" y="171"/>
                    <a:pt x="92" y="171"/>
                    <a:pt x="92" y="171"/>
                  </a:cubicBezTo>
                  <a:cubicBezTo>
                    <a:pt x="92" y="171"/>
                    <a:pt x="83" y="185"/>
                    <a:pt x="78" y="190"/>
                  </a:cubicBezTo>
                  <a:cubicBezTo>
                    <a:pt x="73" y="195"/>
                    <a:pt x="62" y="197"/>
                    <a:pt x="58" y="201"/>
                  </a:cubicBezTo>
                  <a:cubicBezTo>
                    <a:pt x="54" y="205"/>
                    <a:pt x="52" y="212"/>
                    <a:pt x="52" y="212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49" y="227"/>
                    <a:pt x="45" y="237"/>
                  </a:cubicBezTo>
                  <a:cubicBezTo>
                    <a:pt x="41" y="247"/>
                    <a:pt x="41" y="259"/>
                    <a:pt x="41" y="259"/>
                  </a:cubicBezTo>
                  <a:cubicBezTo>
                    <a:pt x="32" y="259"/>
                    <a:pt x="32" y="259"/>
                    <a:pt x="32" y="259"/>
                  </a:cubicBezTo>
                  <a:cubicBezTo>
                    <a:pt x="32" y="259"/>
                    <a:pt x="42" y="271"/>
                    <a:pt x="31" y="281"/>
                  </a:cubicBezTo>
                  <a:cubicBezTo>
                    <a:pt x="20" y="291"/>
                    <a:pt x="18" y="286"/>
                    <a:pt x="18" y="286"/>
                  </a:cubicBezTo>
                  <a:cubicBezTo>
                    <a:pt x="18" y="286"/>
                    <a:pt x="1" y="304"/>
                    <a:pt x="1" y="318"/>
                  </a:cubicBezTo>
                  <a:cubicBezTo>
                    <a:pt x="1" y="325"/>
                    <a:pt x="1" y="335"/>
                    <a:pt x="0" y="343"/>
                  </a:cubicBezTo>
                  <a:cubicBezTo>
                    <a:pt x="186" y="341"/>
                    <a:pt x="186" y="341"/>
                    <a:pt x="186" y="341"/>
                  </a:cubicBezTo>
                  <a:cubicBezTo>
                    <a:pt x="187" y="272"/>
                    <a:pt x="187" y="272"/>
                    <a:pt x="187" y="272"/>
                  </a:cubicBezTo>
                  <a:cubicBezTo>
                    <a:pt x="187" y="272"/>
                    <a:pt x="178" y="257"/>
                    <a:pt x="189" y="247"/>
                  </a:cubicBezTo>
                  <a:cubicBezTo>
                    <a:pt x="200" y="237"/>
                    <a:pt x="208" y="236"/>
                    <a:pt x="208" y="236"/>
                  </a:cubicBezTo>
                  <a:cubicBezTo>
                    <a:pt x="208" y="236"/>
                    <a:pt x="233" y="237"/>
                    <a:pt x="235" y="231"/>
                  </a:cubicBezTo>
                  <a:cubicBezTo>
                    <a:pt x="237" y="225"/>
                    <a:pt x="238" y="101"/>
                    <a:pt x="238" y="101"/>
                  </a:cubicBezTo>
                  <a:cubicBezTo>
                    <a:pt x="243" y="98"/>
                    <a:pt x="243" y="98"/>
                    <a:pt x="243" y="98"/>
                  </a:cubicBezTo>
                  <a:cubicBezTo>
                    <a:pt x="243" y="88"/>
                    <a:pt x="243" y="88"/>
                    <a:pt x="243" y="88"/>
                  </a:cubicBezTo>
                  <a:cubicBezTo>
                    <a:pt x="391" y="87"/>
                    <a:pt x="391" y="87"/>
                    <a:pt x="391" y="87"/>
                  </a:cubicBezTo>
                  <a:cubicBezTo>
                    <a:pt x="392" y="62"/>
                    <a:pt x="392" y="62"/>
                    <a:pt x="392" y="62"/>
                  </a:cubicBezTo>
                  <a:cubicBezTo>
                    <a:pt x="397" y="58"/>
                    <a:pt x="397" y="58"/>
                    <a:pt x="397" y="58"/>
                  </a:cubicBezTo>
                  <a:cubicBezTo>
                    <a:pt x="401" y="2"/>
                    <a:pt x="401" y="2"/>
                    <a:pt x="401" y="2"/>
                  </a:cubicBezTo>
                  <a:lnTo>
                    <a:pt x="364" y="0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78" name="Freeform 94"/>
            <p:cNvSpPr>
              <a:spLocks/>
            </p:cNvSpPr>
            <p:nvPr/>
          </p:nvSpPr>
          <p:spPr bwMode="auto">
            <a:xfrm>
              <a:off x="2382" y="2494"/>
              <a:ext cx="47" cy="39"/>
            </a:xfrm>
            <a:custGeom>
              <a:avLst/>
              <a:gdLst>
                <a:gd name="T0" fmla="*/ 0 w 125"/>
                <a:gd name="T1" fmla="*/ 0 h 103"/>
                <a:gd name="T2" fmla="*/ 0 w 125"/>
                <a:gd name="T3" fmla="*/ 0 h 103"/>
                <a:gd name="T4" fmla="*/ 0 w 125"/>
                <a:gd name="T5" fmla="*/ 0 h 103"/>
                <a:gd name="T6" fmla="*/ 0 w 125"/>
                <a:gd name="T7" fmla="*/ 0 h 103"/>
                <a:gd name="T8" fmla="*/ 0 w 125"/>
                <a:gd name="T9" fmla="*/ 0 h 103"/>
                <a:gd name="T10" fmla="*/ 0 w 125"/>
                <a:gd name="T11" fmla="*/ 0 h 103"/>
                <a:gd name="T12" fmla="*/ 0 w 125"/>
                <a:gd name="T13" fmla="*/ 0 h 103"/>
                <a:gd name="T14" fmla="*/ 0 w 125"/>
                <a:gd name="T15" fmla="*/ 0 h 103"/>
                <a:gd name="T16" fmla="*/ 0 w 125"/>
                <a:gd name="T17" fmla="*/ 0 h 103"/>
                <a:gd name="T18" fmla="*/ 0 w 125"/>
                <a:gd name="T19" fmla="*/ 0 h 103"/>
                <a:gd name="T20" fmla="*/ 0 w 125"/>
                <a:gd name="T21" fmla="*/ 0 h 103"/>
                <a:gd name="T22" fmla="*/ 0 w 125"/>
                <a:gd name="T23" fmla="*/ 0 h 103"/>
                <a:gd name="T24" fmla="*/ 0 w 125"/>
                <a:gd name="T25" fmla="*/ 0 h 103"/>
                <a:gd name="T26" fmla="*/ 0 w 125"/>
                <a:gd name="T27" fmla="*/ 0 h 103"/>
                <a:gd name="T28" fmla="*/ 0 w 125"/>
                <a:gd name="T29" fmla="*/ 0 h 103"/>
                <a:gd name="T30" fmla="*/ 0 w 125"/>
                <a:gd name="T31" fmla="*/ 0 h 103"/>
                <a:gd name="T32" fmla="*/ 0 w 125"/>
                <a:gd name="T33" fmla="*/ 0 h 103"/>
                <a:gd name="T34" fmla="*/ 0 w 125"/>
                <a:gd name="T35" fmla="*/ 0 h 103"/>
                <a:gd name="T36" fmla="*/ 0 w 125"/>
                <a:gd name="T37" fmla="*/ 0 h 103"/>
                <a:gd name="T38" fmla="*/ 0 w 125"/>
                <a:gd name="T39" fmla="*/ 0 h 103"/>
                <a:gd name="T40" fmla="*/ 0 w 125"/>
                <a:gd name="T41" fmla="*/ 0 h 103"/>
                <a:gd name="T42" fmla="*/ 0 w 125"/>
                <a:gd name="T43" fmla="*/ 0 h 103"/>
                <a:gd name="T44" fmla="*/ 0 w 125"/>
                <a:gd name="T45" fmla="*/ 0 h 10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5"/>
                <a:gd name="T70" fmla="*/ 0 h 103"/>
                <a:gd name="T71" fmla="*/ 125 w 125"/>
                <a:gd name="T72" fmla="*/ 103 h 103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5" h="103">
                  <a:moveTo>
                    <a:pt x="85" y="67"/>
                  </a:moveTo>
                  <a:cubicBezTo>
                    <a:pt x="85" y="67"/>
                    <a:pt x="92" y="60"/>
                    <a:pt x="102" y="60"/>
                  </a:cubicBezTo>
                  <a:cubicBezTo>
                    <a:pt x="112" y="60"/>
                    <a:pt x="123" y="64"/>
                    <a:pt x="124" y="49"/>
                  </a:cubicBezTo>
                  <a:cubicBezTo>
                    <a:pt x="125" y="34"/>
                    <a:pt x="108" y="39"/>
                    <a:pt x="108" y="28"/>
                  </a:cubicBezTo>
                  <a:cubicBezTo>
                    <a:pt x="108" y="17"/>
                    <a:pt x="124" y="19"/>
                    <a:pt x="124" y="19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8" y="56"/>
                    <a:pt x="15" y="50"/>
                  </a:cubicBezTo>
                  <a:cubicBezTo>
                    <a:pt x="22" y="44"/>
                    <a:pt x="46" y="45"/>
                    <a:pt x="46" y="45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3" y="54"/>
                    <a:pt x="39" y="42"/>
                    <a:pt x="37" y="52"/>
                  </a:cubicBezTo>
                  <a:cubicBezTo>
                    <a:pt x="35" y="62"/>
                    <a:pt x="42" y="68"/>
                    <a:pt x="42" y="68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72" y="68"/>
                    <a:pt x="72" y="68"/>
                    <a:pt x="72" y="68"/>
                  </a:cubicBezTo>
                  <a:lnTo>
                    <a:pt x="85" y="67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79" name="Freeform 95"/>
            <p:cNvSpPr>
              <a:spLocks/>
            </p:cNvSpPr>
            <p:nvPr/>
          </p:nvSpPr>
          <p:spPr bwMode="auto">
            <a:xfrm>
              <a:off x="2374" y="2471"/>
              <a:ext cx="58" cy="15"/>
            </a:xfrm>
            <a:custGeom>
              <a:avLst/>
              <a:gdLst>
                <a:gd name="T0" fmla="*/ 0 w 154"/>
                <a:gd name="T1" fmla="*/ 0 h 39"/>
                <a:gd name="T2" fmla="*/ 0 w 154"/>
                <a:gd name="T3" fmla="*/ 0 h 39"/>
                <a:gd name="T4" fmla="*/ 0 w 154"/>
                <a:gd name="T5" fmla="*/ 0 h 39"/>
                <a:gd name="T6" fmla="*/ 0 w 154"/>
                <a:gd name="T7" fmla="*/ 0 h 39"/>
                <a:gd name="T8" fmla="*/ 0 w 154"/>
                <a:gd name="T9" fmla="*/ 0 h 39"/>
                <a:gd name="T10" fmla="*/ 0 w 154"/>
                <a:gd name="T11" fmla="*/ 0 h 39"/>
                <a:gd name="T12" fmla="*/ 0 w 154"/>
                <a:gd name="T13" fmla="*/ 0 h 39"/>
                <a:gd name="T14" fmla="*/ 0 w 154"/>
                <a:gd name="T15" fmla="*/ 0 h 39"/>
                <a:gd name="T16" fmla="*/ 0 w 154"/>
                <a:gd name="T17" fmla="*/ 0 h 39"/>
                <a:gd name="T18" fmla="*/ 0 w 154"/>
                <a:gd name="T19" fmla="*/ 0 h 39"/>
                <a:gd name="T20" fmla="*/ 0 w 154"/>
                <a:gd name="T21" fmla="*/ 0 h 39"/>
                <a:gd name="T22" fmla="*/ 0 w 154"/>
                <a:gd name="T23" fmla="*/ 0 h 39"/>
                <a:gd name="T24" fmla="*/ 0 w 154"/>
                <a:gd name="T25" fmla="*/ 0 h 39"/>
                <a:gd name="T26" fmla="*/ 0 w 154"/>
                <a:gd name="T27" fmla="*/ 0 h 39"/>
                <a:gd name="T28" fmla="*/ 0 w 154"/>
                <a:gd name="T29" fmla="*/ 0 h 39"/>
                <a:gd name="T30" fmla="*/ 0 w 154"/>
                <a:gd name="T31" fmla="*/ 0 h 39"/>
                <a:gd name="T32" fmla="*/ 0 w 154"/>
                <a:gd name="T33" fmla="*/ 0 h 3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4"/>
                <a:gd name="T52" fmla="*/ 0 h 39"/>
                <a:gd name="T53" fmla="*/ 154 w 154"/>
                <a:gd name="T54" fmla="*/ 39 h 3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4" h="39">
                  <a:moveTo>
                    <a:pt x="11" y="15"/>
                  </a:moveTo>
                  <a:cubicBezTo>
                    <a:pt x="11" y="15"/>
                    <a:pt x="1" y="30"/>
                    <a:pt x="0" y="37"/>
                  </a:cubicBezTo>
                  <a:cubicBezTo>
                    <a:pt x="0" y="38"/>
                    <a:pt x="0" y="38"/>
                    <a:pt x="0" y="39"/>
                  </a:cubicBezTo>
                  <a:cubicBezTo>
                    <a:pt x="11" y="39"/>
                    <a:pt x="41" y="39"/>
                    <a:pt x="43" y="39"/>
                  </a:cubicBezTo>
                  <a:cubicBezTo>
                    <a:pt x="46" y="39"/>
                    <a:pt x="47" y="30"/>
                    <a:pt x="47" y="30"/>
                  </a:cubicBezTo>
                  <a:cubicBezTo>
                    <a:pt x="47" y="30"/>
                    <a:pt x="66" y="28"/>
                    <a:pt x="72" y="27"/>
                  </a:cubicBezTo>
                  <a:cubicBezTo>
                    <a:pt x="78" y="26"/>
                    <a:pt x="84" y="15"/>
                    <a:pt x="84" y="15"/>
                  </a:cubicBezTo>
                  <a:cubicBezTo>
                    <a:pt x="84" y="15"/>
                    <a:pt x="100" y="34"/>
                    <a:pt x="118" y="34"/>
                  </a:cubicBezTo>
                  <a:cubicBezTo>
                    <a:pt x="136" y="34"/>
                    <a:pt x="154" y="19"/>
                    <a:pt x="137" y="15"/>
                  </a:cubicBezTo>
                  <a:cubicBezTo>
                    <a:pt x="120" y="11"/>
                    <a:pt x="121" y="21"/>
                    <a:pt x="116" y="20"/>
                  </a:cubicBezTo>
                  <a:cubicBezTo>
                    <a:pt x="111" y="19"/>
                    <a:pt x="103" y="8"/>
                    <a:pt x="103" y="8"/>
                  </a:cubicBezTo>
                  <a:cubicBezTo>
                    <a:pt x="95" y="10"/>
                    <a:pt x="95" y="10"/>
                    <a:pt x="95" y="10"/>
                  </a:cubicBezTo>
                  <a:cubicBezTo>
                    <a:pt x="95" y="10"/>
                    <a:pt x="97" y="0"/>
                    <a:pt x="84" y="2"/>
                  </a:cubicBezTo>
                  <a:cubicBezTo>
                    <a:pt x="71" y="4"/>
                    <a:pt x="59" y="3"/>
                    <a:pt x="59" y="3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0" y="14"/>
                    <a:pt x="11" y="15"/>
                    <a:pt x="11" y="15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80" name="Freeform 96"/>
            <p:cNvSpPr>
              <a:spLocks/>
            </p:cNvSpPr>
            <p:nvPr/>
          </p:nvSpPr>
          <p:spPr bwMode="auto">
            <a:xfrm>
              <a:off x="2462" y="2576"/>
              <a:ext cx="78" cy="89"/>
            </a:xfrm>
            <a:custGeom>
              <a:avLst/>
              <a:gdLst>
                <a:gd name="T0" fmla="*/ 0 w 207"/>
                <a:gd name="T1" fmla="*/ 0 h 236"/>
                <a:gd name="T2" fmla="*/ 0 w 207"/>
                <a:gd name="T3" fmla="*/ 0 h 236"/>
                <a:gd name="T4" fmla="*/ 0 w 207"/>
                <a:gd name="T5" fmla="*/ 0 h 236"/>
                <a:gd name="T6" fmla="*/ 0 w 207"/>
                <a:gd name="T7" fmla="*/ 0 h 236"/>
                <a:gd name="T8" fmla="*/ 0 w 207"/>
                <a:gd name="T9" fmla="*/ 0 h 236"/>
                <a:gd name="T10" fmla="*/ 0 w 207"/>
                <a:gd name="T11" fmla="*/ 0 h 236"/>
                <a:gd name="T12" fmla="*/ 0 w 207"/>
                <a:gd name="T13" fmla="*/ 0 h 236"/>
                <a:gd name="T14" fmla="*/ 0 w 207"/>
                <a:gd name="T15" fmla="*/ 0 h 236"/>
                <a:gd name="T16" fmla="*/ 0 w 207"/>
                <a:gd name="T17" fmla="*/ 0 h 236"/>
                <a:gd name="T18" fmla="*/ 0 w 207"/>
                <a:gd name="T19" fmla="*/ 0 h 236"/>
                <a:gd name="T20" fmla="*/ 0 w 207"/>
                <a:gd name="T21" fmla="*/ 0 h 236"/>
                <a:gd name="T22" fmla="*/ 0 w 207"/>
                <a:gd name="T23" fmla="*/ 0 h 236"/>
                <a:gd name="T24" fmla="*/ 0 w 207"/>
                <a:gd name="T25" fmla="*/ 0 h 236"/>
                <a:gd name="T26" fmla="*/ 0 w 207"/>
                <a:gd name="T27" fmla="*/ 0 h 236"/>
                <a:gd name="T28" fmla="*/ 0 w 207"/>
                <a:gd name="T29" fmla="*/ 0 h 236"/>
                <a:gd name="T30" fmla="*/ 0 w 207"/>
                <a:gd name="T31" fmla="*/ 0 h 236"/>
                <a:gd name="T32" fmla="*/ 0 w 207"/>
                <a:gd name="T33" fmla="*/ 0 h 236"/>
                <a:gd name="T34" fmla="*/ 0 w 207"/>
                <a:gd name="T35" fmla="*/ 0 h 236"/>
                <a:gd name="T36" fmla="*/ 0 w 207"/>
                <a:gd name="T37" fmla="*/ 0 h 236"/>
                <a:gd name="T38" fmla="*/ 0 w 207"/>
                <a:gd name="T39" fmla="*/ 0 h 236"/>
                <a:gd name="T40" fmla="*/ 0 w 207"/>
                <a:gd name="T41" fmla="*/ 0 h 236"/>
                <a:gd name="T42" fmla="*/ 0 w 207"/>
                <a:gd name="T43" fmla="*/ 0 h 236"/>
                <a:gd name="T44" fmla="*/ 0 w 207"/>
                <a:gd name="T45" fmla="*/ 0 h 236"/>
                <a:gd name="T46" fmla="*/ 0 w 207"/>
                <a:gd name="T47" fmla="*/ 0 h 236"/>
                <a:gd name="T48" fmla="*/ 0 w 207"/>
                <a:gd name="T49" fmla="*/ 0 h 236"/>
                <a:gd name="T50" fmla="*/ 0 w 207"/>
                <a:gd name="T51" fmla="*/ 0 h 236"/>
                <a:gd name="T52" fmla="*/ 0 w 207"/>
                <a:gd name="T53" fmla="*/ 0 h 236"/>
                <a:gd name="T54" fmla="*/ 0 w 207"/>
                <a:gd name="T55" fmla="*/ 0 h 236"/>
                <a:gd name="T56" fmla="*/ 0 w 207"/>
                <a:gd name="T57" fmla="*/ 0 h 236"/>
                <a:gd name="T58" fmla="*/ 0 w 207"/>
                <a:gd name="T59" fmla="*/ 0 h 236"/>
                <a:gd name="T60" fmla="*/ 0 w 207"/>
                <a:gd name="T61" fmla="*/ 0 h 236"/>
                <a:gd name="T62" fmla="*/ 0 w 207"/>
                <a:gd name="T63" fmla="*/ 0 h 2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07"/>
                <a:gd name="T97" fmla="*/ 0 h 236"/>
                <a:gd name="T98" fmla="*/ 207 w 207"/>
                <a:gd name="T99" fmla="*/ 236 h 2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07" h="236">
                  <a:moveTo>
                    <a:pt x="207" y="175"/>
                  </a:moveTo>
                  <a:cubicBezTo>
                    <a:pt x="207" y="162"/>
                    <a:pt x="186" y="146"/>
                    <a:pt x="186" y="146"/>
                  </a:cubicBezTo>
                  <a:cubicBezTo>
                    <a:pt x="185" y="129"/>
                    <a:pt x="185" y="129"/>
                    <a:pt x="185" y="129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61" y="123"/>
                    <a:pt x="161" y="123"/>
                    <a:pt x="161" y="123"/>
                  </a:cubicBezTo>
                  <a:cubicBezTo>
                    <a:pt x="161" y="123"/>
                    <a:pt x="149" y="124"/>
                    <a:pt x="148" y="121"/>
                  </a:cubicBezTo>
                  <a:cubicBezTo>
                    <a:pt x="147" y="118"/>
                    <a:pt x="162" y="104"/>
                    <a:pt x="162" y="89"/>
                  </a:cubicBezTo>
                  <a:cubicBezTo>
                    <a:pt x="162" y="79"/>
                    <a:pt x="154" y="65"/>
                    <a:pt x="149" y="55"/>
                  </a:cubicBezTo>
                  <a:cubicBezTo>
                    <a:pt x="147" y="55"/>
                    <a:pt x="146" y="55"/>
                    <a:pt x="145" y="56"/>
                  </a:cubicBezTo>
                  <a:cubicBezTo>
                    <a:pt x="140" y="60"/>
                    <a:pt x="140" y="82"/>
                    <a:pt x="129" y="82"/>
                  </a:cubicBezTo>
                  <a:cubicBezTo>
                    <a:pt x="118" y="82"/>
                    <a:pt x="117" y="72"/>
                    <a:pt x="117" y="72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18" y="26"/>
                    <a:pt x="99" y="13"/>
                  </a:cubicBezTo>
                  <a:cubicBezTo>
                    <a:pt x="80" y="0"/>
                    <a:pt x="83" y="18"/>
                    <a:pt x="83" y="18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9" y="38"/>
                    <a:pt x="55" y="48"/>
                  </a:cubicBezTo>
                  <a:cubicBezTo>
                    <a:pt x="51" y="58"/>
                    <a:pt x="17" y="75"/>
                    <a:pt x="16" y="82"/>
                  </a:cubicBezTo>
                  <a:cubicBezTo>
                    <a:pt x="15" y="86"/>
                    <a:pt x="15" y="97"/>
                    <a:pt x="14" y="1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3" y="115"/>
                    <a:pt x="23" y="115"/>
                    <a:pt x="23" y="115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48" y="135"/>
                    <a:pt x="48" y="135"/>
                    <a:pt x="48" y="135"/>
                  </a:cubicBezTo>
                  <a:cubicBezTo>
                    <a:pt x="48" y="135"/>
                    <a:pt x="66" y="131"/>
                    <a:pt x="70" y="139"/>
                  </a:cubicBezTo>
                  <a:cubicBezTo>
                    <a:pt x="74" y="147"/>
                    <a:pt x="89" y="173"/>
                    <a:pt x="105" y="187"/>
                  </a:cubicBezTo>
                  <a:cubicBezTo>
                    <a:pt x="121" y="201"/>
                    <a:pt x="149" y="208"/>
                    <a:pt x="156" y="213"/>
                  </a:cubicBezTo>
                  <a:cubicBezTo>
                    <a:pt x="163" y="218"/>
                    <a:pt x="180" y="236"/>
                    <a:pt x="195" y="236"/>
                  </a:cubicBezTo>
                  <a:cubicBezTo>
                    <a:pt x="196" y="236"/>
                    <a:pt x="197" y="236"/>
                    <a:pt x="198" y="236"/>
                  </a:cubicBezTo>
                  <a:cubicBezTo>
                    <a:pt x="197" y="209"/>
                    <a:pt x="197" y="209"/>
                    <a:pt x="197" y="209"/>
                  </a:cubicBezTo>
                  <a:cubicBezTo>
                    <a:pt x="197" y="209"/>
                    <a:pt x="207" y="188"/>
                    <a:pt x="207" y="175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81" name="Freeform 97"/>
            <p:cNvSpPr>
              <a:spLocks/>
            </p:cNvSpPr>
            <p:nvPr/>
          </p:nvSpPr>
          <p:spPr bwMode="auto">
            <a:xfrm>
              <a:off x="2435" y="2548"/>
              <a:ext cx="53" cy="67"/>
            </a:xfrm>
            <a:custGeom>
              <a:avLst/>
              <a:gdLst>
                <a:gd name="T0" fmla="*/ 0 w 140"/>
                <a:gd name="T1" fmla="*/ 0 h 179"/>
                <a:gd name="T2" fmla="*/ 0 w 140"/>
                <a:gd name="T3" fmla="*/ 0 h 179"/>
                <a:gd name="T4" fmla="*/ 0 w 140"/>
                <a:gd name="T5" fmla="*/ 0 h 179"/>
                <a:gd name="T6" fmla="*/ 0 w 140"/>
                <a:gd name="T7" fmla="*/ 0 h 179"/>
                <a:gd name="T8" fmla="*/ 0 w 140"/>
                <a:gd name="T9" fmla="*/ 0 h 179"/>
                <a:gd name="T10" fmla="*/ 0 w 140"/>
                <a:gd name="T11" fmla="*/ 0 h 179"/>
                <a:gd name="T12" fmla="*/ 0 w 140"/>
                <a:gd name="T13" fmla="*/ 0 h 179"/>
                <a:gd name="T14" fmla="*/ 0 w 140"/>
                <a:gd name="T15" fmla="*/ 0 h 179"/>
                <a:gd name="T16" fmla="*/ 0 w 140"/>
                <a:gd name="T17" fmla="*/ 0 h 179"/>
                <a:gd name="T18" fmla="*/ 0 w 140"/>
                <a:gd name="T19" fmla="*/ 0 h 179"/>
                <a:gd name="T20" fmla="*/ 0 w 140"/>
                <a:gd name="T21" fmla="*/ 0 h 179"/>
                <a:gd name="T22" fmla="*/ 0 w 140"/>
                <a:gd name="T23" fmla="*/ 0 h 179"/>
                <a:gd name="T24" fmla="*/ 0 w 140"/>
                <a:gd name="T25" fmla="*/ 0 h 179"/>
                <a:gd name="T26" fmla="*/ 0 w 140"/>
                <a:gd name="T27" fmla="*/ 0 h 179"/>
                <a:gd name="T28" fmla="*/ 0 w 140"/>
                <a:gd name="T29" fmla="*/ 0 h 179"/>
                <a:gd name="T30" fmla="*/ 0 w 140"/>
                <a:gd name="T31" fmla="*/ 0 h 179"/>
                <a:gd name="T32" fmla="*/ 0 w 140"/>
                <a:gd name="T33" fmla="*/ 0 h 179"/>
                <a:gd name="T34" fmla="*/ 0 w 140"/>
                <a:gd name="T35" fmla="*/ 0 h 179"/>
                <a:gd name="T36" fmla="*/ 0 w 140"/>
                <a:gd name="T37" fmla="*/ 0 h 179"/>
                <a:gd name="T38" fmla="*/ 0 w 140"/>
                <a:gd name="T39" fmla="*/ 0 h 179"/>
                <a:gd name="T40" fmla="*/ 0 w 140"/>
                <a:gd name="T41" fmla="*/ 0 h 179"/>
                <a:gd name="T42" fmla="*/ 0 w 140"/>
                <a:gd name="T43" fmla="*/ 0 h 179"/>
                <a:gd name="T44" fmla="*/ 0 w 140"/>
                <a:gd name="T45" fmla="*/ 0 h 179"/>
                <a:gd name="T46" fmla="*/ 0 w 140"/>
                <a:gd name="T47" fmla="*/ 0 h 179"/>
                <a:gd name="T48" fmla="*/ 0 w 140"/>
                <a:gd name="T49" fmla="*/ 0 h 17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40"/>
                <a:gd name="T76" fmla="*/ 0 h 179"/>
                <a:gd name="T77" fmla="*/ 140 w 140"/>
                <a:gd name="T78" fmla="*/ 179 h 17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40" h="179">
                  <a:moveTo>
                    <a:pt x="126" y="122"/>
                  </a:moveTo>
                  <a:cubicBezTo>
                    <a:pt x="130" y="112"/>
                    <a:pt x="126" y="108"/>
                    <a:pt x="126" y="108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38" y="88"/>
                    <a:pt x="138" y="88"/>
                    <a:pt x="138" y="88"/>
                  </a:cubicBezTo>
                  <a:cubicBezTo>
                    <a:pt x="119" y="99"/>
                    <a:pt x="119" y="99"/>
                    <a:pt x="119" y="99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31" y="78"/>
                    <a:pt x="131" y="70"/>
                  </a:cubicBezTo>
                  <a:cubicBezTo>
                    <a:pt x="131" y="62"/>
                    <a:pt x="120" y="50"/>
                    <a:pt x="120" y="50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21" y="54"/>
                    <a:pt x="9" y="54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9" y="66"/>
                    <a:pt x="1" y="75"/>
                    <a:pt x="1" y="84"/>
                  </a:cubicBezTo>
                  <a:cubicBezTo>
                    <a:pt x="1" y="93"/>
                    <a:pt x="16" y="103"/>
                    <a:pt x="16" y="103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29" y="132"/>
                    <a:pt x="29" y="132"/>
                    <a:pt x="29" y="132"/>
                  </a:cubicBezTo>
                  <a:cubicBezTo>
                    <a:pt x="29" y="132"/>
                    <a:pt x="28" y="139"/>
                    <a:pt x="37" y="148"/>
                  </a:cubicBezTo>
                  <a:cubicBezTo>
                    <a:pt x="46" y="157"/>
                    <a:pt x="65" y="157"/>
                    <a:pt x="65" y="157"/>
                  </a:cubicBezTo>
                  <a:cubicBezTo>
                    <a:pt x="85" y="179"/>
                    <a:pt x="85" y="179"/>
                    <a:pt x="85" y="179"/>
                  </a:cubicBezTo>
                  <a:cubicBezTo>
                    <a:pt x="86" y="171"/>
                    <a:pt x="86" y="160"/>
                    <a:pt x="87" y="156"/>
                  </a:cubicBezTo>
                  <a:cubicBezTo>
                    <a:pt x="88" y="149"/>
                    <a:pt x="122" y="132"/>
                    <a:pt x="126" y="122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82" name="Freeform 98"/>
            <p:cNvSpPr>
              <a:spLocks/>
            </p:cNvSpPr>
            <p:nvPr/>
          </p:nvSpPr>
          <p:spPr bwMode="auto">
            <a:xfrm>
              <a:off x="3146" y="3335"/>
              <a:ext cx="42" cy="43"/>
            </a:xfrm>
            <a:custGeom>
              <a:avLst/>
              <a:gdLst>
                <a:gd name="T0" fmla="*/ 0 w 111"/>
                <a:gd name="T1" fmla="*/ 0 h 114"/>
                <a:gd name="T2" fmla="*/ 0 w 111"/>
                <a:gd name="T3" fmla="*/ 0 h 114"/>
                <a:gd name="T4" fmla="*/ 0 w 111"/>
                <a:gd name="T5" fmla="*/ 0 h 114"/>
                <a:gd name="T6" fmla="*/ 0 w 111"/>
                <a:gd name="T7" fmla="*/ 0 h 114"/>
                <a:gd name="T8" fmla="*/ 0 w 111"/>
                <a:gd name="T9" fmla="*/ 0 h 114"/>
                <a:gd name="T10" fmla="*/ 0 w 111"/>
                <a:gd name="T11" fmla="*/ 0 h 114"/>
                <a:gd name="T12" fmla="*/ 0 w 111"/>
                <a:gd name="T13" fmla="*/ 0 h 114"/>
                <a:gd name="T14" fmla="*/ 0 w 111"/>
                <a:gd name="T15" fmla="*/ 0 h 114"/>
                <a:gd name="T16" fmla="*/ 0 w 111"/>
                <a:gd name="T17" fmla="*/ 0 h 114"/>
                <a:gd name="T18" fmla="*/ 0 w 111"/>
                <a:gd name="T19" fmla="*/ 0 h 114"/>
                <a:gd name="T20" fmla="*/ 0 w 111"/>
                <a:gd name="T21" fmla="*/ 0 h 114"/>
                <a:gd name="T22" fmla="*/ 0 w 111"/>
                <a:gd name="T23" fmla="*/ 0 h 114"/>
                <a:gd name="T24" fmla="*/ 0 w 111"/>
                <a:gd name="T25" fmla="*/ 0 h 114"/>
                <a:gd name="T26" fmla="*/ 0 w 111"/>
                <a:gd name="T27" fmla="*/ 0 h 114"/>
                <a:gd name="T28" fmla="*/ 0 w 111"/>
                <a:gd name="T29" fmla="*/ 0 h 114"/>
                <a:gd name="T30" fmla="*/ 0 w 111"/>
                <a:gd name="T31" fmla="*/ 0 h 114"/>
                <a:gd name="T32" fmla="*/ 0 w 111"/>
                <a:gd name="T33" fmla="*/ 0 h 114"/>
                <a:gd name="T34" fmla="*/ 0 w 111"/>
                <a:gd name="T35" fmla="*/ 0 h 114"/>
                <a:gd name="T36" fmla="*/ 0 w 111"/>
                <a:gd name="T37" fmla="*/ 0 h 114"/>
                <a:gd name="T38" fmla="*/ 0 w 111"/>
                <a:gd name="T39" fmla="*/ 0 h 114"/>
                <a:gd name="T40" fmla="*/ 0 w 111"/>
                <a:gd name="T41" fmla="*/ 0 h 11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11"/>
                <a:gd name="T64" fmla="*/ 0 h 114"/>
                <a:gd name="T65" fmla="*/ 111 w 111"/>
                <a:gd name="T66" fmla="*/ 114 h 11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11" h="114">
                  <a:moveTo>
                    <a:pt x="0" y="58"/>
                  </a:moveTo>
                  <a:cubicBezTo>
                    <a:pt x="17" y="83"/>
                    <a:pt x="17" y="83"/>
                    <a:pt x="17" y="83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0" y="113"/>
                    <a:pt x="51" y="93"/>
                    <a:pt x="61" y="89"/>
                  </a:cubicBezTo>
                  <a:cubicBezTo>
                    <a:pt x="71" y="85"/>
                    <a:pt x="74" y="87"/>
                    <a:pt x="82" y="85"/>
                  </a:cubicBezTo>
                  <a:cubicBezTo>
                    <a:pt x="90" y="83"/>
                    <a:pt x="99" y="75"/>
                    <a:pt x="99" y="75"/>
                  </a:cubicBezTo>
                  <a:cubicBezTo>
                    <a:pt x="96" y="63"/>
                    <a:pt x="96" y="63"/>
                    <a:pt x="96" y="63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0" y="31"/>
                    <a:pt x="88" y="12"/>
                    <a:pt x="83" y="6"/>
                  </a:cubicBezTo>
                  <a:cubicBezTo>
                    <a:pt x="78" y="0"/>
                    <a:pt x="62" y="5"/>
                    <a:pt x="62" y="5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8"/>
                    <a:pt x="43" y="15"/>
                    <a:pt x="38" y="19"/>
                  </a:cubicBezTo>
                  <a:cubicBezTo>
                    <a:pt x="33" y="23"/>
                    <a:pt x="31" y="33"/>
                    <a:pt x="31" y="33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56"/>
                    <a:pt x="17" y="56"/>
                    <a:pt x="17" y="56"/>
                  </a:cubicBezTo>
                  <a:lnTo>
                    <a:pt x="0" y="58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83" name="Freeform 99"/>
            <p:cNvSpPr>
              <a:spLocks/>
            </p:cNvSpPr>
            <p:nvPr/>
          </p:nvSpPr>
          <p:spPr bwMode="auto">
            <a:xfrm>
              <a:off x="2829" y="2705"/>
              <a:ext cx="106" cy="129"/>
            </a:xfrm>
            <a:custGeom>
              <a:avLst/>
              <a:gdLst>
                <a:gd name="T0" fmla="*/ 0 w 281"/>
                <a:gd name="T1" fmla="*/ 0 h 339"/>
                <a:gd name="T2" fmla="*/ 0 w 281"/>
                <a:gd name="T3" fmla="*/ 0 h 339"/>
                <a:gd name="T4" fmla="*/ 0 w 281"/>
                <a:gd name="T5" fmla="*/ 0 h 339"/>
                <a:gd name="T6" fmla="*/ 0 w 281"/>
                <a:gd name="T7" fmla="*/ 0 h 339"/>
                <a:gd name="T8" fmla="*/ 0 w 281"/>
                <a:gd name="T9" fmla="*/ 0 h 339"/>
                <a:gd name="T10" fmla="*/ 0 w 281"/>
                <a:gd name="T11" fmla="*/ 0 h 339"/>
                <a:gd name="T12" fmla="*/ 0 w 281"/>
                <a:gd name="T13" fmla="*/ 0 h 339"/>
                <a:gd name="T14" fmla="*/ 0 w 281"/>
                <a:gd name="T15" fmla="*/ 0 h 339"/>
                <a:gd name="T16" fmla="*/ 0 w 281"/>
                <a:gd name="T17" fmla="*/ 0 h 339"/>
                <a:gd name="T18" fmla="*/ 0 w 281"/>
                <a:gd name="T19" fmla="*/ 0 h 339"/>
                <a:gd name="T20" fmla="*/ 0 w 281"/>
                <a:gd name="T21" fmla="*/ 0 h 339"/>
                <a:gd name="T22" fmla="*/ 0 w 281"/>
                <a:gd name="T23" fmla="*/ 0 h 339"/>
                <a:gd name="T24" fmla="*/ 0 w 281"/>
                <a:gd name="T25" fmla="*/ 0 h 339"/>
                <a:gd name="T26" fmla="*/ 0 w 281"/>
                <a:gd name="T27" fmla="*/ 0 h 339"/>
                <a:gd name="T28" fmla="*/ 0 w 281"/>
                <a:gd name="T29" fmla="*/ 0 h 339"/>
                <a:gd name="T30" fmla="*/ 0 w 281"/>
                <a:gd name="T31" fmla="*/ 0 h 339"/>
                <a:gd name="T32" fmla="*/ 0 w 281"/>
                <a:gd name="T33" fmla="*/ 0 h 339"/>
                <a:gd name="T34" fmla="*/ 0 w 281"/>
                <a:gd name="T35" fmla="*/ 0 h 339"/>
                <a:gd name="T36" fmla="*/ 0 w 281"/>
                <a:gd name="T37" fmla="*/ 0 h 339"/>
                <a:gd name="T38" fmla="*/ 0 w 281"/>
                <a:gd name="T39" fmla="*/ 0 h 339"/>
                <a:gd name="T40" fmla="*/ 0 w 281"/>
                <a:gd name="T41" fmla="*/ 0 h 339"/>
                <a:gd name="T42" fmla="*/ 0 w 281"/>
                <a:gd name="T43" fmla="*/ 0 h 339"/>
                <a:gd name="T44" fmla="*/ 0 w 281"/>
                <a:gd name="T45" fmla="*/ 0 h 339"/>
                <a:gd name="T46" fmla="*/ 0 w 281"/>
                <a:gd name="T47" fmla="*/ 0 h 339"/>
                <a:gd name="T48" fmla="*/ 0 w 281"/>
                <a:gd name="T49" fmla="*/ 0 h 339"/>
                <a:gd name="T50" fmla="*/ 0 w 281"/>
                <a:gd name="T51" fmla="*/ 0 h 339"/>
                <a:gd name="T52" fmla="*/ 0 w 281"/>
                <a:gd name="T53" fmla="*/ 0 h 339"/>
                <a:gd name="T54" fmla="*/ 0 w 281"/>
                <a:gd name="T55" fmla="*/ 0 h 339"/>
                <a:gd name="T56" fmla="*/ 0 w 281"/>
                <a:gd name="T57" fmla="*/ 0 h 339"/>
                <a:gd name="T58" fmla="*/ 0 w 281"/>
                <a:gd name="T59" fmla="*/ 0 h 339"/>
                <a:gd name="T60" fmla="*/ 0 w 281"/>
                <a:gd name="T61" fmla="*/ 0 h 339"/>
                <a:gd name="T62" fmla="*/ 0 w 281"/>
                <a:gd name="T63" fmla="*/ 0 h 339"/>
                <a:gd name="T64" fmla="*/ 0 w 281"/>
                <a:gd name="T65" fmla="*/ 0 h 339"/>
                <a:gd name="T66" fmla="*/ 0 w 281"/>
                <a:gd name="T67" fmla="*/ 0 h 33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81"/>
                <a:gd name="T103" fmla="*/ 0 h 339"/>
                <a:gd name="T104" fmla="*/ 281 w 281"/>
                <a:gd name="T105" fmla="*/ 339 h 33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81" h="339">
                  <a:moveTo>
                    <a:pt x="279" y="160"/>
                  </a:moveTo>
                  <a:cubicBezTo>
                    <a:pt x="277" y="154"/>
                    <a:pt x="261" y="153"/>
                    <a:pt x="261" y="153"/>
                  </a:cubicBezTo>
                  <a:cubicBezTo>
                    <a:pt x="256" y="141"/>
                    <a:pt x="256" y="141"/>
                    <a:pt x="256" y="141"/>
                  </a:cubicBezTo>
                  <a:cubicBezTo>
                    <a:pt x="244" y="140"/>
                    <a:pt x="244" y="140"/>
                    <a:pt x="244" y="140"/>
                  </a:cubicBezTo>
                  <a:cubicBezTo>
                    <a:pt x="245" y="116"/>
                    <a:pt x="245" y="116"/>
                    <a:pt x="245" y="116"/>
                  </a:cubicBezTo>
                  <a:cubicBezTo>
                    <a:pt x="254" y="100"/>
                    <a:pt x="254" y="100"/>
                    <a:pt x="254" y="100"/>
                  </a:cubicBezTo>
                  <a:cubicBezTo>
                    <a:pt x="254" y="100"/>
                    <a:pt x="261" y="101"/>
                    <a:pt x="267" y="94"/>
                  </a:cubicBezTo>
                  <a:cubicBezTo>
                    <a:pt x="273" y="87"/>
                    <a:pt x="273" y="74"/>
                    <a:pt x="273" y="74"/>
                  </a:cubicBezTo>
                  <a:cubicBezTo>
                    <a:pt x="267" y="70"/>
                    <a:pt x="267" y="70"/>
                    <a:pt x="267" y="70"/>
                  </a:cubicBezTo>
                  <a:cubicBezTo>
                    <a:pt x="267" y="70"/>
                    <a:pt x="266" y="60"/>
                    <a:pt x="263" y="56"/>
                  </a:cubicBezTo>
                  <a:cubicBezTo>
                    <a:pt x="260" y="52"/>
                    <a:pt x="248" y="47"/>
                    <a:pt x="243" y="47"/>
                  </a:cubicBezTo>
                  <a:cubicBezTo>
                    <a:pt x="238" y="47"/>
                    <a:pt x="238" y="62"/>
                    <a:pt x="229" y="62"/>
                  </a:cubicBezTo>
                  <a:cubicBezTo>
                    <a:pt x="220" y="62"/>
                    <a:pt x="212" y="57"/>
                    <a:pt x="212" y="57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20" y="14"/>
                    <a:pt x="220" y="14"/>
                    <a:pt x="220" y="14"/>
                  </a:cubicBezTo>
                  <a:cubicBezTo>
                    <a:pt x="220" y="4"/>
                    <a:pt x="220" y="4"/>
                    <a:pt x="220" y="4"/>
                  </a:cubicBezTo>
                  <a:cubicBezTo>
                    <a:pt x="188" y="5"/>
                    <a:pt x="188" y="5"/>
                    <a:pt x="188" y="5"/>
                  </a:cubicBezTo>
                  <a:cubicBezTo>
                    <a:pt x="188" y="5"/>
                    <a:pt x="181" y="1"/>
                    <a:pt x="177" y="1"/>
                  </a:cubicBezTo>
                  <a:cubicBezTo>
                    <a:pt x="173" y="1"/>
                    <a:pt x="168" y="9"/>
                    <a:pt x="168" y="9"/>
                  </a:cubicBezTo>
                  <a:cubicBezTo>
                    <a:pt x="147" y="9"/>
                    <a:pt x="147" y="9"/>
                    <a:pt x="147" y="9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72"/>
                    <a:pt x="123" y="73"/>
                  </a:cubicBezTo>
                  <a:cubicBezTo>
                    <a:pt x="118" y="74"/>
                    <a:pt x="56" y="75"/>
                    <a:pt x="56" y="75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7" y="72"/>
                    <a:pt x="48" y="72"/>
                    <a:pt x="48" y="72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0" y="77"/>
                    <a:pt x="49" y="105"/>
                    <a:pt x="45" y="107"/>
                  </a:cubicBezTo>
                  <a:cubicBezTo>
                    <a:pt x="41" y="109"/>
                    <a:pt x="30" y="107"/>
                    <a:pt x="30" y="107"/>
                  </a:cubicBezTo>
                  <a:cubicBezTo>
                    <a:pt x="30" y="107"/>
                    <a:pt x="33" y="148"/>
                    <a:pt x="23" y="159"/>
                  </a:cubicBezTo>
                  <a:cubicBezTo>
                    <a:pt x="13" y="170"/>
                    <a:pt x="0" y="166"/>
                    <a:pt x="0" y="166"/>
                  </a:cubicBezTo>
                  <a:cubicBezTo>
                    <a:pt x="17" y="203"/>
                    <a:pt x="17" y="203"/>
                    <a:pt x="17" y="203"/>
                  </a:cubicBezTo>
                  <a:cubicBezTo>
                    <a:pt x="28" y="195"/>
                    <a:pt x="28" y="195"/>
                    <a:pt x="28" y="195"/>
                  </a:cubicBezTo>
                  <a:cubicBezTo>
                    <a:pt x="34" y="208"/>
                    <a:pt x="34" y="208"/>
                    <a:pt x="34" y="208"/>
                  </a:cubicBezTo>
                  <a:cubicBezTo>
                    <a:pt x="34" y="208"/>
                    <a:pt x="25" y="221"/>
                    <a:pt x="27" y="228"/>
                  </a:cubicBezTo>
                  <a:cubicBezTo>
                    <a:pt x="29" y="235"/>
                    <a:pt x="42" y="232"/>
                    <a:pt x="42" y="232"/>
                  </a:cubicBezTo>
                  <a:cubicBezTo>
                    <a:pt x="46" y="259"/>
                    <a:pt x="46" y="259"/>
                    <a:pt x="46" y="259"/>
                  </a:cubicBezTo>
                  <a:cubicBezTo>
                    <a:pt x="66" y="263"/>
                    <a:pt x="66" y="263"/>
                    <a:pt x="66" y="263"/>
                  </a:cubicBezTo>
                  <a:cubicBezTo>
                    <a:pt x="61" y="271"/>
                    <a:pt x="61" y="271"/>
                    <a:pt x="61" y="271"/>
                  </a:cubicBezTo>
                  <a:cubicBezTo>
                    <a:pt x="94" y="306"/>
                    <a:pt x="94" y="306"/>
                    <a:pt x="94" y="306"/>
                  </a:cubicBezTo>
                  <a:cubicBezTo>
                    <a:pt x="91" y="311"/>
                    <a:pt x="91" y="311"/>
                    <a:pt x="91" y="311"/>
                  </a:cubicBezTo>
                  <a:cubicBezTo>
                    <a:pt x="113" y="338"/>
                    <a:pt x="113" y="338"/>
                    <a:pt x="113" y="338"/>
                  </a:cubicBezTo>
                  <a:cubicBezTo>
                    <a:pt x="114" y="339"/>
                    <a:pt x="114" y="339"/>
                    <a:pt x="114" y="339"/>
                  </a:cubicBezTo>
                  <a:cubicBezTo>
                    <a:pt x="119" y="326"/>
                    <a:pt x="119" y="326"/>
                    <a:pt x="119" y="326"/>
                  </a:cubicBezTo>
                  <a:cubicBezTo>
                    <a:pt x="133" y="317"/>
                    <a:pt x="133" y="317"/>
                    <a:pt x="133" y="317"/>
                  </a:cubicBezTo>
                  <a:cubicBezTo>
                    <a:pt x="133" y="317"/>
                    <a:pt x="148" y="335"/>
                    <a:pt x="152" y="326"/>
                  </a:cubicBezTo>
                  <a:cubicBezTo>
                    <a:pt x="156" y="317"/>
                    <a:pt x="152" y="304"/>
                    <a:pt x="152" y="304"/>
                  </a:cubicBezTo>
                  <a:cubicBezTo>
                    <a:pt x="140" y="296"/>
                    <a:pt x="140" y="296"/>
                    <a:pt x="140" y="296"/>
                  </a:cubicBezTo>
                  <a:cubicBezTo>
                    <a:pt x="149" y="287"/>
                    <a:pt x="149" y="287"/>
                    <a:pt x="149" y="287"/>
                  </a:cubicBezTo>
                  <a:cubicBezTo>
                    <a:pt x="132" y="274"/>
                    <a:pt x="132" y="274"/>
                    <a:pt x="132" y="274"/>
                  </a:cubicBezTo>
                  <a:cubicBezTo>
                    <a:pt x="139" y="274"/>
                    <a:pt x="139" y="274"/>
                    <a:pt x="139" y="274"/>
                  </a:cubicBezTo>
                  <a:cubicBezTo>
                    <a:pt x="139" y="274"/>
                    <a:pt x="132" y="249"/>
                    <a:pt x="138" y="251"/>
                  </a:cubicBezTo>
                  <a:cubicBezTo>
                    <a:pt x="144" y="253"/>
                    <a:pt x="168" y="262"/>
                    <a:pt x="172" y="257"/>
                  </a:cubicBezTo>
                  <a:cubicBezTo>
                    <a:pt x="176" y="252"/>
                    <a:pt x="185" y="244"/>
                    <a:pt x="185" y="244"/>
                  </a:cubicBezTo>
                  <a:cubicBezTo>
                    <a:pt x="185" y="244"/>
                    <a:pt x="172" y="226"/>
                    <a:pt x="178" y="225"/>
                  </a:cubicBezTo>
                  <a:cubicBezTo>
                    <a:pt x="184" y="224"/>
                    <a:pt x="195" y="226"/>
                    <a:pt x="195" y="226"/>
                  </a:cubicBezTo>
                  <a:cubicBezTo>
                    <a:pt x="204" y="255"/>
                    <a:pt x="204" y="255"/>
                    <a:pt x="204" y="255"/>
                  </a:cubicBezTo>
                  <a:cubicBezTo>
                    <a:pt x="204" y="255"/>
                    <a:pt x="218" y="256"/>
                    <a:pt x="226" y="254"/>
                  </a:cubicBezTo>
                  <a:cubicBezTo>
                    <a:pt x="234" y="252"/>
                    <a:pt x="237" y="236"/>
                    <a:pt x="241" y="239"/>
                  </a:cubicBezTo>
                  <a:cubicBezTo>
                    <a:pt x="245" y="242"/>
                    <a:pt x="238" y="264"/>
                    <a:pt x="248" y="264"/>
                  </a:cubicBezTo>
                  <a:cubicBezTo>
                    <a:pt x="258" y="264"/>
                    <a:pt x="260" y="258"/>
                    <a:pt x="260" y="244"/>
                  </a:cubicBezTo>
                  <a:cubicBezTo>
                    <a:pt x="260" y="230"/>
                    <a:pt x="273" y="226"/>
                    <a:pt x="273" y="226"/>
                  </a:cubicBezTo>
                  <a:cubicBezTo>
                    <a:pt x="269" y="212"/>
                    <a:pt x="269" y="212"/>
                    <a:pt x="269" y="212"/>
                  </a:cubicBezTo>
                  <a:cubicBezTo>
                    <a:pt x="273" y="201"/>
                    <a:pt x="273" y="201"/>
                    <a:pt x="273" y="201"/>
                  </a:cubicBezTo>
                  <a:cubicBezTo>
                    <a:pt x="272" y="171"/>
                    <a:pt x="272" y="171"/>
                    <a:pt x="272" y="171"/>
                  </a:cubicBezTo>
                  <a:cubicBezTo>
                    <a:pt x="272" y="171"/>
                    <a:pt x="281" y="166"/>
                    <a:pt x="279" y="160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84" name="Freeform 100"/>
            <p:cNvSpPr>
              <a:spLocks/>
            </p:cNvSpPr>
            <p:nvPr/>
          </p:nvSpPr>
          <p:spPr bwMode="auto">
            <a:xfrm>
              <a:off x="3215" y="3278"/>
              <a:ext cx="28" cy="33"/>
            </a:xfrm>
            <a:custGeom>
              <a:avLst/>
              <a:gdLst>
                <a:gd name="T0" fmla="*/ 0 w 73"/>
                <a:gd name="T1" fmla="*/ 0 h 87"/>
                <a:gd name="T2" fmla="*/ 0 w 73"/>
                <a:gd name="T3" fmla="*/ 0 h 87"/>
                <a:gd name="T4" fmla="*/ 0 w 73"/>
                <a:gd name="T5" fmla="*/ 0 h 87"/>
                <a:gd name="T6" fmla="*/ 0 w 73"/>
                <a:gd name="T7" fmla="*/ 0 h 87"/>
                <a:gd name="T8" fmla="*/ 0 w 73"/>
                <a:gd name="T9" fmla="*/ 0 h 87"/>
                <a:gd name="T10" fmla="*/ 0 w 73"/>
                <a:gd name="T11" fmla="*/ 0 h 87"/>
                <a:gd name="T12" fmla="*/ 0 w 73"/>
                <a:gd name="T13" fmla="*/ 0 h 87"/>
                <a:gd name="T14" fmla="*/ 0 w 73"/>
                <a:gd name="T15" fmla="*/ 0 h 87"/>
                <a:gd name="T16" fmla="*/ 0 w 73"/>
                <a:gd name="T17" fmla="*/ 0 h 87"/>
                <a:gd name="T18" fmla="*/ 0 w 73"/>
                <a:gd name="T19" fmla="*/ 0 h 87"/>
                <a:gd name="T20" fmla="*/ 0 w 73"/>
                <a:gd name="T21" fmla="*/ 0 h 87"/>
                <a:gd name="T22" fmla="*/ 0 w 73"/>
                <a:gd name="T23" fmla="*/ 0 h 8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3"/>
                <a:gd name="T37" fmla="*/ 0 h 87"/>
                <a:gd name="T38" fmla="*/ 73 w 73"/>
                <a:gd name="T39" fmla="*/ 87 h 8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3" h="87">
                  <a:moveTo>
                    <a:pt x="59" y="35"/>
                  </a:moveTo>
                  <a:cubicBezTo>
                    <a:pt x="57" y="28"/>
                    <a:pt x="62" y="11"/>
                    <a:pt x="62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34" y="0"/>
                    <a:pt x="27" y="0"/>
                  </a:cubicBezTo>
                  <a:cubicBezTo>
                    <a:pt x="20" y="0"/>
                    <a:pt x="14" y="25"/>
                    <a:pt x="11" y="29"/>
                  </a:cubicBezTo>
                  <a:cubicBezTo>
                    <a:pt x="8" y="33"/>
                    <a:pt x="0" y="46"/>
                    <a:pt x="2" y="58"/>
                  </a:cubicBezTo>
                  <a:cubicBezTo>
                    <a:pt x="4" y="70"/>
                    <a:pt x="27" y="86"/>
                    <a:pt x="34" y="86"/>
                  </a:cubicBezTo>
                  <a:cubicBezTo>
                    <a:pt x="41" y="86"/>
                    <a:pt x="56" y="87"/>
                    <a:pt x="56" y="87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3" y="62"/>
                    <a:pt x="68" y="59"/>
                    <a:pt x="73" y="58"/>
                  </a:cubicBezTo>
                  <a:cubicBezTo>
                    <a:pt x="69" y="42"/>
                    <a:pt x="69" y="42"/>
                    <a:pt x="69" y="42"/>
                  </a:cubicBezTo>
                  <a:cubicBezTo>
                    <a:pt x="69" y="42"/>
                    <a:pt x="62" y="42"/>
                    <a:pt x="59" y="35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85" name="Freeform 101"/>
            <p:cNvSpPr>
              <a:spLocks/>
            </p:cNvSpPr>
            <p:nvPr/>
          </p:nvSpPr>
          <p:spPr bwMode="auto">
            <a:xfrm>
              <a:off x="2882" y="3099"/>
              <a:ext cx="241" cy="246"/>
            </a:xfrm>
            <a:custGeom>
              <a:avLst/>
              <a:gdLst>
                <a:gd name="T0" fmla="*/ 0 w 635"/>
                <a:gd name="T1" fmla="*/ 0 h 648"/>
                <a:gd name="T2" fmla="*/ 0 w 635"/>
                <a:gd name="T3" fmla="*/ 0 h 648"/>
                <a:gd name="T4" fmla="*/ 0 w 635"/>
                <a:gd name="T5" fmla="*/ 0 h 648"/>
                <a:gd name="T6" fmla="*/ 0 w 635"/>
                <a:gd name="T7" fmla="*/ 0 h 648"/>
                <a:gd name="T8" fmla="*/ 0 w 635"/>
                <a:gd name="T9" fmla="*/ 0 h 648"/>
                <a:gd name="T10" fmla="*/ 0 w 635"/>
                <a:gd name="T11" fmla="*/ 0 h 648"/>
                <a:gd name="T12" fmla="*/ 0 w 635"/>
                <a:gd name="T13" fmla="*/ 0 h 648"/>
                <a:gd name="T14" fmla="*/ 0 w 635"/>
                <a:gd name="T15" fmla="*/ 0 h 648"/>
                <a:gd name="T16" fmla="*/ 0 w 635"/>
                <a:gd name="T17" fmla="*/ 0 h 648"/>
                <a:gd name="T18" fmla="*/ 0 w 635"/>
                <a:gd name="T19" fmla="*/ 0 h 648"/>
                <a:gd name="T20" fmla="*/ 0 w 635"/>
                <a:gd name="T21" fmla="*/ 0 h 648"/>
                <a:gd name="T22" fmla="*/ 0 w 635"/>
                <a:gd name="T23" fmla="*/ 0 h 648"/>
                <a:gd name="T24" fmla="*/ 0 w 635"/>
                <a:gd name="T25" fmla="*/ 0 h 648"/>
                <a:gd name="T26" fmla="*/ 0 w 635"/>
                <a:gd name="T27" fmla="*/ 0 h 648"/>
                <a:gd name="T28" fmla="*/ 0 w 635"/>
                <a:gd name="T29" fmla="*/ 0 h 648"/>
                <a:gd name="T30" fmla="*/ 0 w 635"/>
                <a:gd name="T31" fmla="*/ 0 h 648"/>
                <a:gd name="T32" fmla="*/ 0 w 635"/>
                <a:gd name="T33" fmla="*/ 0 h 648"/>
                <a:gd name="T34" fmla="*/ 0 w 635"/>
                <a:gd name="T35" fmla="*/ 0 h 648"/>
                <a:gd name="T36" fmla="*/ 0 w 635"/>
                <a:gd name="T37" fmla="*/ 0 h 648"/>
                <a:gd name="T38" fmla="*/ 0 w 635"/>
                <a:gd name="T39" fmla="*/ 0 h 648"/>
                <a:gd name="T40" fmla="*/ 0 w 635"/>
                <a:gd name="T41" fmla="*/ 0 h 648"/>
                <a:gd name="T42" fmla="*/ 0 w 635"/>
                <a:gd name="T43" fmla="*/ 0 h 648"/>
                <a:gd name="T44" fmla="*/ 0 w 635"/>
                <a:gd name="T45" fmla="*/ 0 h 648"/>
                <a:gd name="T46" fmla="*/ 0 w 635"/>
                <a:gd name="T47" fmla="*/ 0 h 648"/>
                <a:gd name="T48" fmla="*/ 0 w 635"/>
                <a:gd name="T49" fmla="*/ 0 h 648"/>
                <a:gd name="T50" fmla="*/ 0 w 635"/>
                <a:gd name="T51" fmla="*/ 0 h 648"/>
                <a:gd name="T52" fmla="*/ 0 w 635"/>
                <a:gd name="T53" fmla="*/ 0 h 648"/>
                <a:gd name="T54" fmla="*/ 0 w 635"/>
                <a:gd name="T55" fmla="*/ 0 h 648"/>
                <a:gd name="T56" fmla="*/ 0 w 635"/>
                <a:gd name="T57" fmla="*/ 0 h 648"/>
                <a:gd name="T58" fmla="*/ 0 w 635"/>
                <a:gd name="T59" fmla="*/ 0 h 648"/>
                <a:gd name="T60" fmla="*/ 0 w 635"/>
                <a:gd name="T61" fmla="*/ 0 h 648"/>
                <a:gd name="T62" fmla="*/ 0 w 635"/>
                <a:gd name="T63" fmla="*/ 0 h 648"/>
                <a:gd name="T64" fmla="*/ 0 w 635"/>
                <a:gd name="T65" fmla="*/ 0 h 648"/>
                <a:gd name="T66" fmla="*/ 0 w 635"/>
                <a:gd name="T67" fmla="*/ 0 h 648"/>
                <a:gd name="T68" fmla="*/ 0 w 635"/>
                <a:gd name="T69" fmla="*/ 0 h 6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35"/>
                <a:gd name="T106" fmla="*/ 0 h 648"/>
                <a:gd name="T107" fmla="*/ 635 w 635"/>
                <a:gd name="T108" fmla="*/ 648 h 64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35" h="648">
                  <a:moveTo>
                    <a:pt x="243" y="596"/>
                  </a:moveTo>
                  <a:cubicBezTo>
                    <a:pt x="247" y="597"/>
                    <a:pt x="257" y="609"/>
                    <a:pt x="257" y="609"/>
                  </a:cubicBezTo>
                  <a:cubicBezTo>
                    <a:pt x="257" y="609"/>
                    <a:pt x="256" y="624"/>
                    <a:pt x="261" y="631"/>
                  </a:cubicBezTo>
                  <a:cubicBezTo>
                    <a:pt x="265" y="638"/>
                    <a:pt x="274" y="632"/>
                    <a:pt x="281" y="636"/>
                  </a:cubicBezTo>
                  <a:cubicBezTo>
                    <a:pt x="288" y="640"/>
                    <a:pt x="292" y="648"/>
                    <a:pt x="292" y="648"/>
                  </a:cubicBezTo>
                  <a:cubicBezTo>
                    <a:pt x="304" y="648"/>
                    <a:pt x="304" y="648"/>
                    <a:pt x="304" y="648"/>
                  </a:cubicBezTo>
                  <a:cubicBezTo>
                    <a:pt x="304" y="648"/>
                    <a:pt x="310" y="640"/>
                    <a:pt x="318" y="640"/>
                  </a:cubicBezTo>
                  <a:cubicBezTo>
                    <a:pt x="326" y="640"/>
                    <a:pt x="330" y="646"/>
                    <a:pt x="330" y="646"/>
                  </a:cubicBezTo>
                  <a:cubicBezTo>
                    <a:pt x="330" y="646"/>
                    <a:pt x="337" y="646"/>
                    <a:pt x="342" y="646"/>
                  </a:cubicBezTo>
                  <a:cubicBezTo>
                    <a:pt x="348" y="646"/>
                    <a:pt x="345" y="632"/>
                    <a:pt x="345" y="632"/>
                  </a:cubicBezTo>
                  <a:cubicBezTo>
                    <a:pt x="353" y="630"/>
                    <a:pt x="353" y="630"/>
                    <a:pt x="353" y="630"/>
                  </a:cubicBezTo>
                  <a:cubicBezTo>
                    <a:pt x="353" y="630"/>
                    <a:pt x="351" y="625"/>
                    <a:pt x="358" y="622"/>
                  </a:cubicBezTo>
                  <a:cubicBezTo>
                    <a:pt x="365" y="619"/>
                    <a:pt x="379" y="618"/>
                    <a:pt x="379" y="618"/>
                  </a:cubicBezTo>
                  <a:cubicBezTo>
                    <a:pt x="384" y="273"/>
                    <a:pt x="384" y="273"/>
                    <a:pt x="384" y="273"/>
                  </a:cubicBezTo>
                  <a:cubicBezTo>
                    <a:pt x="432" y="273"/>
                    <a:pt x="432" y="273"/>
                    <a:pt x="432" y="273"/>
                  </a:cubicBezTo>
                  <a:cubicBezTo>
                    <a:pt x="431" y="192"/>
                    <a:pt x="431" y="192"/>
                    <a:pt x="431" y="192"/>
                  </a:cubicBezTo>
                  <a:cubicBezTo>
                    <a:pt x="435" y="188"/>
                    <a:pt x="435" y="188"/>
                    <a:pt x="435" y="188"/>
                  </a:cubicBezTo>
                  <a:cubicBezTo>
                    <a:pt x="435" y="71"/>
                    <a:pt x="435" y="71"/>
                    <a:pt x="435" y="71"/>
                  </a:cubicBezTo>
                  <a:cubicBezTo>
                    <a:pt x="435" y="71"/>
                    <a:pt x="474" y="68"/>
                    <a:pt x="496" y="65"/>
                  </a:cubicBezTo>
                  <a:cubicBezTo>
                    <a:pt x="517" y="63"/>
                    <a:pt x="533" y="55"/>
                    <a:pt x="541" y="55"/>
                  </a:cubicBezTo>
                  <a:cubicBezTo>
                    <a:pt x="550" y="55"/>
                    <a:pt x="548" y="69"/>
                    <a:pt x="548" y="69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6" y="83"/>
                    <a:pt x="559" y="82"/>
                  </a:cubicBezTo>
                  <a:cubicBezTo>
                    <a:pt x="562" y="81"/>
                    <a:pt x="572" y="68"/>
                    <a:pt x="577" y="63"/>
                  </a:cubicBezTo>
                  <a:cubicBezTo>
                    <a:pt x="583" y="57"/>
                    <a:pt x="593" y="55"/>
                    <a:pt x="593" y="55"/>
                  </a:cubicBezTo>
                  <a:cubicBezTo>
                    <a:pt x="601" y="55"/>
                    <a:pt x="601" y="55"/>
                    <a:pt x="601" y="55"/>
                  </a:cubicBezTo>
                  <a:cubicBezTo>
                    <a:pt x="612" y="47"/>
                    <a:pt x="612" y="47"/>
                    <a:pt x="612" y="47"/>
                  </a:cubicBezTo>
                  <a:cubicBezTo>
                    <a:pt x="635" y="45"/>
                    <a:pt x="635" y="45"/>
                    <a:pt x="635" y="45"/>
                  </a:cubicBezTo>
                  <a:cubicBezTo>
                    <a:pt x="622" y="32"/>
                    <a:pt x="622" y="32"/>
                    <a:pt x="622" y="32"/>
                  </a:cubicBezTo>
                  <a:cubicBezTo>
                    <a:pt x="602" y="34"/>
                    <a:pt x="602" y="34"/>
                    <a:pt x="602" y="34"/>
                  </a:cubicBezTo>
                  <a:cubicBezTo>
                    <a:pt x="602" y="34"/>
                    <a:pt x="601" y="26"/>
                    <a:pt x="592" y="26"/>
                  </a:cubicBezTo>
                  <a:cubicBezTo>
                    <a:pt x="583" y="26"/>
                    <a:pt x="576" y="31"/>
                    <a:pt x="576" y="31"/>
                  </a:cubicBezTo>
                  <a:cubicBezTo>
                    <a:pt x="563" y="39"/>
                    <a:pt x="563" y="39"/>
                    <a:pt x="563" y="39"/>
                  </a:cubicBezTo>
                  <a:cubicBezTo>
                    <a:pt x="548" y="35"/>
                    <a:pt x="548" y="35"/>
                    <a:pt x="548" y="35"/>
                  </a:cubicBezTo>
                  <a:cubicBezTo>
                    <a:pt x="548" y="35"/>
                    <a:pt x="488" y="55"/>
                    <a:pt x="460" y="55"/>
                  </a:cubicBezTo>
                  <a:cubicBezTo>
                    <a:pt x="432" y="55"/>
                    <a:pt x="414" y="55"/>
                    <a:pt x="414" y="55"/>
                  </a:cubicBezTo>
                  <a:cubicBezTo>
                    <a:pt x="408" y="49"/>
                    <a:pt x="408" y="49"/>
                    <a:pt x="408" y="49"/>
                  </a:cubicBezTo>
                  <a:cubicBezTo>
                    <a:pt x="362" y="50"/>
                    <a:pt x="362" y="50"/>
                    <a:pt x="362" y="50"/>
                  </a:cubicBezTo>
                  <a:cubicBezTo>
                    <a:pt x="358" y="44"/>
                    <a:pt x="358" y="44"/>
                    <a:pt x="358" y="44"/>
                  </a:cubicBezTo>
                  <a:cubicBezTo>
                    <a:pt x="358" y="44"/>
                    <a:pt x="342" y="46"/>
                    <a:pt x="335" y="44"/>
                  </a:cubicBezTo>
                  <a:cubicBezTo>
                    <a:pt x="328" y="42"/>
                    <a:pt x="319" y="23"/>
                    <a:pt x="319" y="23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82" y="12"/>
                    <a:pt x="78" y="1"/>
                  </a:cubicBezTo>
                  <a:cubicBezTo>
                    <a:pt x="79" y="2"/>
                    <a:pt x="58" y="0"/>
                    <a:pt x="58" y="0"/>
                  </a:cubicBezTo>
                  <a:cubicBezTo>
                    <a:pt x="58" y="0"/>
                    <a:pt x="54" y="14"/>
                    <a:pt x="47" y="15"/>
                  </a:cubicBezTo>
                  <a:cubicBezTo>
                    <a:pt x="40" y="16"/>
                    <a:pt x="28" y="16"/>
                    <a:pt x="28" y="16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2"/>
                    <a:pt x="13" y="79"/>
                    <a:pt x="22" y="92"/>
                  </a:cubicBezTo>
                  <a:cubicBezTo>
                    <a:pt x="31" y="105"/>
                    <a:pt x="64" y="153"/>
                    <a:pt x="65" y="170"/>
                  </a:cubicBezTo>
                  <a:cubicBezTo>
                    <a:pt x="66" y="187"/>
                    <a:pt x="79" y="204"/>
                    <a:pt x="83" y="217"/>
                  </a:cubicBezTo>
                  <a:cubicBezTo>
                    <a:pt x="87" y="230"/>
                    <a:pt x="102" y="245"/>
                    <a:pt x="102" y="245"/>
                  </a:cubicBezTo>
                  <a:cubicBezTo>
                    <a:pt x="102" y="259"/>
                    <a:pt x="102" y="259"/>
                    <a:pt x="102" y="259"/>
                  </a:cubicBezTo>
                  <a:cubicBezTo>
                    <a:pt x="102" y="259"/>
                    <a:pt x="131" y="280"/>
                    <a:pt x="131" y="296"/>
                  </a:cubicBezTo>
                  <a:cubicBezTo>
                    <a:pt x="131" y="312"/>
                    <a:pt x="129" y="386"/>
                    <a:pt x="129" y="386"/>
                  </a:cubicBezTo>
                  <a:cubicBezTo>
                    <a:pt x="129" y="386"/>
                    <a:pt x="144" y="411"/>
                    <a:pt x="146" y="431"/>
                  </a:cubicBezTo>
                  <a:cubicBezTo>
                    <a:pt x="148" y="451"/>
                    <a:pt x="140" y="451"/>
                    <a:pt x="140" y="451"/>
                  </a:cubicBezTo>
                  <a:cubicBezTo>
                    <a:pt x="149" y="484"/>
                    <a:pt x="149" y="484"/>
                    <a:pt x="149" y="484"/>
                  </a:cubicBezTo>
                  <a:cubicBezTo>
                    <a:pt x="151" y="508"/>
                    <a:pt x="151" y="508"/>
                    <a:pt x="151" y="508"/>
                  </a:cubicBezTo>
                  <a:cubicBezTo>
                    <a:pt x="159" y="508"/>
                    <a:pt x="159" y="508"/>
                    <a:pt x="159" y="508"/>
                  </a:cubicBezTo>
                  <a:cubicBezTo>
                    <a:pt x="159" y="508"/>
                    <a:pt x="156" y="528"/>
                    <a:pt x="157" y="532"/>
                  </a:cubicBezTo>
                  <a:cubicBezTo>
                    <a:pt x="158" y="536"/>
                    <a:pt x="168" y="544"/>
                    <a:pt x="168" y="544"/>
                  </a:cubicBezTo>
                  <a:cubicBezTo>
                    <a:pt x="169" y="563"/>
                    <a:pt x="169" y="563"/>
                    <a:pt x="169" y="563"/>
                  </a:cubicBezTo>
                  <a:cubicBezTo>
                    <a:pt x="169" y="563"/>
                    <a:pt x="184" y="595"/>
                    <a:pt x="190" y="606"/>
                  </a:cubicBezTo>
                  <a:cubicBezTo>
                    <a:pt x="196" y="617"/>
                    <a:pt x="216" y="624"/>
                    <a:pt x="216" y="624"/>
                  </a:cubicBezTo>
                  <a:cubicBezTo>
                    <a:pt x="216" y="624"/>
                    <a:pt x="216" y="624"/>
                    <a:pt x="216" y="625"/>
                  </a:cubicBezTo>
                  <a:cubicBezTo>
                    <a:pt x="228" y="619"/>
                    <a:pt x="228" y="619"/>
                    <a:pt x="228" y="619"/>
                  </a:cubicBezTo>
                  <a:cubicBezTo>
                    <a:pt x="228" y="619"/>
                    <a:pt x="239" y="595"/>
                    <a:pt x="243" y="596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86" name="Freeform 102"/>
            <p:cNvSpPr>
              <a:spLocks/>
            </p:cNvSpPr>
            <p:nvPr/>
          </p:nvSpPr>
          <p:spPr bwMode="auto">
            <a:xfrm>
              <a:off x="3123" y="3072"/>
              <a:ext cx="141" cy="139"/>
            </a:xfrm>
            <a:custGeom>
              <a:avLst/>
              <a:gdLst>
                <a:gd name="T0" fmla="*/ 0 w 372"/>
                <a:gd name="T1" fmla="*/ 0 h 366"/>
                <a:gd name="T2" fmla="*/ 0 w 372"/>
                <a:gd name="T3" fmla="*/ 0 h 366"/>
                <a:gd name="T4" fmla="*/ 0 w 372"/>
                <a:gd name="T5" fmla="*/ 0 h 366"/>
                <a:gd name="T6" fmla="*/ 0 w 372"/>
                <a:gd name="T7" fmla="*/ 0 h 366"/>
                <a:gd name="T8" fmla="*/ 0 w 372"/>
                <a:gd name="T9" fmla="*/ 0 h 366"/>
                <a:gd name="T10" fmla="*/ 0 w 372"/>
                <a:gd name="T11" fmla="*/ 0 h 366"/>
                <a:gd name="T12" fmla="*/ 0 w 372"/>
                <a:gd name="T13" fmla="*/ 0 h 366"/>
                <a:gd name="T14" fmla="*/ 0 w 372"/>
                <a:gd name="T15" fmla="*/ 0 h 366"/>
                <a:gd name="T16" fmla="*/ 0 w 372"/>
                <a:gd name="T17" fmla="*/ 0 h 366"/>
                <a:gd name="T18" fmla="*/ 0 w 372"/>
                <a:gd name="T19" fmla="*/ 0 h 366"/>
                <a:gd name="T20" fmla="*/ 0 w 372"/>
                <a:gd name="T21" fmla="*/ 0 h 366"/>
                <a:gd name="T22" fmla="*/ 0 w 372"/>
                <a:gd name="T23" fmla="*/ 0 h 366"/>
                <a:gd name="T24" fmla="*/ 0 w 372"/>
                <a:gd name="T25" fmla="*/ 0 h 366"/>
                <a:gd name="T26" fmla="*/ 0 w 372"/>
                <a:gd name="T27" fmla="*/ 0 h 366"/>
                <a:gd name="T28" fmla="*/ 0 w 372"/>
                <a:gd name="T29" fmla="*/ 0 h 366"/>
                <a:gd name="T30" fmla="*/ 0 w 372"/>
                <a:gd name="T31" fmla="*/ 0 h 366"/>
                <a:gd name="T32" fmla="*/ 0 w 372"/>
                <a:gd name="T33" fmla="*/ 0 h 366"/>
                <a:gd name="T34" fmla="*/ 0 w 372"/>
                <a:gd name="T35" fmla="*/ 0 h 366"/>
                <a:gd name="T36" fmla="*/ 0 w 372"/>
                <a:gd name="T37" fmla="*/ 0 h 366"/>
                <a:gd name="T38" fmla="*/ 0 w 372"/>
                <a:gd name="T39" fmla="*/ 0 h 366"/>
                <a:gd name="T40" fmla="*/ 0 w 372"/>
                <a:gd name="T41" fmla="*/ 0 h 366"/>
                <a:gd name="T42" fmla="*/ 0 w 372"/>
                <a:gd name="T43" fmla="*/ 0 h 366"/>
                <a:gd name="T44" fmla="*/ 0 w 372"/>
                <a:gd name="T45" fmla="*/ 0 h 366"/>
                <a:gd name="T46" fmla="*/ 0 w 372"/>
                <a:gd name="T47" fmla="*/ 0 h 366"/>
                <a:gd name="T48" fmla="*/ 0 w 372"/>
                <a:gd name="T49" fmla="*/ 0 h 366"/>
                <a:gd name="T50" fmla="*/ 0 w 372"/>
                <a:gd name="T51" fmla="*/ 0 h 366"/>
                <a:gd name="T52" fmla="*/ 0 w 372"/>
                <a:gd name="T53" fmla="*/ 0 h 366"/>
                <a:gd name="T54" fmla="*/ 0 w 372"/>
                <a:gd name="T55" fmla="*/ 0 h 366"/>
                <a:gd name="T56" fmla="*/ 0 w 372"/>
                <a:gd name="T57" fmla="*/ 0 h 366"/>
                <a:gd name="T58" fmla="*/ 0 w 372"/>
                <a:gd name="T59" fmla="*/ 0 h 366"/>
                <a:gd name="T60" fmla="*/ 0 w 372"/>
                <a:gd name="T61" fmla="*/ 0 h 366"/>
                <a:gd name="T62" fmla="*/ 0 w 372"/>
                <a:gd name="T63" fmla="*/ 0 h 366"/>
                <a:gd name="T64" fmla="*/ 0 w 372"/>
                <a:gd name="T65" fmla="*/ 0 h 366"/>
                <a:gd name="T66" fmla="*/ 0 w 372"/>
                <a:gd name="T67" fmla="*/ 0 h 366"/>
                <a:gd name="T68" fmla="*/ 0 w 372"/>
                <a:gd name="T69" fmla="*/ 0 h 366"/>
                <a:gd name="T70" fmla="*/ 0 w 372"/>
                <a:gd name="T71" fmla="*/ 0 h 366"/>
                <a:gd name="T72" fmla="*/ 0 w 372"/>
                <a:gd name="T73" fmla="*/ 0 h 366"/>
                <a:gd name="T74" fmla="*/ 0 w 372"/>
                <a:gd name="T75" fmla="*/ 0 h 366"/>
                <a:gd name="T76" fmla="*/ 0 w 372"/>
                <a:gd name="T77" fmla="*/ 0 h 366"/>
                <a:gd name="T78" fmla="*/ 0 w 372"/>
                <a:gd name="T79" fmla="*/ 0 h 366"/>
                <a:gd name="T80" fmla="*/ 0 w 372"/>
                <a:gd name="T81" fmla="*/ 0 h 366"/>
                <a:gd name="T82" fmla="*/ 0 w 372"/>
                <a:gd name="T83" fmla="*/ 0 h 366"/>
                <a:gd name="T84" fmla="*/ 0 w 372"/>
                <a:gd name="T85" fmla="*/ 0 h 366"/>
                <a:gd name="T86" fmla="*/ 0 w 372"/>
                <a:gd name="T87" fmla="*/ 0 h 366"/>
                <a:gd name="T88" fmla="*/ 0 w 372"/>
                <a:gd name="T89" fmla="*/ 0 h 366"/>
                <a:gd name="T90" fmla="*/ 0 w 372"/>
                <a:gd name="T91" fmla="*/ 0 h 366"/>
                <a:gd name="T92" fmla="*/ 0 w 372"/>
                <a:gd name="T93" fmla="*/ 0 h 366"/>
                <a:gd name="T94" fmla="*/ 0 w 372"/>
                <a:gd name="T95" fmla="*/ 0 h 366"/>
                <a:gd name="T96" fmla="*/ 0 w 372"/>
                <a:gd name="T97" fmla="*/ 0 h 366"/>
                <a:gd name="T98" fmla="*/ 0 w 372"/>
                <a:gd name="T99" fmla="*/ 0 h 366"/>
                <a:gd name="T100" fmla="*/ 0 w 372"/>
                <a:gd name="T101" fmla="*/ 0 h 366"/>
                <a:gd name="T102" fmla="*/ 0 w 372"/>
                <a:gd name="T103" fmla="*/ 0 h 366"/>
                <a:gd name="T104" fmla="*/ 0 w 372"/>
                <a:gd name="T105" fmla="*/ 0 h 366"/>
                <a:gd name="T106" fmla="*/ 0 w 372"/>
                <a:gd name="T107" fmla="*/ 0 h 366"/>
                <a:gd name="T108" fmla="*/ 0 w 372"/>
                <a:gd name="T109" fmla="*/ 0 h 366"/>
                <a:gd name="T110" fmla="*/ 0 w 372"/>
                <a:gd name="T111" fmla="*/ 0 h 366"/>
                <a:gd name="T112" fmla="*/ 0 w 372"/>
                <a:gd name="T113" fmla="*/ 0 h 366"/>
                <a:gd name="T114" fmla="*/ 0 w 372"/>
                <a:gd name="T115" fmla="*/ 0 h 366"/>
                <a:gd name="T116" fmla="*/ 0 w 372"/>
                <a:gd name="T117" fmla="*/ 0 h 366"/>
                <a:gd name="T118" fmla="*/ 0 w 372"/>
                <a:gd name="T119" fmla="*/ 0 h 366"/>
                <a:gd name="T120" fmla="*/ 0 w 372"/>
                <a:gd name="T121" fmla="*/ 0 h 36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2"/>
                <a:gd name="T184" fmla="*/ 0 h 366"/>
                <a:gd name="T185" fmla="*/ 372 w 372"/>
                <a:gd name="T186" fmla="*/ 366 h 36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2" h="366">
                  <a:moveTo>
                    <a:pt x="11" y="136"/>
                  </a:moveTo>
                  <a:cubicBezTo>
                    <a:pt x="11" y="156"/>
                    <a:pt x="11" y="156"/>
                    <a:pt x="11" y="156"/>
                  </a:cubicBezTo>
                  <a:cubicBezTo>
                    <a:pt x="11" y="156"/>
                    <a:pt x="19" y="150"/>
                    <a:pt x="23" y="160"/>
                  </a:cubicBezTo>
                  <a:cubicBezTo>
                    <a:pt x="27" y="170"/>
                    <a:pt x="33" y="181"/>
                    <a:pt x="33" y="181"/>
                  </a:cubicBezTo>
                  <a:cubicBezTo>
                    <a:pt x="33" y="181"/>
                    <a:pt x="35" y="204"/>
                    <a:pt x="42" y="213"/>
                  </a:cubicBezTo>
                  <a:cubicBezTo>
                    <a:pt x="49" y="222"/>
                    <a:pt x="70" y="234"/>
                    <a:pt x="70" y="234"/>
                  </a:cubicBezTo>
                  <a:cubicBezTo>
                    <a:pt x="70" y="234"/>
                    <a:pt x="88" y="231"/>
                    <a:pt x="90" y="238"/>
                  </a:cubicBezTo>
                  <a:cubicBezTo>
                    <a:pt x="92" y="245"/>
                    <a:pt x="91" y="260"/>
                    <a:pt x="91" y="260"/>
                  </a:cubicBezTo>
                  <a:cubicBezTo>
                    <a:pt x="112" y="261"/>
                    <a:pt x="112" y="261"/>
                    <a:pt x="112" y="261"/>
                  </a:cubicBezTo>
                  <a:cubicBezTo>
                    <a:pt x="114" y="276"/>
                    <a:pt x="114" y="276"/>
                    <a:pt x="114" y="276"/>
                  </a:cubicBezTo>
                  <a:cubicBezTo>
                    <a:pt x="110" y="281"/>
                    <a:pt x="110" y="281"/>
                    <a:pt x="110" y="281"/>
                  </a:cubicBezTo>
                  <a:cubicBezTo>
                    <a:pt x="110" y="299"/>
                    <a:pt x="110" y="299"/>
                    <a:pt x="110" y="299"/>
                  </a:cubicBezTo>
                  <a:cubicBezTo>
                    <a:pt x="110" y="299"/>
                    <a:pt x="122" y="297"/>
                    <a:pt x="122" y="304"/>
                  </a:cubicBezTo>
                  <a:cubicBezTo>
                    <a:pt x="122" y="311"/>
                    <a:pt x="122" y="319"/>
                    <a:pt x="122" y="319"/>
                  </a:cubicBezTo>
                  <a:cubicBezTo>
                    <a:pt x="122" y="319"/>
                    <a:pt x="148" y="322"/>
                    <a:pt x="161" y="327"/>
                  </a:cubicBezTo>
                  <a:cubicBezTo>
                    <a:pt x="171" y="331"/>
                    <a:pt x="177" y="345"/>
                    <a:pt x="180" y="352"/>
                  </a:cubicBezTo>
                  <a:cubicBezTo>
                    <a:pt x="167" y="353"/>
                    <a:pt x="167" y="353"/>
                    <a:pt x="167" y="353"/>
                  </a:cubicBezTo>
                  <a:cubicBezTo>
                    <a:pt x="206" y="351"/>
                    <a:pt x="206" y="351"/>
                    <a:pt x="206" y="351"/>
                  </a:cubicBezTo>
                  <a:cubicBezTo>
                    <a:pt x="206" y="351"/>
                    <a:pt x="222" y="358"/>
                    <a:pt x="230" y="359"/>
                  </a:cubicBezTo>
                  <a:cubicBezTo>
                    <a:pt x="238" y="360"/>
                    <a:pt x="265" y="359"/>
                    <a:pt x="265" y="359"/>
                  </a:cubicBezTo>
                  <a:cubicBezTo>
                    <a:pt x="277" y="366"/>
                    <a:pt x="277" y="366"/>
                    <a:pt x="277" y="366"/>
                  </a:cubicBezTo>
                  <a:cubicBezTo>
                    <a:pt x="324" y="310"/>
                    <a:pt x="324" y="310"/>
                    <a:pt x="324" y="310"/>
                  </a:cubicBezTo>
                  <a:cubicBezTo>
                    <a:pt x="334" y="307"/>
                    <a:pt x="334" y="307"/>
                    <a:pt x="334" y="307"/>
                  </a:cubicBezTo>
                  <a:cubicBezTo>
                    <a:pt x="325" y="294"/>
                    <a:pt x="325" y="294"/>
                    <a:pt x="325" y="294"/>
                  </a:cubicBezTo>
                  <a:cubicBezTo>
                    <a:pt x="333" y="289"/>
                    <a:pt x="333" y="289"/>
                    <a:pt x="333" y="289"/>
                  </a:cubicBezTo>
                  <a:cubicBezTo>
                    <a:pt x="334" y="266"/>
                    <a:pt x="334" y="266"/>
                    <a:pt x="334" y="266"/>
                  </a:cubicBezTo>
                  <a:cubicBezTo>
                    <a:pt x="334" y="266"/>
                    <a:pt x="349" y="265"/>
                    <a:pt x="350" y="257"/>
                  </a:cubicBezTo>
                  <a:cubicBezTo>
                    <a:pt x="352" y="249"/>
                    <a:pt x="354" y="242"/>
                    <a:pt x="354" y="242"/>
                  </a:cubicBezTo>
                  <a:cubicBezTo>
                    <a:pt x="354" y="242"/>
                    <a:pt x="365" y="235"/>
                    <a:pt x="364" y="229"/>
                  </a:cubicBezTo>
                  <a:cubicBezTo>
                    <a:pt x="362" y="222"/>
                    <a:pt x="345" y="211"/>
                    <a:pt x="346" y="206"/>
                  </a:cubicBezTo>
                  <a:cubicBezTo>
                    <a:pt x="348" y="201"/>
                    <a:pt x="360" y="190"/>
                    <a:pt x="360" y="190"/>
                  </a:cubicBezTo>
                  <a:cubicBezTo>
                    <a:pt x="346" y="174"/>
                    <a:pt x="346" y="174"/>
                    <a:pt x="346" y="174"/>
                  </a:cubicBezTo>
                  <a:cubicBezTo>
                    <a:pt x="360" y="167"/>
                    <a:pt x="360" y="167"/>
                    <a:pt x="360" y="167"/>
                  </a:cubicBezTo>
                  <a:cubicBezTo>
                    <a:pt x="360" y="158"/>
                    <a:pt x="360" y="158"/>
                    <a:pt x="360" y="158"/>
                  </a:cubicBezTo>
                  <a:cubicBezTo>
                    <a:pt x="360" y="158"/>
                    <a:pt x="369" y="158"/>
                    <a:pt x="366" y="145"/>
                  </a:cubicBezTo>
                  <a:cubicBezTo>
                    <a:pt x="364" y="131"/>
                    <a:pt x="356" y="125"/>
                    <a:pt x="358" y="119"/>
                  </a:cubicBezTo>
                  <a:cubicBezTo>
                    <a:pt x="361" y="114"/>
                    <a:pt x="366" y="107"/>
                    <a:pt x="366" y="107"/>
                  </a:cubicBezTo>
                  <a:cubicBezTo>
                    <a:pt x="360" y="99"/>
                    <a:pt x="360" y="99"/>
                    <a:pt x="360" y="99"/>
                  </a:cubicBezTo>
                  <a:cubicBezTo>
                    <a:pt x="366" y="90"/>
                    <a:pt x="366" y="90"/>
                    <a:pt x="366" y="90"/>
                  </a:cubicBezTo>
                  <a:cubicBezTo>
                    <a:pt x="358" y="81"/>
                    <a:pt x="358" y="81"/>
                    <a:pt x="358" y="81"/>
                  </a:cubicBezTo>
                  <a:cubicBezTo>
                    <a:pt x="358" y="81"/>
                    <a:pt x="372" y="71"/>
                    <a:pt x="368" y="63"/>
                  </a:cubicBezTo>
                  <a:cubicBezTo>
                    <a:pt x="364" y="55"/>
                    <a:pt x="349" y="55"/>
                    <a:pt x="349" y="55"/>
                  </a:cubicBezTo>
                  <a:cubicBezTo>
                    <a:pt x="349" y="55"/>
                    <a:pt x="344" y="43"/>
                    <a:pt x="336" y="43"/>
                  </a:cubicBezTo>
                  <a:cubicBezTo>
                    <a:pt x="328" y="43"/>
                    <a:pt x="318" y="46"/>
                    <a:pt x="318" y="46"/>
                  </a:cubicBezTo>
                  <a:cubicBezTo>
                    <a:pt x="308" y="30"/>
                    <a:pt x="308" y="30"/>
                    <a:pt x="308" y="30"/>
                  </a:cubicBezTo>
                  <a:cubicBezTo>
                    <a:pt x="293" y="33"/>
                    <a:pt x="293" y="33"/>
                    <a:pt x="293" y="33"/>
                  </a:cubicBezTo>
                  <a:cubicBezTo>
                    <a:pt x="285" y="21"/>
                    <a:pt x="285" y="21"/>
                    <a:pt x="285" y="21"/>
                  </a:cubicBezTo>
                  <a:cubicBezTo>
                    <a:pt x="246" y="21"/>
                    <a:pt x="246" y="21"/>
                    <a:pt x="246" y="21"/>
                  </a:cubicBezTo>
                  <a:cubicBezTo>
                    <a:pt x="245" y="1"/>
                    <a:pt x="245" y="1"/>
                    <a:pt x="245" y="1"/>
                  </a:cubicBezTo>
                  <a:cubicBezTo>
                    <a:pt x="236" y="0"/>
                    <a:pt x="218" y="0"/>
                    <a:pt x="205" y="5"/>
                  </a:cubicBezTo>
                  <a:cubicBezTo>
                    <a:pt x="188" y="11"/>
                    <a:pt x="170" y="25"/>
                    <a:pt x="170" y="25"/>
                  </a:cubicBezTo>
                  <a:cubicBezTo>
                    <a:pt x="170" y="25"/>
                    <a:pt x="173" y="48"/>
                    <a:pt x="172" y="49"/>
                  </a:cubicBezTo>
                  <a:cubicBezTo>
                    <a:pt x="171" y="50"/>
                    <a:pt x="132" y="61"/>
                    <a:pt x="125" y="68"/>
                  </a:cubicBezTo>
                  <a:cubicBezTo>
                    <a:pt x="118" y="75"/>
                    <a:pt x="116" y="91"/>
                    <a:pt x="116" y="91"/>
                  </a:cubicBezTo>
                  <a:cubicBezTo>
                    <a:pt x="116" y="91"/>
                    <a:pt x="95" y="118"/>
                    <a:pt x="77" y="127"/>
                  </a:cubicBezTo>
                  <a:cubicBezTo>
                    <a:pt x="59" y="136"/>
                    <a:pt x="58" y="127"/>
                    <a:pt x="51" y="121"/>
                  </a:cubicBezTo>
                  <a:cubicBezTo>
                    <a:pt x="44" y="115"/>
                    <a:pt x="42" y="127"/>
                    <a:pt x="38" y="127"/>
                  </a:cubicBezTo>
                  <a:cubicBezTo>
                    <a:pt x="34" y="127"/>
                    <a:pt x="28" y="121"/>
                    <a:pt x="26" y="117"/>
                  </a:cubicBezTo>
                  <a:cubicBezTo>
                    <a:pt x="24" y="113"/>
                    <a:pt x="0" y="117"/>
                    <a:pt x="0" y="117"/>
                  </a:cubicBezTo>
                  <a:cubicBezTo>
                    <a:pt x="2" y="127"/>
                    <a:pt x="2" y="127"/>
                    <a:pt x="2" y="127"/>
                  </a:cubicBezTo>
                  <a:lnTo>
                    <a:pt x="11" y="136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87" name="Freeform 103"/>
            <p:cNvSpPr>
              <a:spLocks/>
            </p:cNvSpPr>
            <p:nvPr/>
          </p:nvSpPr>
          <p:spPr bwMode="auto">
            <a:xfrm>
              <a:off x="3027" y="3116"/>
              <a:ext cx="164" cy="186"/>
            </a:xfrm>
            <a:custGeom>
              <a:avLst/>
              <a:gdLst>
                <a:gd name="T0" fmla="*/ 0 w 433"/>
                <a:gd name="T1" fmla="*/ 0 h 490"/>
                <a:gd name="T2" fmla="*/ 0 w 433"/>
                <a:gd name="T3" fmla="*/ 0 h 490"/>
                <a:gd name="T4" fmla="*/ 0 w 433"/>
                <a:gd name="T5" fmla="*/ 0 h 490"/>
                <a:gd name="T6" fmla="*/ 0 w 433"/>
                <a:gd name="T7" fmla="*/ 0 h 490"/>
                <a:gd name="T8" fmla="*/ 0 w 433"/>
                <a:gd name="T9" fmla="*/ 0 h 490"/>
                <a:gd name="T10" fmla="*/ 0 w 433"/>
                <a:gd name="T11" fmla="*/ 0 h 490"/>
                <a:gd name="T12" fmla="*/ 0 w 433"/>
                <a:gd name="T13" fmla="*/ 0 h 490"/>
                <a:gd name="T14" fmla="*/ 0 w 433"/>
                <a:gd name="T15" fmla="*/ 0 h 490"/>
                <a:gd name="T16" fmla="*/ 0 w 433"/>
                <a:gd name="T17" fmla="*/ 0 h 490"/>
                <a:gd name="T18" fmla="*/ 0 w 433"/>
                <a:gd name="T19" fmla="*/ 0 h 490"/>
                <a:gd name="T20" fmla="*/ 0 w 433"/>
                <a:gd name="T21" fmla="*/ 0 h 490"/>
                <a:gd name="T22" fmla="*/ 0 w 433"/>
                <a:gd name="T23" fmla="*/ 0 h 490"/>
                <a:gd name="T24" fmla="*/ 0 w 433"/>
                <a:gd name="T25" fmla="*/ 0 h 490"/>
                <a:gd name="T26" fmla="*/ 0 w 433"/>
                <a:gd name="T27" fmla="*/ 0 h 490"/>
                <a:gd name="T28" fmla="*/ 0 w 433"/>
                <a:gd name="T29" fmla="*/ 0 h 490"/>
                <a:gd name="T30" fmla="*/ 0 w 433"/>
                <a:gd name="T31" fmla="*/ 0 h 490"/>
                <a:gd name="T32" fmla="*/ 0 w 433"/>
                <a:gd name="T33" fmla="*/ 0 h 490"/>
                <a:gd name="T34" fmla="*/ 0 w 433"/>
                <a:gd name="T35" fmla="*/ 0 h 490"/>
                <a:gd name="T36" fmla="*/ 0 w 433"/>
                <a:gd name="T37" fmla="*/ 0 h 490"/>
                <a:gd name="T38" fmla="*/ 0 w 433"/>
                <a:gd name="T39" fmla="*/ 0 h 490"/>
                <a:gd name="T40" fmla="*/ 0 w 433"/>
                <a:gd name="T41" fmla="*/ 0 h 490"/>
                <a:gd name="T42" fmla="*/ 0 w 433"/>
                <a:gd name="T43" fmla="*/ 0 h 490"/>
                <a:gd name="T44" fmla="*/ 0 w 433"/>
                <a:gd name="T45" fmla="*/ 0 h 490"/>
                <a:gd name="T46" fmla="*/ 0 w 433"/>
                <a:gd name="T47" fmla="*/ 0 h 490"/>
                <a:gd name="T48" fmla="*/ 0 w 433"/>
                <a:gd name="T49" fmla="*/ 0 h 490"/>
                <a:gd name="T50" fmla="*/ 0 w 433"/>
                <a:gd name="T51" fmla="*/ 0 h 490"/>
                <a:gd name="T52" fmla="*/ 0 w 433"/>
                <a:gd name="T53" fmla="*/ 0 h 490"/>
                <a:gd name="T54" fmla="*/ 0 w 433"/>
                <a:gd name="T55" fmla="*/ 0 h 490"/>
                <a:gd name="T56" fmla="*/ 0 w 433"/>
                <a:gd name="T57" fmla="*/ 0 h 490"/>
                <a:gd name="T58" fmla="*/ 0 w 433"/>
                <a:gd name="T59" fmla="*/ 0 h 490"/>
                <a:gd name="T60" fmla="*/ 0 w 433"/>
                <a:gd name="T61" fmla="*/ 0 h 490"/>
                <a:gd name="T62" fmla="*/ 0 w 433"/>
                <a:gd name="T63" fmla="*/ 0 h 490"/>
                <a:gd name="T64" fmla="*/ 0 w 433"/>
                <a:gd name="T65" fmla="*/ 0 h 490"/>
                <a:gd name="T66" fmla="*/ 0 w 433"/>
                <a:gd name="T67" fmla="*/ 0 h 490"/>
                <a:gd name="T68" fmla="*/ 0 w 433"/>
                <a:gd name="T69" fmla="*/ 0 h 490"/>
                <a:gd name="T70" fmla="*/ 0 w 433"/>
                <a:gd name="T71" fmla="*/ 0 h 490"/>
                <a:gd name="T72" fmla="*/ 0 w 433"/>
                <a:gd name="T73" fmla="*/ 0 h 490"/>
                <a:gd name="T74" fmla="*/ 0 w 433"/>
                <a:gd name="T75" fmla="*/ 0 h 490"/>
                <a:gd name="T76" fmla="*/ 0 w 433"/>
                <a:gd name="T77" fmla="*/ 0 h 490"/>
                <a:gd name="T78" fmla="*/ 0 w 433"/>
                <a:gd name="T79" fmla="*/ 0 h 490"/>
                <a:gd name="T80" fmla="*/ 0 w 433"/>
                <a:gd name="T81" fmla="*/ 0 h 490"/>
                <a:gd name="T82" fmla="*/ 0 w 433"/>
                <a:gd name="T83" fmla="*/ 0 h 490"/>
                <a:gd name="T84" fmla="*/ 0 w 433"/>
                <a:gd name="T85" fmla="*/ 0 h 490"/>
                <a:gd name="T86" fmla="*/ 0 w 433"/>
                <a:gd name="T87" fmla="*/ 0 h 490"/>
                <a:gd name="T88" fmla="*/ 0 w 433"/>
                <a:gd name="T89" fmla="*/ 0 h 490"/>
                <a:gd name="T90" fmla="*/ 0 w 433"/>
                <a:gd name="T91" fmla="*/ 0 h 490"/>
                <a:gd name="T92" fmla="*/ 0 w 433"/>
                <a:gd name="T93" fmla="*/ 0 h 490"/>
                <a:gd name="T94" fmla="*/ 0 w 433"/>
                <a:gd name="T95" fmla="*/ 0 h 490"/>
                <a:gd name="T96" fmla="*/ 0 w 433"/>
                <a:gd name="T97" fmla="*/ 0 h 490"/>
                <a:gd name="T98" fmla="*/ 0 w 433"/>
                <a:gd name="T99" fmla="*/ 0 h 490"/>
                <a:gd name="T100" fmla="*/ 0 w 433"/>
                <a:gd name="T101" fmla="*/ 0 h 490"/>
                <a:gd name="T102" fmla="*/ 0 w 433"/>
                <a:gd name="T103" fmla="*/ 0 h 490"/>
                <a:gd name="T104" fmla="*/ 0 w 433"/>
                <a:gd name="T105" fmla="*/ 0 h 490"/>
                <a:gd name="T106" fmla="*/ 0 w 433"/>
                <a:gd name="T107" fmla="*/ 0 h 490"/>
                <a:gd name="T108" fmla="*/ 0 w 433"/>
                <a:gd name="T109" fmla="*/ 0 h 490"/>
                <a:gd name="T110" fmla="*/ 0 w 433"/>
                <a:gd name="T111" fmla="*/ 0 h 490"/>
                <a:gd name="T112" fmla="*/ 0 w 433"/>
                <a:gd name="T113" fmla="*/ 0 h 490"/>
                <a:gd name="T114" fmla="*/ 0 w 433"/>
                <a:gd name="T115" fmla="*/ 0 h 490"/>
                <a:gd name="T116" fmla="*/ 0 w 433"/>
                <a:gd name="T117" fmla="*/ 0 h 490"/>
                <a:gd name="T118" fmla="*/ 0 w 433"/>
                <a:gd name="T119" fmla="*/ 0 h 4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33"/>
                <a:gd name="T181" fmla="*/ 0 h 490"/>
                <a:gd name="T182" fmla="*/ 433 w 433"/>
                <a:gd name="T183" fmla="*/ 490 h 49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33" h="490">
                  <a:moveTo>
                    <a:pt x="0" y="377"/>
                  </a:moveTo>
                  <a:cubicBezTo>
                    <a:pt x="9" y="381"/>
                    <a:pt x="18" y="386"/>
                    <a:pt x="22" y="394"/>
                  </a:cubicBezTo>
                  <a:cubicBezTo>
                    <a:pt x="31" y="413"/>
                    <a:pt x="30" y="423"/>
                    <a:pt x="30" y="423"/>
                  </a:cubicBezTo>
                  <a:cubicBezTo>
                    <a:pt x="30" y="423"/>
                    <a:pt x="39" y="434"/>
                    <a:pt x="37" y="443"/>
                  </a:cubicBezTo>
                  <a:cubicBezTo>
                    <a:pt x="35" y="452"/>
                    <a:pt x="27" y="465"/>
                    <a:pt x="27" y="465"/>
                  </a:cubicBezTo>
                  <a:cubicBezTo>
                    <a:pt x="27" y="465"/>
                    <a:pt x="22" y="484"/>
                    <a:pt x="27" y="487"/>
                  </a:cubicBezTo>
                  <a:cubicBezTo>
                    <a:pt x="32" y="490"/>
                    <a:pt x="78" y="485"/>
                    <a:pt x="78" y="485"/>
                  </a:cubicBezTo>
                  <a:cubicBezTo>
                    <a:pt x="78" y="485"/>
                    <a:pt x="79" y="474"/>
                    <a:pt x="83" y="473"/>
                  </a:cubicBezTo>
                  <a:cubicBezTo>
                    <a:pt x="87" y="472"/>
                    <a:pt x="97" y="474"/>
                    <a:pt x="97" y="474"/>
                  </a:cubicBezTo>
                  <a:cubicBezTo>
                    <a:pt x="97" y="474"/>
                    <a:pt x="99" y="457"/>
                    <a:pt x="106" y="454"/>
                  </a:cubicBezTo>
                  <a:cubicBezTo>
                    <a:pt x="113" y="451"/>
                    <a:pt x="124" y="453"/>
                    <a:pt x="124" y="446"/>
                  </a:cubicBezTo>
                  <a:cubicBezTo>
                    <a:pt x="124" y="439"/>
                    <a:pt x="129" y="401"/>
                    <a:pt x="142" y="401"/>
                  </a:cubicBezTo>
                  <a:cubicBezTo>
                    <a:pt x="155" y="401"/>
                    <a:pt x="171" y="413"/>
                    <a:pt x="171" y="413"/>
                  </a:cubicBezTo>
                  <a:cubicBezTo>
                    <a:pt x="181" y="423"/>
                    <a:pt x="181" y="423"/>
                    <a:pt x="181" y="423"/>
                  </a:cubicBezTo>
                  <a:cubicBezTo>
                    <a:pt x="198" y="424"/>
                    <a:pt x="198" y="424"/>
                    <a:pt x="198" y="424"/>
                  </a:cubicBezTo>
                  <a:cubicBezTo>
                    <a:pt x="198" y="424"/>
                    <a:pt x="213" y="435"/>
                    <a:pt x="223" y="433"/>
                  </a:cubicBezTo>
                  <a:cubicBezTo>
                    <a:pt x="233" y="431"/>
                    <a:pt x="236" y="426"/>
                    <a:pt x="236" y="426"/>
                  </a:cubicBezTo>
                  <a:cubicBezTo>
                    <a:pt x="236" y="426"/>
                    <a:pt x="244" y="433"/>
                    <a:pt x="255" y="426"/>
                  </a:cubicBezTo>
                  <a:cubicBezTo>
                    <a:pt x="266" y="419"/>
                    <a:pt x="270" y="386"/>
                    <a:pt x="270" y="386"/>
                  </a:cubicBezTo>
                  <a:cubicBezTo>
                    <a:pt x="284" y="374"/>
                    <a:pt x="284" y="374"/>
                    <a:pt x="284" y="374"/>
                  </a:cubicBezTo>
                  <a:cubicBezTo>
                    <a:pt x="295" y="371"/>
                    <a:pt x="295" y="371"/>
                    <a:pt x="295" y="371"/>
                  </a:cubicBezTo>
                  <a:cubicBezTo>
                    <a:pt x="295" y="371"/>
                    <a:pt x="318" y="353"/>
                    <a:pt x="318" y="347"/>
                  </a:cubicBezTo>
                  <a:cubicBezTo>
                    <a:pt x="318" y="341"/>
                    <a:pt x="319" y="318"/>
                    <a:pt x="329" y="311"/>
                  </a:cubicBezTo>
                  <a:cubicBezTo>
                    <a:pt x="339" y="304"/>
                    <a:pt x="342" y="305"/>
                    <a:pt x="353" y="298"/>
                  </a:cubicBezTo>
                  <a:cubicBezTo>
                    <a:pt x="364" y="291"/>
                    <a:pt x="378" y="265"/>
                    <a:pt x="383" y="259"/>
                  </a:cubicBezTo>
                  <a:cubicBezTo>
                    <a:pt x="388" y="253"/>
                    <a:pt x="412" y="252"/>
                    <a:pt x="412" y="252"/>
                  </a:cubicBezTo>
                  <a:cubicBezTo>
                    <a:pt x="420" y="236"/>
                    <a:pt x="420" y="236"/>
                    <a:pt x="420" y="236"/>
                  </a:cubicBezTo>
                  <a:cubicBezTo>
                    <a:pt x="433" y="235"/>
                    <a:pt x="433" y="235"/>
                    <a:pt x="433" y="235"/>
                  </a:cubicBezTo>
                  <a:cubicBezTo>
                    <a:pt x="430" y="228"/>
                    <a:pt x="424" y="214"/>
                    <a:pt x="414" y="210"/>
                  </a:cubicBezTo>
                  <a:cubicBezTo>
                    <a:pt x="401" y="205"/>
                    <a:pt x="375" y="202"/>
                    <a:pt x="375" y="202"/>
                  </a:cubicBezTo>
                  <a:cubicBezTo>
                    <a:pt x="375" y="202"/>
                    <a:pt x="375" y="194"/>
                    <a:pt x="375" y="187"/>
                  </a:cubicBezTo>
                  <a:cubicBezTo>
                    <a:pt x="375" y="180"/>
                    <a:pt x="363" y="182"/>
                    <a:pt x="363" y="182"/>
                  </a:cubicBezTo>
                  <a:cubicBezTo>
                    <a:pt x="363" y="164"/>
                    <a:pt x="363" y="164"/>
                    <a:pt x="363" y="164"/>
                  </a:cubicBezTo>
                  <a:cubicBezTo>
                    <a:pt x="367" y="159"/>
                    <a:pt x="367" y="159"/>
                    <a:pt x="367" y="159"/>
                  </a:cubicBezTo>
                  <a:cubicBezTo>
                    <a:pt x="365" y="144"/>
                    <a:pt x="365" y="144"/>
                    <a:pt x="365" y="144"/>
                  </a:cubicBezTo>
                  <a:cubicBezTo>
                    <a:pt x="344" y="143"/>
                    <a:pt x="344" y="143"/>
                    <a:pt x="344" y="143"/>
                  </a:cubicBezTo>
                  <a:cubicBezTo>
                    <a:pt x="344" y="143"/>
                    <a:pt x="345" y="128"/>
                    <a:pt x="343" y="121"/>
                  </a:cubicBezTo>
                  <a:cubicBezTo>
                    <a:pt x="341" y="114"/>
                    <a:pt x="323" y="117"/>
                    <a:pt x="323" y="117"/>
                  </a:cubicBezTo>
                  <a:cubicBezTo>
                    <a:pt x="323" y="117"/>
                    <a:pt x="302" y="105"/>
                    <a:pt x="295" y="96"/>
                  </a:cubicBezTo>
                  <a:cubicBezTo>
                    <a:pt x="288" y="87"/>
                    <a:pt x="286" y="64"/>
                    <a:pt x="286" y="64"/>
                  </a:cubicBezTo>
                  <a:cubicBezTo>
                    <a:pt x="286" y="64"/>
                    <a:pt x="280" y="53"/>
                    <a:pt x="276" y="43"/>
                  </a:cubicBezTo>
                  <a:cubicBezTo>
                    <a:pt x="272" y="33"/>
                    <a:pt x="264" y="39"/>
                    <a:pt x="264" y="39"/>
                  </a:cubicBezTo>
                  <a:cubicBezTo>
                    <a:pt x="264" y="19"/>
                    <a:pt x="264" y="19"/>
                    <a:pt x="264" y="19"/>
                  </a:cubicBezTo>
                  <a:cubicBezTo>
                    <a:pt x="255" y="10"/>
                    <a:pt x="255" y="10"/>
                    <a:pt x="255" y="10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11" y="10"/>
                    <a:pt x="211" y="10"/>
                    <a:pt x="211" y="10"/>
                  </a:cubicBezTo>
                  <a:cubicBezTo>
                    <a:pt x="211" y="10"/>
                    <a:pt x="201" y="12"/>
                    <a:pt x="195" y="18"/>
                  </a:cubicBezTo>
                  <a:cubicBezTo>
                    <a:pt x="190" y="23"/>
                    <a:pt x="180" y="36"/>
                    <a:pt x="177" y="37"/>
                  </a:cubicBezTo>
                  <a:cubicBezTo>
                    <a:pt x="174" y="38"/>
                    <a:pt x="172" y="24"/>
                    <a:pt x="172" y="24"/>
                  </a:cubicBezTo>
                  <a:cubicBezTo>
                    <a:pt x="166" y="24"/>
                    <a:pt x="166" y="24"/>
                    <a:pt x="166" y="24"/>
                  </a:cubicBezTo>
                  <a:cubicBezTo>
                    <a:pt x="166" y="24"/>
                    <a:pt x="168" y="10"/>
                    <a:pt x="159" y="10"/>
                  </a:cubicBezTo>
                  <a:cubicBezTo>
                    <a:pt x="151" y="10"/>
                    <a:pt x="135" y="18"/>
                    <a:pt x="114" y="20"/>
                  </a:cubicBezTo>
                  <a:cubicBezTo>
                    <a:pt x="92" y="23"/>
                    <a:pt x="53" y="26"/>
                    <a:pt x="53" y="26"/>
                  </a:cubicBezTo>
                  <a:cubicBezTo>
                    <a:pt x="53" y="143"/>
                    <a:pt x="53" y="143"/>
                    <a:pt x="53" y="143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0" y="228"/>
                    <a:pt x="50" y="228"/>
                    <a:pt x="50" y="228"/>
                  </a:cubicBezTo>
                  <a:cubicBezTo>
                    <a:pt x="2" y="228"/>
                    <a:pt x="2" y="228"/>
                    <a:pt x="2" y="228"/>
                  </a:cubicBezTo>
                  <a:lnTo>
                    <a:pt x="0" y="377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88" name="Freeform 104"/>
            <p:cNvSpPr>
              <a:spLocks/>
            </p:cNvSpPr>
            <p:nvPr/>
          </p:nvSpPr>
          <p:spPr bwMode="auto">
            <a:xfrm>
              <a:off x="3411" y="2508"/>
              <a:ext cx="182" cy="280"/>
            </a:xfrm>
            <a:custGeom>
              <a:avLst/>
              <a:gdLst>
                <a:gd name="T0" fmla="*/ 0 w 480"/>
                <a:gd name="T1" fmla="*/ 0 h 739"/>
                <a:gd name="T2" fmla="*/ 0 w 480"/>
                <a:gd name="T3" fmla="*/ 0 h 739"/>
                <a:gd name="T4" fmla="*/ 0 w 480"/>
                <a:gd name="T5" fmla="*/ 0 h 739"/>
                <a:gd name="T6" fmla="*/ 0 w 480"/>
                <a:gd name="T7" fmla="*/ 0 h 739"/>
                <a:gd name="T8" fmla="*/ 0 w 480"/>
                <a:gd name="T9" fmla="*/ 0 h 739"/>
                <a:gd name="T10" fmla="*/ 0 w 480"/>
                <a:gd name="T11" fmla="*/ 0 h 739"/>
                <a:gd name="T12" fmla="*/ 0 w 480"/>
                <a:gd name="T13" fmla="*/ 0 h 739"/>
                <a:gd name="T14" fmla="*/ 0 w 480"/>
                <a:gd name="T15" fmla="*/ 0 h 739"/>
                <a:gd name="T16" fmla="*/ 0 w 480"/>
                <a:gd name="T17" fmla="*/ 0 h 739"/>
                <a:gd name="T18" fmla="*/ 0 w 480"/>
                <a:gd name="T19" fmla="*/ 0 h 739"/>
                <a:gd name="T20" fmla="*/ 0 w 480"/>
                <a:gd name="T21" fmla="*/ 0 h 739"/>
                <a:gd name="T22" fmla="*/ 0 w 480"/>
                <a:gd name="T23" fmla="*/ 0 h 739"/>
                <a:gd name="T24" fmla="*/ 0 w 480"/>
                <a:gd name="T25" fmla="*/ 0 h 739"/>
                <a:gd name="T26" fmla="*/ 0 w 480"/>
                <a:gd name="T27" fmla="*/ 0 h 739"/>
                <a:gd name="T28" fmla="*/ 0 w 480"/>
                <a:gd name="T29" fmla="*/ 0 h 739"/>
                <a:gd name="T30" fmla="*/ 0 w 480"/>
                <a:gd name="T31" fmla="*/ 0 h 739"/>
                <a:gd name="T32" fmla="*/ 0 w 480"/>
                <a:gd name="T33" fmla="*/ 0 h 739"/>
                <a:gd name="T34" fmla="*/ 0 w 480"/>
                <a:gd name="T35" fmla="*/ 0 h 739"/>
                <a:gd name="T36" fmla="*/ 0 w 480"/>
                <a:gd name="T37" fmla="*/ 0 h 739"/>
                <a:gd name="T38" fmla="*/ 0 w 480"/>
                <a:gd name="T39" fmla="*/ 0 h 739"/>
                <a:gd name="T40" fmla="*/ 0 w 480"/>
                <a:gd name="T41" fmla="*/ 0 h 739"/>
                <a:gd name="T42" fmla="*/ 0 w 480"/>
                <a:gd name="T43" fmla="*/ 0 h 739"/>
                <a:gd name="T44" fmla="*/ 0 w 480"/>
                <a:gd name="T45" fmla="*/ 0 h 739"/>
                <a:gd name="T46" fmla="*/ 0 w 480"/>
                <a:gd name="T47" fmla="*/ 0 h 739"/>
                <a:gd name="T48" fmla="*/ 0 w 480"/>
                <a:gd name="T49" fmla="*/ 0 h 739"/>
                <a:gd name="T50" fmla="*/ 0 w 480"/>
                <a:gd name="T51" fmla="*/ 0 h 739"/>
                <a:gd name="T52" fmla="*/ 0 w 480"/>
                <a:gd name="T53" fmla="*/ 0 h 739"/>
                <a:gd name="T54" fmla="*/ 0 w 480"/>
                <a:gd name="T55" fmla="*/ 0 h 739"/>
                <a:gd name="T56" fmla="*/ 0 w 480"/>
                <a:gd name="T57" fmla="*/ 0 h 739"/>
                <a:gd name="T58" fmla="*/ 0 w 480"/>
                <a:gd name="T59" fmla="*/ 0 h 739"/>
                <a:gd name="T60" fmla="*/ 0 w 480"/>
                <a:gd name="T61" fmla="*/ 0 h 739"/>
                <a:gd name="T62" fmla="*/ 0 w 480"/>
                <a:gd name="T63" fmla="*/ 0 h 739"/>
                <a:gd name="T64" fmla="*/ 0 w 480"/>
                <a:gd name="T65" fmla="*/ 0 h 739"/>
                <a:gd name="T66" fmla="*/ 0 w 480"/>
                <a:gd name="T67" fmla="*/ 0 h 739"/>
                <a:gd name="T68" fmla="*/ 0 w 480"/>
                <a:gd name="T69" fmla="*/ 0 h 739"/>
                <a:gd name="T70" fmla="*/ 0 w 480"/>
                <a:gd name="T71" fmla="*/ 0 h 739"/>
                <a:gd name="T72" fmla="*/ 0 w 480"/>
                <a:gd name="T73" fmla="*/ 0 h 739"/>
                <a:gd name="T74" fmla="*/ 0 w 480"/>
                <a:gd name="T75" fmla="*/ 0 h 739"/>
                <a:gd name="T76" fmla="*/ 0 w 480"/>
                <a:gd name="T77" fmla="*/ 0 h 739"/>
                <a:gd name="T78" fmla="*/ 0 w 480"/>
                <a:gd name="T79" fmla="*/ 0 h 739"/>
                <a:gd name="T80" fmla="*/ 0 w 480"/>
                <a:gd name="T81" fmla="*/ 0 h 739"/>
                <a:gd name="T82" fmla="*/ 0 w 480"/>
                <a:gd name="T83" fmla="*/ 0 h 739"/>
                <a:gd name="T84" fmla="*/ 0 w 480"/>
                <a:gd name="T85" fmla="*/ 0 h 739"/>
                <a:gd name="T86" fmla="*/ 0 w 480"/>
                <a:gd name="T87" fmla="*/ 0 h 739"/>
                <a:gd name="T88" fmla="*/ 0 w 480"/>
                <a:gd name="T89" fmla="*/ 0 h 739"/>
                <a:gd name="T90" fmla="*/ 0 w 480"/>
                <a:gd name="T91" fmla="*/ 0 h 739"/>
                <a:gd name="T92" fmla="*/ 0 w 480"/>
                <a:gd name="T93" fmla="*/ 0 h 739"/>
                <a:gd name="T94" fmla="*/ 0 w 480"/>
                <a:gd name="T95" fmla="*/ 0 h 739"/>
                <a:gd name="T96" fmla="*/ 0 w 480"/>
                <a:gd name="T97" fmla="*/ 0 h 739"/>
                <a:gd name="T98" fmla="*/ 0 w 480"/>
                <a:gd name="T99" fmla="*/ 0 h 739"/>
                <a:gd name="T100" fmla="*/ 0 w 480"/>
                <a:gd name="T101" fmla="*/ 0 h 739"/>
                <a:gd name="T102" fmla="*/ 0 w 480"/>
                <a:gd name="T103" fmla="*/ 0 h 739"/>
                <a:gd name="T104" fmla="*/ 0 w 480"/>
                <a:gd name="T105" fmla="*/ 0 h 73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80"/>
                <a:gd name="T160" fmla="*/ 0 h 739"/>
                <a:gd name="T161" fmla="*/ 480 w 480"/>
                <a:gd name="T162" fmla="*/ 739 h 73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80" h="739">
                  <a:moveTo>
                    <a:pt x="70" y="77"/>
                  </a:moveTo>
                  <a:cubicBezTo>
                    <a:pt x="79" y="85"/>
                    <a:pt x="79" y="85"/>
                    <a:pt x="79" y="85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78" y="93"/>
                    <a:pt x="91" y="109"/>
                    <a:pt x="97" y="117"/>
                  </a:cubicBezTo>
                  <a:cubicBezTo>
                    <a:pt x="103" y="125"/>
                    <a:pt x="107" y="142"/>
                    <a:pt x="107" y="142"/>
                  </a:cubicBezTo>
                  <a:cubicBezTo>
                    <a:pt x="122" y="142"/>
                    <a:pt x="122" y="142"/>
                    <a:pt x="122" y="142"/>
                  </a:cubicBezTo>
                  <a:cubicBezTo>
                    <a:pt x="122" y="142"/>
                    <a:pt x="132" y="159"/>
                    <a:pt x="143" y="167"/>
                  </a:cubicBezTo>
                  <a:cubicBezTo>
                    <a:pt x="154" y="175"/>
                    <a:pt x="206" y="188"/>
                    <a:pt x="225" y="194"/>
                  </a:cubicBezTo>
                  <a:cubicBezTo>
                    <a:pt x="244" y="200"/>
                    <a:pt x="277" y="220"/>
                    <a:pt x="277" y="220"/>
                  </a:cubicBezTo>
                  <a:cubicBezTo>
                    <a:pt x="325" y="217"/>
                    <a:pt x="325" y="217"/>
                    <a:pt x="325" y="217"/>
                  </a:cubicBezTo>
                  <a:cubicBezTo>
                    <a:pt x="185" y="382"/>
                    <a:pt x="185" y="382"/>
                    <a:pt x="185" y="382"/>
                  </a:cubicBezTo>
                  <a:cubicBezTo>
                    <a:pt x="185" y="382"/>
                    <a:pt x="137" y="380"/>
                    <a:pt x="129" y="382"/>
                  </a:cubicBezTo>
                  <a:cubicBezTo>
                    <a:pt x="121" y="384"/>
                    <a:pt x="96" y="396"/>
                    <a:pt x="96" y="396"/>
                  </a:cubicBezTo>
                  <a:cubicBezTo>
                    <a:pt x="96" y="396"/>
                    <a:pt x="95" y="408"/>
                    <a:pt x="89" y="414"/>
                  </a:cubicBezTo>
                  <a:cubicBezTo>
                    <a:pt x="83" y="420"/>
                    <a:pt x="58" y="418"/>
                    <a:pt x="50" y="421"/>
                  </a:cubicBezTo>
                  <a:cubicBezTo>
                    <a:pt x="42" y="424"/>
                    <a:pt x="42" y="435"/>
                    <a:pt x="42" y="435"/>
                  </a:cubicBezTo>
                  <a:cubicBezTo>
                    <a:pt x="42" y="435"/>
                    <a:pt x="29" y="463"/>
                    <a:pt x="22" y="471"/>
                  </a:cubicBezTo>
                  <a:cubicBezTo>
                    <a:pt x="15" y="479"/>
                    <a:pt x="1" y="492"/>
                    <a:pt x="1" y="492"/>
                  </a:cubicBezTo>
                  <a:cubicBezTo>
                    <a:pt x="0" y="695"/>
                    <a:pt x="0" y="695"/>
                    <a:pt x="0" y="695"/>
                  </a:cubicBezTo>
                  <a:cubicBezTo>
                    <a:pt x="28" y="735"/>
                    <a:pt x="28" y="735"/>
                    <a:pt x="28" y="735"/>
                  </a:cubicBezTo>
                  <a:cubicBezTo>
                    <a:pt x="27" y="737"/>
                    <a:pt x="27" y="738"/>
                    <a:pt x="26" y="739"/>
                  </a:cubicBezTo>
                  <a:cubicBezTo>
                    <a:pt x="26" y="739"/>
                    <a:pt x="26" y="739"/>
                    <a:pt x="26" y="739"/>
                  </a:cubicBezTo>
                  <a:cubicBezTo>
                    <a:pt x="35" y="722"/>
                    <a:pt x="52" y="690"/>
                    <a:pt x="58" y="680"/>
                  </a:cubicBezTo>
                  <a:cubicBezTo>
                    <a:pt x="65" y="669"/>
                    <a:pt x="97" y="654"/>
                    <a:pt x="100" y="639"/>
                  </a:cubicBezTo>
                  <a:cubicBezTo>
                    <a:pt x="103" y="624"/>
                    <a:pt x="146" y="586"/>
                    <a:pt x="157" y="573"/>
                  </a:cubicBezTo>
                  <a:cubicBezTo>
                    <a:pt x="168" y="560"/>
                    <a:pt x="202" y="541"/>
                    <a:pt x="210" y="536"/>
                  </a:cubicBezTo>
                  <a:cubicBezTo>
                    <a:pt x="218" y="531"/>
                    <a:pt x="275" y="484"/>
                    <a:pt x="281" y="473"/>
                  </a:cubicBezTo>
                  <a:cubicBezTo>
                    <a:pt x="287" y="462"/>
                    <a:pt x="331" y="413"/>
                    <a:pt x="335" y="399"/>
                  </a:cubicBezTo>
                  <a:cubicBezTo>
                    <a:pt x="339" y="385"/>
                    <a:pt x="364" y="339"/>
                    <a:pt x="370" y="334"/>
                  </a:cubicBezTo>
                  <a:cubicBezTo>
                    <a:pt x="376" y="329"/>
                    <a:pt x="384" y="316"/>
                    <a:pt x="384" y="308"/>
                  </a:cubicBezTo>
                  <a:cubicBezTo>
                    <a:pt x="384" y="300"/>
                    <a:pt x="390" y="271"/>
                    <a:pt x="397" y="262"/>
                  </a:cubicBezTo>
                  <a:cubicBezTo>
                    <a:pt x="404" y="253"/>
                    <a:pt x="417" y="241"/>
                    <a:pt x="417" y="228"/>
                  </a:cubicBezTo>
                  <a:cubicBezTo>
                    <a:pt x="417" y="215"/>
                    <a:pt x="427" y="205"/>
                    <a:pt x="427" y="205"/>
                  </a:cubicBezTo>
                  <a:cubicBezTo>
                    <a:pt x="440" y="169"/>
                    <a:pt x="440" y="169"/>
                    <a:pt x="440" y="169"/>
                  </a:cubicBezTo>
                  <a:cubicBezTo>
                    <a:pt x="440" y="169"/>
                    <a:pt x="457" y="173"/>
                    <a:pt x="457" y="147"/>
                  </a:cubicBezTo>
                  <a:cubicBezTo>
                    <a:pt x="457" y="121"/>
                    <a:pt x="457" y="93"/>
                    <a:pt x="457" y="93"/>
                  </a:cubicBezTo>
                  <a:cubicBezTo>
                    <a:pt x="471" y="84"/>
                    <a:pt x="471" y="84"/>
                    <a:pt x="471" y="84"/>
                  </a:cubicBezTo>
                  <a:cubicBezTo>
                    <a:pt x="467" y="38"/>
                    <a:pt x="467" y="38"/>
                    <a:pt x="467" y="38"/>
                  </a:cubicBezTo>
                  <a:cubicBezTo>
                    <a:pt x="467" y="38"/>
                    <a:pt x="480" y="14"/>
                    <a:pt x="474" y="8"/>
                  </a:cubicBezTo>
                  <a:cubicBezTo>
                    <a:pt x="468" y="2"/>
                    <a:pt x="447" y="0"/>
                    <a:pt x="447" y="0"/>
                  </a:cubicBezTo>
                  <a:cubicBezTo>
                    <a:pt x="447" y="0"/>
                    <a:pt x="439" y="14"/>
                    <a:pt x="432" y="21"/>
                  </a:cubicBezTo>
                  <a:cubicBezTo>
                    <a:pt x="425" y="28"/>
                    <a:pt x="388" y="37"/>
                    <a:pt x="382" y="37"/>
                  </a:cubicBezTo>
                  <a:cubicBezTo>
                    <a:pt x="376" y="37"/>
                    <a:pt x="355" y="31"/>
                    <a:pt x="345" y="35"/>
                  </a:cubicBezTo>
                  <a:cubicBezTo>
                    <a:pt x="335" y="39"/>
                    <a:pt x="322" y="54"/>
                    <a:pt x="318" y="54"/>
                  </a:cubicBezTo>
                  <a:cubicBezTo>
                    <a:pt x="314" y="54"/>
                    <a:pt x="304" y="42"/>
                    <a:pt x="296" y="43"/>
                  </a:cubicBezTo>
                  <a:cubicBezTo>
                    <a:pt x="288" y="44"/>
                    <a:pt x="261" y="72"/>
                    <a:pt x="252" y="73"/>
                  </a:cubicBezTo>
                  <a:cubicBezTo>
                    <a:pt x="243" y="74"/>
                    <a:pt x="235" y="58"/>
                    <a:pt x="221" y="62"/>
                  </a:cubicBezTo>
                  <a:cubicBezTo>
                    <a:pt x="207" y="66"/>
                    <a:pt x="189" y="83"/>
                    <a:pt x="181" y="84"/>
                  </a:cubicBezTo>
                  <a:cubicBezTo>
                    <a:pt x="173" y="85"/>
                    <a:pt x="141" y="85"/>
                    <a:pt x="141" y="85"/>
                  </a:cubicBezTo>
                  <a:cubicBezTo>
                    <a:pt x="141" y="85"/>
                    <a:pt x="111" y="58"/>
                    <a:pt x="111" y="48"/>
                  </a:cubicBezTo>
                  <a:cubicBezTo>
                    <a:pt x="111" y="40"/>
                    <a:pt x="102" y="36"/>
                    <a:pt x="99" y="35"/>
                  </a:cubicBezTo>
                  <a:cubicBezTo>
                    <a:pt x="84" y="55"/>
                    <a:pt x="84" y="55"/>
                    <a:pt x="84" y="55"/>
                  </a:cubicBezTo>
                  <a:lnTo>
                    <a:pt x="70" y="77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89" name="Freeform 105"/>
            <p:cNvSpPr>
              <a:spLocks/>
            </p:cNvSpPr>
            <p:nvPr/>
          </p:nvSpPr>
          <p:spPr bwMode="auto">
            <a:xfrm>
              <a:off x="3420" y="2494"/>
              <a:ext cx="32" cy="36"/>
            </a:xfrm>
            <a:custGeom>
              <a:avLst/>
              <a:gdLst>
                <a:gd name="T0" fmla="*/ 0 w 85"/>
                <a:gd name="T1" fmla="*/ 0 h 95"/>
                <a:gd name="T2" fmla="*/ 0 w 85"/>
                <a:gd name="T3" fmla="*/ 0 h 95"/>
                <a:gd name="T4" fmla="*/ 0 w 85"/>
                <a:gd name="T5" fmla="*/ 0 h 95"/>
                <a:gd name="T6" fmla="*/ 0 w 85"/>
                <a:gd name="T7" fmla="*/ 0 h 95"/>
                <a:gd name="T8" fmla="*/ 0 w 85"/>
                <a:gd name="T9" fmla="*/ 0 h 95"/>
                <a:gd name="T10" fmla="*/ 0 w 85"/>
                <a:gd name="T11" fmla="*/ 0 h 95"/>
                <a:gd name="T12" fmla="*/ 0 w 85"/>
                <a:gd name="T13" fmla="*/ 0 h 95"/>
                <a:gd name="T14" fmla="*/ 0 w 85"/>
                <a:gd name="T15" fmla="*/ 0 h 95"/>
                <a:gd name="T16" fmla="*/ 0 w 85"/>
                <a:gd name="T17" fmla="*/ 0 h 95"/>
                <a:gd name="T18" fmla="*/ 0 w 85"/>
                <a:gd name="T19" fmla="*/ 0 h 95"/>
                <a:gd name="T20" fmla="*/ 0 w 85"/>
                <a:gd name="T21" fmla="*/ 0 h 95"/>
                <a:gd name="T22" fmla="*/ 0 w 85"/>
                <a:gd name="T23" fmla="*/ 0 h 95"/>
                <a:gd name="T24" fmla="*/ 0 w 85"/>
                <a:gd name="T25" fmla="*/ 0 h 95"/>
                <a:gd name="T26" fmla="*/ 0 w 85"/>
                <a:gd name="T27" fmla="*/ 0 h 95"/>
                <a:gd name="T28" fmla="*/ 0 w 85"/>
                <a:gd name="T29" fmla="*/ 0 h 95"/>
                <a:gd name="T30" fmla="*/ 0 w 85"/>
                <a:gd name="T31" fmla="*/ 0 h 95"/>
                <a:gd name="T32" fmla="*/ 0 w 85"/>
                <a:gd name="T33" fmla="*/ 0 h 9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5"/>
                <a:gd name="T52" fmla="*/ 0 h 95"/>
                <a:gd name="T53" fmla="*/ 85 w 85"/>
                <a:gd name="T54" fmla="*/ 95 h 9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5" h="95">
                  <a:moveTo>
                    <a:pt x="47" y="18"/>
                  </a:moveTo>
                  <a:cubicBezTo>
                    <a:pt x="31" y="8"/>
                    <a:pt x="31" y="8"/>
                    <a:pt x="31" y="8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6"/>
                    <a:pt x="3" y="93"/>
                    <a:pt x="11" y="94"/>
                  </a:cubicBezTo>
                  <a:cubicBezTo>
                    <a:pt x="19" y="95"/>
                    <a:pt x="36" y="91"/>
                    <a:pt x="36" y="91"/>
                  </a:cubicBezTo>
                  <a:cubicBezTo>
                    <a:pt x="36" y="91"/>
                    <a:pt x="39" y="83"/>
                    <a:pt x="46" y="84"/>
                  </a:cubicBezTo>
                  <a:cubicBezTo>
                    <a:pt x="50" y="85"/>
                    <a:pt x="55" y="89"/>
                    <a:pt x="59" y="93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4" y="63"/>
                    <a:pt x="85" y="30"/>
                    <a:pt x="76" y="17"/>
                  </a:cubicBezTo>
                  <a:cubicBezTo>
                    <a:pt x="73" y="12"/>
                    <a:pt x="68" y="6"/>
                    <a:pt x="63" y="0"/>
                  </a:cubicBezTo>
                  <a:cubicBezTo>
                    <a:pt x="54" y="6"/>
                    <a:pt x="54" y="6"/>
                    <a:pt x="54" y="6"/>
                  </a:cubicBezTo>
                  <a:lnTo>
                    <a:pt x="47" y="18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90" name="Freeform 106"/>
            <p:cNvSpPr>
              <a:spLocks/>
            </p:cNvSpPr>
            <p:nvPr/>
          </p:nvSpPr>
          <p:spPr bwMode="auto">
            <a:xfrm>
              <a:off x="3322" y="2386"/>
              <a:ext cx="122" cy="115"/>
            </a:xfrm>
            <a:custGeom>
              <a:avLst/>
              <a:gdLst>
                <a:gd name="T0" fmla="*/ 0 w 320"/>
                <a:gd name="T1" fmla="*/ 0 h 305"/>
                <a:gd name="T2" fmla="*/ 0 w 320"/>
                <a:gd name="T3" fmla="*/ 0 h 305"/>
                <a:gd name="T4" fmla="*/ 0 w 320"/>
                <a:gd name="T5" fmla="*/ 0 h 305"/>
                <a:gd name="T6" fmla="*/ 0 w 320"/>
                <a:gd name="T7" fmla="*/ 0 h 305"/>
                <a:gd name="T8" fmla="*/ 0 w 320"/>
                <a:gd name="T9" fmla="*/ 0 h 305"/>
                <a:gd name="T10" fmla="*/ 0 w 320"/>
                <a:gd name="T11" fmla="*/ 0 h 305"/>
                <a:gd name="T12" fmla="*/ 0 w 320"/>
                <a:gd name="T13" fmla="*/ 0 h 305"/>
                <a:gd name="T14" fmla="*/ 0 w 320"/>
                <a:gd name="T15" fmla="*/ 0 h 305"/>
                <a:gd name="T16" fmla="*/ 0 w 320"/>
                <a:gd name="T17" fmla="*/ 0 h 305"/>
                <a:gd name="T18" fmla="*/ 0 w 320"/>
                <a:gd name="T19" fmla="*/ 0 h 305"/>
                <a:gd name="T20" fmla="*/ 0 w 320"/>
                <a:gd name="T21" fmla="*/ 0 h 305"/>
                <a:gd name="T22" fmla="*/ 0 w 320"/>
                <a:gd name="T23" fmla="*/ 0 h 305"/>
                <a:gd name="T24" fmla="*/ 0 w 320"/>
                <a:gd name="T25" fmla="*/ 0 h 305"/>
                <a:gd name="T26" fmla="*/ 0 w 320"/>
                <a:gd name="T27" fmla="*/ 0 h 305"/>
                <a:gd name="T28" fmla="*/ 0 w 320"/>
                <a:gd name="T29" fmla="*/ 0 h 305"/>
                <a:gd name="T30" fmla="*/ 0 w 320"/>
                <a:gd name="T31" fmla="*/ 0 h 305"/>
                <a:gd name="T32" fmla="*/ 0 w 320"/>
                <a:gd name="T33" fmla="*/ 0 h 305"/>
                <a:gd name="T34" fmla="*/ 0 w 320"/>
                <a:gd name="T35" fmla="*/ 0 h 305"/>
                <a:gd name="T36" fmla="*/ 0 w 320"/>
                <a:gd name="T37" fmla="*/ 0 h 305"/>
                <a:gd name="T38" fmla="*/ 0 w 320"/>
                <a:gd name="T39" fmla="*/ 0 h 305"/>
                <a:gd name="T40" fmla="*/ 0 w 320"/>
                <a:gd name="T41" fmla="*/ 0 h 305"/>
                <a:gd name="T42" fmla="*/ 0 w 320"/>
                <a:gd name="T43" fmla="*/ 0 h 305"/>
                <a:gd name="T44" fmla="*/ 0 w 320"/>
                <a:gd name="T45" fmla="*/ 0 h 305"/>
                <a:gd name="T46" fmla="*/ 0 w 320"/>
                <a:gd name="T47" fmla="*/ 0 h 305"/>
                <a:gd name="T48" fmla="*/ 0 w 320"/>
                <a:gd name="T49" fmla="*/ 0 h 305"/>
                <a:gd name="T50" fmla="*/ 0 w 320"/>
                <a:gd name="T51" fmla="*/ 0 h 305"/>
                <a:gd name="T52" fmla="*/ 0 w 320"/>
                <a:gd name="T53" fmla="*/ 0 h 305"/>
                <a:gd name="T54" fmla="*/ 0 w 320"/>
                <a:gd name="T55" fmla="*/ 0 h 305"/>
                <a:gd name="T56" fmla="*/ 0 w 320"/>
                <a:gd name="T57" fmla="*/ 0 h 305"/>
                <a:gd name="T58" fmla="*/ 0 w 320"/>
                <a:gd name="T59" fmla="*/ 0 h 305"/>
                <a:gd name="T60" fmla="*/ 0 w 320"/>
                <a:gd name="T61" fmla="*/ 0 h 305"/>
                <a:gd name="T62" fmla="*/ 0 w 320"/>
                <a:gd name="T63" fmla="*/ 0 h 305"/>
                <a:gd name="T64" fmla="*/ 0 w 320"/>
                <a:gd name="T65" fmla="*/ 0 h 305"/>
                <a:gd name="T66" fmla="*/ 0 w 320"/>
                <a:gd name="T67" fmla="*/ 0 h 305"/>
                <a:gd name="T68" fmla="*/ 0 w 320"/>
                <a:gd name="T69" fmla="*/ 0 h 305"/>
                <a:gd name="T70" fmla="*/ 0 w 320"/>
                <a:gd name="T71" fmla="*/ 0 h 305"/>
                <a:gd name="T72" fmla="*/ 0 w 320"/>
                <a:gd name="T73" fmla="*/ 0 h 305"/>
                <a:gd name="T74" fmla="*/ 0 w 320"/>
                <a:gd name="T75" fmla="*/ 0 h 305"/>
                <a:gd name="T76" fmla="*/ 0 w 320"/>
                <a:gd name="T77" fmla="*/ 0 h 305"/>
                <a:gd name="T78" fmla="*/ 0 w 320"/>
                <a:gd name="T79" fmla="*/ 0 h 305"/>
                <a:gd name="T80" fmla="*/ 0 w 320"/>
                <a:gd name="T81" fmla="*/ 0 h 305"/>
                <a:gd name="T82" fmla="*/ 0 w 320"/>
                <a:gd name="T83" fmla="*/ 0 h 305"/>
                <a:gd name="T84" fmla="*/ 0 w 320"/>
                <a:gd name="T85" fmla="*/ 0 h 305"/>
                <a:gd name="T86" fmla="*/ 0 w 320"/>
                <a:gd name="T87" fmla="*/ 0 h 305"/>
                <a:gd name="T88" fmla="*/ 0 w 320"/>
                <a:gd name="T89" fmla="*/ 0 h 305"/>
                <a:gd name="T90" fmla="*/ 0 w 320"/>
                <a:gd name="T91" fmla="*/ 0 h 305"/>
                <a:gd name="T92" fmla="*/ 0 w 320"/>
                <a:gd name="T93" fmla="*/ 0 h 305"/>
                <a:gd name="T94" fmla="*/ 0 w 320"/>
                <a:gd name="T95" fmla="*/ 0 h 305"/>
                <a:gd name="T96" fmla="*/ 0 w 320"/>
                <a:gd name="T97" fmla="*/ 0 h 30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20"/>
                <a:gd name="T148" fmla="*/ 0 h 305"/>
                <a:gd name="T149" fmla="*/ 320 w 320"/>
                <a:gd name="T150" fmla="*/ 305 h 30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20" h="305">
                  <a:moveTo>
                    <a:pt x="51" y="35"/>
                  </a:moveTo>
                  <a:cubicBezTo>
                    <a:pt x="51" y="35"/>
                    <a:pt x="51" y="43"/>
                    <a:pt x="50" y="50"/>
                  </a:cubicBezTo>
                  <a:cubicBezTo>
                    <a:pt x="49" y="57"/>
                    <a:pt x="31" y="57"/>
                    <a:pt x="31" y="5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20" y="72"/>
                    <a:pt x="20" y="75"/>
                  </a:cubicBezTo>
                  <a:cubicBezTo>
                    <a:pt x="20" y="78"/>
                    <a:pt x="26" y="88"/>
                    <a:pt x="26" y="106"/>
                  </a:cubicBezTo>
                  <a:cubicBezTo>
                    <a:pt x="26" y="124"/>
                    <a:pt x="14" y="126"/>
                    <a:pt x="14" y="126"/>
                  </a:cubicBezTo>
                  <a:cubicBezTo>
                    <a:pt x="14" y="126"/>
                    <a:pt x="13" y="136"/>
                    <a:pt x="13" y="143"/>
                  </a:cubicBezTo>
                  <a:cubicBezTo>
                    <a:pt x="13" y="150"/>
                    <a:pt x="2" y="149"/>
                    <a:pt x="1" y="157"/>
                  </a:cubicBezTo>
                  <a:cubicBezTo>
                    <a:pt x="0" y="165"/>
                    <a:pt x="6" y="167"/>
                    <a:pt x="6" y="167"/>
                  </a:cubicBezTo>
                  <a:cubicBezTo>
                    <a:pt x="8" y="200"/>
                    <a:pt x="8" y="200"/>
                    <a:pt x="8" y="200"/>
                  </a:cubicBezTo>
                  <a:cubicBezTo>
                    <a:pt x="31" y="201"/>
                    <a:pt x="31" y="201"/>
                    <a:pt x="31" y="201"/>
                  </a:cubicBezTo>
                  <a:cubicBezTo>
                    <a:pt x="31" y="201"/>
                    <a:pt x="36" y="191"/>
                    <a:pt x="41" y="191"/>
                  </a:cubicBezTo>
                  <a:cubicBezTo>
                    <a:pt x="46" y="191"/>
                    <a:pt x="49" y="211"/>
                    <a:pt x="57" y="211"/>
                  </a:cubicBezTo>
                  <a:cubicBezTo>
                    <a:pt x="65" y="211"/>
                    <a:pt x="73" y="170"/>
                    <a:pt x="73" y="170"/>
                  </a:cubicBezTo>
                  <a:cubicBezTo>
                    <a:pt x="73" y="170"/>
                    <a:pt x="85" y="177"/>
                    <a:pt x="89" y="179"/>
                  </a:cubicBezTo>
                  <a:cubicBezTo>
                    <a:pt x="93" y="181"/>
                    <a:pt x="99" y="194"/>
                    <a:pt x="99" y="194"/>
                  </a:cubicBezTo>
                  <a:cubicBezTo>
                    <a:pt x="99" y="194"/>
                    <a:pt x="113" y="194"/>
                    <a:pt x="116" y="194"/>
                  </a:cubicBezTo>
                  <a:cubicBezTo>
                    <a:pt x="119" y="194"/>
                    <a:pt x="128" y="181"/>
                    <a:pt x="128" y="181"/>
                  </a:cubicBezTo>
                  <a:cubicBezTo>
                    <a:pt x="128" y="181"/>
                    <a:pt x="134" y="194"/>
                    <a:pt x="137" y="194"/>
                  </a:cubicBezTo>
                  <a:cubicBezTo>
                    <a:pt x="140" y="194"/>
                    <a:pt x="151" y="187"/>
                    <a:pt x="155" y="187"/>
                  </a:cubicBezTo>
                  <a:cubicBezTo>
                    <a:pt x="159" y="187"/>
                    <a:pt x="165" y="192"/>
                    <a:pt x="165" y="192"/>
                  </a:cubicBezTo>
                  <a:cubicBezTo>
                    <a:pt x="185" y="193"/>
                    <a:pt x="185" y="193"/>
                    <a:pt x="185" y="193"/>
                  </a:cubicBezTo>
                  <a:cubicBezTo>
                    <a:pt x="196" y="207"/>
                    <a:pt x="196" y="207"/>
                    <a:pt x="196" y="207"/>
                  </a:cubicBezTo>
                  <a:cubicBezTo>
                    <a:pt x="196" y="207"/>
                    <a:pt x="208" y="208"/>
                    <a:pt x="216" y="216"/>
                  </a:cubicBezTo>
                  <a:cubicBezTo>
                    <a:pt x="224" y="224"/>
                    <a:pt x="227" y="234"/>
                    <a:pt x="231" y="242"/>
                  </a:cubicBezTo>
                  <a:cubicBezTo>
                    <a:pt x="235" y="250"/>
                    <a:pt x="253" y="252"/>
                    <a:pt x="257" y="257"/>
                  </a:cubicBezTo>
                  <a:cubicBezTo>
                    <a:pt x="261" y="262"/>
                    <a:pt x="261" y="271"/>
                    <a:pt x="262" y="277"/>
                  </a:cubicBezTo>
                  <a:cubicBezTo>
                    <a:pt x="263" y="283"/>
                    <a:pt x="280" y="283"/>
                    <a:pt x="280" y="283"/>
                  </a:cubicBezTo>
                  <a:cubicBezTo>
                    <a:pt x="288" y="295"/>
                    <a:pt x="288" y="295"/>
                    <a:pt x="288" y="295"/>
                  </a:cubicBezTo>
                  <a:cubicBezTo>
                    <a:pt x="304" y="305"/>
                    <a:pt x="304" y="305"/>
                    <a:pt x="304" y="305"/>
                  </a:cubicBezTo>
                  <a:cubicBezTo>
                    <a:pt x="311" y="293"/>
                    <a:pt x="311" y="293"/>
                    <a:pt x="311" y="293"/>
                  </a:cubicBezTo>
                  <a:cubicBezTo>
                    <a:pt x="320" y="287"/>
                    <a:pt x="320" y="287"/>
                    <a:pt x="320" y="287"/>
                  </a:cubicBezTo>
                  <a:cubicBezTo>
                    <a:pt x="312" y="277"/>
                    <a:pt x="304" y="268"/>
                    <a:pt x="304" y="268"/>
                  </a:cubicBezTo>
                  <a:cubicBezTo>
                    <a:pt x="304" y="268"/>
                    <a:pt x="287" y="271"/>
                    <a:pt x="285" y="264"/>
                  </a:cubicBezTo>
                  <a:cubicBezTo>
                    <a:pt x="283" y="257"/>
                    <a:pt x="283" y="239"/>
                    <a:pt x="283" y="239"/>
                  </a:cubicBezTo>
                  <a:cubicBezTo>
                    <a:pt x="283" y="239"/>
                    <a:pt x="244" y="225"/>
                    <a:pt x="241" y="216"/>
                  </a:cubicBezTo>
                  <a:cubicBezTo>
                    <a:pt x="238" y="207"/>
                    <a:pt x="238" y="185"/>
                    <a:pt x="231" y="181"/>
                  </a:cubicBezTo>
                  <a:cubicBezTo>
                    <a:pt x="224" y="177"/>
                    <a:pt x="207" y="181"/>
                    <a:pt x="204" y="177"/>
                  </a:cubicBezTo>
                  <a:cubicBezTo>
                    <a:pt x="201" y="173"/>
                    <a:pt x="190" y="159"/>
                    <a:pt x="190" y="159"/>
                  </a:cubicBezTo>
                  <a:cubicBezTo>
                    <a:pt x="177" y="165"/>
                    <a:pt x="177" y="165"/>
                    <a:pt x="177" y="165"/>
                  </a:cubicBezTo>
                  <a:cubicBezTo>
                    <a:pt x="169" y="152"/>
                    <a:pt x="169" y="152"/>
                    <a:pt x="169" y="152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7" y="149"/>
                    <a:pt x="137" y="129"/>
                    <a:pt x="134" y="117"/>
                  </a:cubicBezTo>
                  <a:cubicBezTo>
                    <a:pt x="131" y="105"/>
                    <a:pt x="135" y="85"/>
                    <a:pt x="128" y="62"/>
                  </a:cubicBezTo>
                  <a:cubicBezTo>
                    <a:pt x="121" y="39"/>
                    <a:pt x="100" y="1"/>
                    <a:pt x="100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9"/>
                    <a:pt x="92" y="21"/>
                    <a:pt x="87" y="25"/>
                  </a:cubicBezTo>
                  <a:cubicBezTo>
                    <a:pt x="78" y="33"/>
                    <a:pt x="51" y="35"/>
                    <a:pt x="51" y="35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91" name="Freeform 107"/>
            <p:cNvSpPr>
              <a:spLocks/>
            </p:cNvSpPr>
            <p:nvPr/>
          </p:nvSpPr>
          <p:spPr bwMode="auto">
            <a:xfrm>
              <a:off x="3265" y="2450"/>
              <a:ext cx="269" cy="233"/>
            </a:xfrm>
            <a:custGeom>
              <a:avLst/>
              <a:gdLst>
                <a:gd name="T0" fmla="*/ 0 w 709"/>
                <a:gd name="T1" fmla="*/ 0 h 615"/>
                <a:gd name="T2" fmla="*/ 0 w 709"/>
                <a:gd name="T3" fmla="*/ 0 h 615"/>
                <a:gd name="T4" fmla="*/ 0 w 709"/>
                <a:gd name="T5" fmla="*/ 0 h 615"/>
                <a:gd name="T6" fmla="*/ 0 w 709"/>
                <a:gd name="T7" fmla="*/ 0 h 615"/>
                <a:gd name="T8" fmla="*/ 0 w 709"/>
                <a:gd name="T9" fmla="*/ 0 h 615"/>
                <a:gd name="T10" fmla="*/ 0 w 709"/>
                <a:gd name="T11" fmla="*/ 0 h 615"/>
                <a:gd name="T12" fmla="*/ 0 w 709"/>
                <a:gd name="T13" fmla="*/ 0 h 615"/>
                <a:gd name="T14" fmla="*/ 0 w 709"/>
                <a:gd name="T15" fmla="*/ 0 h 615"/>
                <a:gd name="T16" fmla="*/ 0 w 709"/>
                <a:gd name="T17" fmla="*/ 0 h 615"/>
                <a:gd name="T18" fmla="*/ 0 w 709"/>
                <a:gd name="T19" fmla="*/ 0 h 615"/>
                <a:gd name="T20" fmla="*/ 0 w 709"/>
                <a:gd name="T21" fmla="*/ 0 h 615"/>
                <a:gd name="T22" fmla="*/ 0 w 709"/>
                <a:gd name="T23" fmla="*/ 0 h 615"/>
                <a:gd name="T24" fmla="*/ 0 w 709"/>
                <a:gd name="T25" fmla="*/ 0 h 615"/>
                <a:gd name="T26" fmla="*/ 0 w 709"/>
                <a:gd name="T27" fmla="*/ 0 h 615"/>
                <a:gd name="T28" fmla="*/ 0 w 709"/>
                <a:gd name="T29" fmla="*/ 0 h 615"/>
                <a:gd name="T30" fmla="*/ 0 w 709"/>
                <a:gd name="T31" fmla="*/ 0 h 615"/>
                <a:gd name="T32" fmla="*/ 0 w 709"/>
                <a:gd name="T33" fmla="*/ 0 h 615"/>
                <a:gd name="T34" fmla="*/ 0 w 709"/>
                <a:gd name="T35" fmla="*/ 0 h 615"/>
                <a:gd name="T36" fmla="*/ 0 w 709"/>
                <a:gd name="T37" fmla="*/ 0 h 615"/>
                <a:gd name="T38" fmla="*/ 0 w 709"/>
                <a:gd name="T39" fmla="*/ 0 h 615"/>
                <a:gd name="T40" fmla="*/ 0 w 709"/>
                <a:gd name="T41" fmla="*/ 0 h 615"/>
                <a:gd name="T42" fmla="*/ 0 w 709"/>
                <a:gd name="T43" fmla="*/ 0 h 615"/>
                <a:gd name="T44" fmla="*/ 0 w 709"/>
                <a:gd name="T45" fmla="*/ 0 h 615"/>
                <a:gd name="T46" fmla="*/ 0 w 709"/>
                <a:gd name="T47" fmla="*/ 0 h 615"/>
                <a:gd name="T48" fmla="*/ 0 w 709"/>
                <a:gd name="T49" fmla="*/ 0 h 615"/>
                <a:gd name="T50" fmla="*/ 0 w 709"/>
                <a:gd name="T51" fmla="*/ 0 h 615"/>
                <a:gd name="T52" fmla="*/ 0 w 709"/>
                <a:gd name="T53" fmla="*/ 0 h 615"/>
                <a:gd name="T54" fmla="*/ 0 w 709"/>
                <a:gd name="T55" fmla="*/ 0 h 615"/>
                <a:gd name="T56" fmla="*/ 0 w 709"/>
                <a:gd name="T57" fmla="*/ 0 h 615"/>
                <a:gd name="T58" fmla="*/ 0 w 709"/>
                <a:gd name="T59" fmla="*/ 0 h 615"/>
                <a:gd name="T60" fmla="*/ 0 w 709"/>
                <a:gd name="T61" fmla="*/ 0 h 615"/>
                <a:gd name="T62" fmla="*/ 0 w 709"/>
                <a:gd name="T63" fmla="*/ 0 h 615"/>
                <a:gd name="T64" fmla="*/ 0 w 709"/>
                <a:gd name="T65" fmla="*/ 0 h 615"/>
                <a:gd name="T66" fmla="*/ 0 w 709"/>
                <a:gd name="T67" fmla="*/ 0 h 615"/>
                <a:gd name="T68" fmla="*/ 0 w 709"/>
                <a:gd name="T69" fmla="*/ 0 h 615"/>
                <a:gd name="T70" fmla="*/ 0 w 709"/>
                <a:gd name="T71" fmla="*/ 0 h 615"/>
                <a:gd name="T72" fmla="*/ 0 w 709"/>
                <a:gd name="T73" fmla="*/ 0 h 615"/>
                <a:gd name="T74" fmla="*/ 0 w 709"/>
                <a:gd name="T75" fmla="*/ 0 h 615"/>
                <a:gd name="T76" fmla="*/ 0 w 709"/>
                <a:gd name="T77" fmla="*/ 0 h 615"/>
                <a:gd name="T78" fmla="*/ 0 w 709"/>
                <a:gd name="T79" fmla="*/ 0 h 615"/>
                <a:gd name="T80" fmla="*/ 0 w 709"/>
                <a:gd name="T81" fmla="*/ 0 h 615"/>
                <a:gd name="T82" fmla="*/ 0 w 709"/>
                <a:gd name="T83" fmla="*/ 0 h 615"/>
                <a:gd name="T84" fmla="*/ 0 w 709"/>
                <a:gd name="T85" fmla="*/ 0 h 615"/>
                <a:gd name="T86" fmla="*/ 0 w 709"/>
                <a:gd name="T87" fmla="*/ 0 h 61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09"/>
                <a:gd name="T133" fmla="*/ 0 h 615"/>
                <a:gd name="T134" fmla="*/ 709 w 709"/>
                <a:gd name="T135" fmla="*/ 615 h 61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09" h="615">
                  <a:moveTo>
                    <a:pt x="60" y="425"/>
                  </a:moveTo>
                  <a:cubicBezTo>
                    <a:pt x="64" y="430"/>
                    <a:pt x="75" y="428"/>
                    <a:pt x="75" y="428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9" y="467"/>
                    <a:pt x="89" y="467"/>
                    <a:pt x="89" y="467"/>
                  </a:cubicBezTo>
                  <a:cubicBezTo>
                    <a:pt x="96" y="471"/>
                    <a:pt x="96" y="471"/>
                    <a:pt x="96" y="471"/>
                  </a:cubicBezTo>
                  <a:cubicBezTo>
                    <a:pt x="96" y="471"/>
                    <a:pt x="98" y="498"/>
                    <a:pt x="108" y="506"/>
                  </a:cubicBezTo>
                  <a:cubicBezTo>
                    <a:pt x="118" y="514"/>
                    <a:pt x="128" y="505"/>
                    <a:pt x="133" y="513"/>
                  </a:cubicBezTo>
                  <a:cubicBezTo>
                    <a:pt x="138" y="521"/>
                    <a:pt x="137" y="535"/>
                    <a:pt x="137" y="535"/>
                  </a:cubicBezTo>
                  <a:cubicBezTo>
                    <a:pt x="138" y="545"/>
                    <a:pt x="138" y="545"/>
                    <a:pt x="138" y="545"/>
                  </a:cubicBezTo>
                  <a:cubicBezTo>
                    <a:pt x="144" y="560"/>
                    <a:pt x="144" y="560"/>
                    <a:pt x="144" y="560"/>
                  </a:cubicBezTo>
                  <a:cubicBezTo>
                    <a:pt x="191" y="562"/>
                    <a:pt x="191" y="562"/>
                    <a:pt x="191" y="562"/>
                  </a:cubicBezTo>
                  <a:cubicBezTo>
                    <a:pt x="242" y="602"/>
                    <a:pt x="242" y="602"/>
                    <a:pt x="242" y="602"/>
                  </a:cubicBezTo>
                  <a:cubicBezTo>
                    <a:pt x="242" y="602"/>
                    <a:pt x="269" y="604"/>
                    <a:pt x="282" y="606"/>
                  </a:cubicBezTo>
                  <a:cubicBezTo>
                    <a:pt x="295" y="608"/>
                    <a:pt x="313" y="615"/>
                    <a:pt x="313" y="615"/>
                  </a:cubicBezTo>
                  <a:cubicBezTo>
                    <a:pt x="326" y="601"/>
                    <a:pt x="326" y="601"/>
                    <a:pt x="326" y="601"/>
                  </a:cubicBezTo>
                  <a:cubicBezTo>
                    <a:pt x="326" y="601"/>
                    <a:pt x="324" y="597"/>
                    <a:pt x="331" y="591"/>
                  </a:cubicBezTo>
                  <a:cubicBezTo>
                    <a:pt x="338" y="585"/>
                    <a:pt x="360" y="577"/>
                    <a:pt x="360" y="577"/>
                  </a:cubicBezTo>
                  <a:cubicBezTo>
                    <a:pt x="372" y="568"/>
                    <a:pt x="372" y="568"/>
                    <a:pt x="372" y="568"/>
                  </a:cubicBezTo>
                  <a:cubicBezTo>
                    <a:pt x="388" y="585"/>
                    <a:pt x="388" y="585"/>
                    <a:pt x="388" y="585"/>
                  </a:cubicBezTo>
                  <a:cubicBezTo>
                    <a:pt x="406" y="586"/>
                    <a:pt x="406" y="586"/>
                    <a:pt x="406" y="586"/>
                  </a:cubicBezTo>
                  <a:cubicBezTo>
                    <a:pt x="410" y="582"/>
                    <a:pt x="410" y="582"/>
                    <a:pt x="410" y="582"/>
                  </a:cubicBezTo>
                  <a:cubicBezTo>
                    <a:pt x="426" y="588"/>
                    <a:pt x="426" y="588"/>
                    <a:pt x="426" y="588"/>
                  </a:cubicBezTo>
                  <a:cubicBezTo>
                    <a:pt x="426" y="588"/>
                    <a:pt x="426" y="577"/>
                    <a:pt x="434" y="574"/>
                  </a:cubicBezTo>
                  <a:cubicBezTo>
                    <a:pt x="442" y="571"/>
                    <a:pt x="467" y="573"/>
                    <a:pt x="473" y="567"/>
                  </a:cubicBezTo>
                  <a:cubicBezTo>
                    <a:pt x="479" y="561"/>
                    <a:pt x="480" y="549"/>
                    <a:pt x="480" y="549"/>
                  </a:cubicBezTo>
                  <a:cubicBezTo>
                    <a:pt x="480" y="549"/>
                    <a:pt x="505" y="537"/>
                    <a:pt x="513" y="535"/>
                  </a:cubicBezTo>
                  <a:cubicBezTo>
                    <a:pt x="521" y="533"/>
                    <a:pt x="569" y="535"/>
                    <a:pt x="569" y="535"/>
                  </a:cubicBezTo>
                  <a:cubicBezTo>
                    <a:pt x="709" y="370"/>
                    <a:pt x="709" y="370"/>
                    <a:pt x="709" y="370"/>
                  </a:cubicBezTo>
                  <a:cubicBezTo>
                    <a:pt x="661" y="373"/>
                    <a:pt x="661" y="373"/>
                    <a:pt x="661" y="373"/>
                  </a:cubicBezTo>
                  <a:cubicBezTo>
                    <a:pt x="661" y="373"/>
                    <a:pt x="628" y="353"/>
                    <a:pt x="609" y="347"/>
                  </a:cubicBezTo>
                  <a:cubicBezTo>
                    <a:pt x="590" y="341"/>
                    <a:pt x="538" y="328"/>
                    <a:pt x="527" y="320"/>
                  </a:cubicBezTo>
                  <a:cubicBezTo>
                    <a:pt x="516" y="312"/>
                    <a:pt x="506" y="295"/>
                    <a:pt x="506" y="295"/>
                  </a:cubicBezTo>
                  <a:cubicBezTo>
                    <a:pt x="491" y="295"/>
                    <a:pt x="491" y="295"/>
                    <a:pt x="491" y="295"/>
                  </a:cubicBezTo>
                  <a:cubicBezTo>
                    <a:pt x="491" y="295"/>
                    <a:pt x="487" y="278"/>
                    <a:pt x="481" y="270"/>
                  </a:cubicBezTo>
                  <a:cubicBezTo>
                    <a:pt x="475" y="262"/>
                    <a:pt x="462" y="246"/>
                    <a:pt x="462" y="246"/>
                  </a:cubicBezTo>
                  <a:cubicBezTo>
                    <a:pt x="463" y="238"/>
                    <a:pt x="463" y="238"/>
                    <a:pt x="463" y="238"/>
                  </a:cubicBezTo>
                  <a:cubicBezTo>
                    <a:pt x="454" y="230"/>
                    <a:pt x="454" y="230"/>
                    <a:pt x="454" y="230"/>
                  </a:cubicBezTo>
                  <a:cubicBezTo>
                    <a:pt x="467" y="210"/>
                    <a:pt x="467" y="210"/>
                    <a:pt x="467" y="210"/>
                  </a:cubicBezTo>
                  <a:cubicBezTo>
                    <a:pt x="463" y="206"/>
                    <a:pt x="458" y="202"/>
                    <a:pt x="454" y="201"/>
                  </a:cubicBezTo>
                  <a:cubicBezTo>
                    <a:pt x="447" y="200"/>
                    <a:pt x="444" y="208"/>
                    <a:pt x="444" y="208"/>
                  </a:cubicBezTo>
                  <a:cubicBezTo>
                    <a:pt x="444" y="208"/>
                    <a:pt x="427" y="212"/>
                    <a:pt x="419" y="211"/>
                  </a:cubicBezTo>
                  <a:cubicBezTo>
                    <a:pt x="411" y="210"/>
                    <a:pt x="408" y="173"/>
                    <a:pt x="408" y="173"/>
                  </a:cubicBezTo>
                  <a:cubicBezTo>
                    <a:pt x="421" y="164"/>
                    <a:pt x="421" y="164"/>
                    <a:pt x="421" y="164"/>
                  </a:cubicBezTo>
                  <a:cubicBezTo>
                    <a:pt x="439" y="125"/>
                    <a:pt x="439" y="125"/>
                    <a:pt x="439" y="125"/>
                  </a:cubicBezTo>
                  <a:cubicBezTo>
                    <a:pt x="431" y="113"/>
                    <a:pt x="431" y="113"/>
                    <a:pt x="431" y="113"/>
                  </a:cubicBezTo>
                  <a:cubicBezTo>
                    <a:pt x="431" y="113"/>
                    <a:pt x="414" y="113"/>
                    <a:pt x="413" y="107"/>
                  </a:cubicBezTo>
                  <a:cubicBezTo>
                    <a:pt x="412" y="101"/>
                    <a:pt x="412" y="92"/>
                    <a:pt x="408" y="87"/>
                  </a:cubicBezTo>
                  <a:cubicBezTo>
                    <a:pt x="404" y="82"/>
                    <a:pt x="386" y="80"/>
                    <a:pt x="382" y="72"/>
                  </a:cubicBezTo>
                  <a:cubicBezTo>
                    <a:pt x="378" y="64"/>
                    <a:pt x="375" y="54"/>
                    <a:pt x="367" y="46"/>
                  </a:cubicBezTo>
                  <a:cubicBezTo>
                    <a:pt x="359" y="38"/>
                    <a:pt x="347" y="37"/>
                    <a:pt x="347" y="37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16" y="22"/>
                    <a:pt x="316" y="22"/>
                    <a:pt x="316" y="22"/>
                  </a:cubicBezTo>
                  <a:cubicBezTo>
                    <a:pt x="316" y="22"/>
                    <a:pt x="310" y="17"/>
                    <a:pt x="306" y="17"/>
                  </a:cubicBezTo>
                  <a:cubicBezTo>
                    <a:pt x="302" y="17"/>
                    <a:pt x="291" y="24"/>
                    <a:pt x="288" y="24"/>
                  </a:cubicBezTo>
                  <a:cubicBezTo>
                    <a:pt x="285" y="24"/>
                    <a:pt x="279" y="11"/>
                    <a:pt x="279" y="11"/>
                  </a:cubicBezTo>
                  <a:cubicBezTo>
                    <a:pt x="279" y="11"/>
                    <a:pt x="270" y="24"/>
                    <a:pt x="267" y="24"/>
                  </a:cubicBezTo>
                  <a:cubicBezTo>
                    <a:pt x="264" y="24"/>
                    <a:pt x="250" y="24"/>
                    <a:pt x="250" y="24"/>
                  </a:cubicBezTo>
                  <a:cubicBezTo>
                    <a:pt x="250" y="24"/>
                    <a:pt x="244" y="11"/>
                    <a:pt x="240" y="9"/>
                  </a:cubicBezTo>
                  <a:cubicBezTo>
                    <a:pt x="236" y="7"/>
                    <a:pt x="224" y="0"/>
                    <a:pt x="224" y="0"/>
                  </a:cubicBezTo>
                  <a:cubicBezTo>
                    <a:pt x="224" y="0"/>
                    <a:pt x="216" y="41"/>
                    <a:pt x="208" y="41"/>
                  </a:cubicBezTo>
                  <a:cubicBezTo>
                    <a:pt x="200" y="41"/>
                    <a:pt x="197" y="21"/>
                    <a:pt x="192" y="21"/>
                  </a:cubicBezTo>
                  <a:cubicBezTo>
                    <a:pt x="187" y="21"/>
                    <a:pt x="182" y="31"/>
                    <a:pt x="182" y="31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60"/>
                    <a:pt x="159" y="60"/>
                    <a:pt x="159" y="60"/>
                  </a:cubicBezTo>
                  <a:cubicBezTo>
                    <a:pt x="159" y="60"/>
                    <a:pt x="143" y="80"/>
                    <a:pt x="143" y="88"/>
                  </a:cubicBezTo>
                  <a:cubicBezTo>
                    <a:pt x="143" y="96"/>
                    <a:pt x="145" y="114"/>
                    <a:pt x="145" y="114"/>
                  </a:cubicBezTo>
                  <a:cubicBezTo>
                    <a:pt x="123" y="116"/>
                    <a:pt x="123" y="116"/>
                    <a:pt x="123" y="116"/>
                  </a:cubicBezTo>
                  <a:cubicBezTo>
                    <a:pt x="123" y="116"/>
                    <a:pt x="112" y="130"/>
                    <a:pt x="111" y="135"/>
                  </a:cubicBezTo>
                  <a:cubicBezTo>
                    <a:pt x="110" y="140"/>
                    <a:pt x="115" y="150"/>
                    <a:pt x="110" y="155"/>
                  </a:cubicBezTo>
                  <a:cubicBezTo>
                    <a:pt x="105" y="160"/>
                    <a:pt x="94" y="164"/>
                    <a:pt x="94" y="164"/>
                  </a:cubicBezTo>
                  <a:cubicBezTo>
                    <a:pt x="96" y="179"/>
                    <a:pt x="96" y="179"/>
                    <a:pt x="96" y="179"/>
                  </a:cubicBezTo>
                  <a:cubicBezTo>
                    <a:pt x="89" y="190"/>
                    <a:pt x="89" y="190"/>
                    <a:pt x="89" y="190"/>
                  </a:cubicBezTo>
                  <a:cubicBezTo>
                    <a:pt x="89" y="190"/>
                    <a:pt x="96" y="213"/>
                    <a:pt x="90" y="221"/>
                  </a:cubicBezTo>
                  <a:cubicBezTo>
                    <a:pt x="84" y="229"/>
                    <a:pt x="78" y="226"/>
                    <a:pt x="78" y="226"/>
                  </a:cubicBezTo>
                  <a:cubicBezTo>
                    <a:pt x="78" y="226"/>
                    <a:pt x="76" y="215"/>
                    <a:pt x="71" y="215"/>
                  </a:cubicBezTo>
                  <a:cubicBezTo>
                    <a:pt x="66" y="215"/>
                    <a:pt x="60" y="228"/>
                    <a:pt x="60" y="235"/>
                  </a:cubicBezTo>
                  <a:cubicBezTo>
                    <a:pt x="60" y="242"/>
                    <a:pt x="66" y="253"/>
                    <a:pt x="65" y="256"/>
                  </a:cubicBezTo>
                  <a:cubicBezTo>
                    <a:pt x="64" y="259"/>
                    <a:pt x="49" y="270"/>
                    <a:pt x="48" y="278"/>
                  </a:cubicBezTo>
                  <a:cubicBezTo>
                    <a:pt x="47" y="286"/>
                    <a:pt x="54" y="305"/>
                    <a:pt x="54" y="305"/>
                  </a:cubicBezTo>
                  <a:cubicBezTo>
                    <a:pt x="54" y="305"/>
                    <a:pt x="57" y="336"/>
                    <a:pt x="50" y="341"/>
                  </a:cubicBezTo>
                  <a:cubicBezTo>
                    <a:pt x="43" y="346"/>
                    <a:pt x="36" y="351"/>
                    <a:pt x="36" y="351"/>
                  </a:cubicBezTo>
                  <a:cubicBezTo>
                    <a:pt x="31" y="346"/>
                    <a:pt x="31" y="346"/>
                    <a:pt x="31" y="346"/>
                  </a:cubicBezTo>
                  <a:cubicBezTo>
                    <a:pt x="8" y="345"/>
                    <a:pt x="8" y="345"/>
                    <a:pt x="8" y="345"/>
                  </a:cubicBezTo>
                  <a:cubicBezTo>
                    <a:pt x="10" y="361"/>
                    <a:pt x="10" y="361"/>
                    <a:pt x="10" y="361"/>
                  </a:cubicBezTo>
                  <a:cubicBezTo>
                    <a:pt x="10" y="361"/>
                    <a:pt x="0" y="378"/>
                    <a:pt x="3" y="383"/>
                  </a:cubicBezTo>
                  <a:cubicBezTo>
                    <a:pt x="6" y="388"/>
                    <a:pt x="22" y="382"/>
                    <a:pt x="30" y="386"/>
                  </a:cubicBezTo>
                  <a:cubicBezTo>
                    <a:pt x="38" y="390"/>
                    <a:pt x="55" y="405"/>
                    <a:pt x="55" y="405"/>
                  </a:cubicBezTo>
                  <a:cubicBezTo>
                    <a:pt x="55" y="405"/>
                    <a:pt x="56" y="420"/>
                    <a:pt x="60" y="425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92" name="Freeform 108"/>
            <p:cNvSpPr>
              <a:spLocks/>
            </p:cNvSpPr>
            <p:nvPr/>
          </p:nvSpPr>
          <p:spPr bwMode="auto">
            <a:xfrm>
              <a:off x="3105" y="2108"/>
              <a:ext cx="201" cy="207"/>
            </a:xfrm>
            <a:custGeom>
              <a:avLst/>
              <a:gdLst>
                <a:gd name="T0" fmla="*/ 0 w 530"/>
                <a:gd name="T1" fmla="*/ 0 h 546"/>
                <a:gd name="T2" fmla="*/ 0 w 530"/>
                <a:gd name="T3" fmla="*/ 0 h 546"/>
                <a:gd name="T4" fmla="*/ 0 w 530"/>
                <a:gd name="T5" fmla="*/ 0 h 546"/>
                <a:gd name="T6" fmla="*/ 0 w 530"/>
                <a:gd name="T7" fmla="*/ 0 h 546"/>
                <a:gd name="T8" fmla="*/ 0 w 530"/>
                <a:gd name="T9" fmla="*/ 0 h 546"/>
                <a:gd name="T10" fmla="*/ 0 w 530"/>
                <a:gd name="T11" fmla="*/ 0 h 546"/>
                <a:gd name="T12" fmla="*/ 0 w 530"/>
                <a:gd name="T13" fmla="*/ 0 h 546"/>
                <a:gd name="T14" fmla="*/ 0 w 530"/>
                <a:gd name="T15" fmla="*/ 0 h 546"/>
                <a:gd name="T16" fmla="*/ 0 w 530"/>
                <a:gd name="T17" fmla="*/ 0 h 546"/>
                <a:gd name="T18" fmla="*/ 0 w 530"/>
                <a:gd name="T19" fmla="*/ 0 h 546"/>
                <a:gd name="T20" fmla="*/ 0 w 530"/>
                <a:gd name="T21" fmla="*/ 0 h 546"/>
                <a:gd name="T22" fmla="*/ 0 w 530"/>
                <a:gd name="T23" fmla="*/ 0 h 546"/>
                <a:gd name="T24" fmla="*/ 0 w 530"/>
                <a:gd name="T25" fmla="*/ 0 h 546"/>
                <a:gd name="T26" fmla="*/ 0 w 530"/>
                <a:gd name="T27" fmla="*/ 0 h 546"/>
                <a:gd name="T28" fmla="*/ 0 w 530"/>
                <a:gd name="T29" fmla="*/ 0 h 546"/>
                <a:gd name="T30" fmla="*/ 0 w 530"/>
                <a:gd name="T31" fmla="*/ 0 h 546"/>
                <a:gd name="T32" fmla="*/ 0 w 530"/>
                <a:gd name="T33" fmla="*/ 0 h 546"/>
                <a:gd name="T34" fmla="*/ 0 w 530"/>
                <a:gd name="T35" fmla="*/ 0 h 546"/>
                <a:gd name="T36" fmla="*/ 0 w 530"/>
                <a:gd name="T37" fmla="*/ 0 h 546"/>
                <a:gd name="T38" fmla="*/ 0 w 530"/>
                <a:gd name="T39" fmla="*/ 0 h 546"/>
                <a:gd name="T40" fmla="*/ 0 w 530"/>
                <a:gd name="T41" fmla="*/ 0 h 546"/>
                <a:gd name="T42" fmla="*/ 0 w 530"/>
                <a:gd name="T43" fmla="*/ 0 h 546"/>
                <a:gd name="T44" fmla="*/ 0 w 530"/>
                <a:gd name="T45" fmla="*/ 0 h 546"/>
                <a:gd name="T46" fmla="*/ 0 w 530"/>
                <a:gd name="T47" fmla="*/ 0 h 546"/>
                <a:gd name="T48" fmla="*/ 0 w 530"/>
                <a:gd name="T49" fmla="*/ 0 h 546"/>
                <a:gd name="T50" fmla="*/ 0 w 530"/>
                <a:gd name="T51" fmla="*/ 0 h 546"/>
                <a:gd name="T52" fmla="*/ 0 w 530"/>
                <a:gd name="T53" fmla="*/ 0 h 546"/>
                <a:gd name="T54" fmla="*/ 0 w 530"/>
                <a:gd name="T55" fmla="*/ 0 h 546"/>
                <a:gd name="T56" fmla="*/ 0 w 530"/>
                <a:gd name="T57" fmla="*/ 0 h 546"/>
                <a:gd name="T58" fmla="*/ 0 w 530"/>
                <a:gd name="T59" fmla="*/ 0 h 546"/>
                <a:gd name="T60" fmla="*/ 0 w 530"/>
                <a:gd name="T61" fmla="*/ 0 h 546"/>
                <a:gd name="T62" fmla="*/ 0 w 530"/>
                <a:gd name="T63" fmla="*/ 0 h 546"/>
                <a:gd name="T64" fmla="*/ 0 w 530"/>
                <a:gd name="T65" fmla="*/ 0 h 546"/>
                <a:gd name="T66" fmla="*/ 0 w 530"/>
                <a:gd name="T67" fmla="*/ 0 h 546"/>
                <a:gd name="T68" fmla="*/ 0 w 530"/>
                <a:gd name="T69" fmla="*/ 0 h 546"/>
                <a:gd name="T70" fmla="*/ 0 w 530"/>
                <a:gd name="T71" fmla="*/ 0 h 546"/>
                <a:gd name="T72" fmla="*/ 0 w 530"/>
                <a:gd name="T73" fmla="*/ 0 h 546"/>
                <a:gd name="T74" fmla="*/ 0 w 530"/>
                <a:gd name="T75" fmla="*/ 0 h 546"/>
                <a:gd name="T76" fmla="*/ 0 w 530"/>
                <a:gd name="T77" fmla="*/ 0 h 546"/>
                <a:gd name="T78" fmla="*/ 0 w 530"/>
                <a:gd name="T79" fmla="*/ 0 h 546"/>
                <a:gd name="T80" fmla="*/ 0 w 530"/>
                <a:gd name="T81" fmla="*/ 0 h 546"/>
                <a:gd name="T82" fmla="*/ 0 w 530"/>
                <a:gd name="T83" fmla="*/ 0 h 546"/>
                <a:gd name="T84" fmla="*/ 0 w 530"/>
                <a:gd name="T85" fmla="*/ 0 h 546"/>
                <a:gd name="T86" fmla="*/ 0 w 530"/>
                <a:gd name="T87" fmla="*/ 0 h 546"/>
                <a:gd name="T88" fmla="*/ 0 w 530"/>
                <a:gd name="T89" fmla="*/ 0 h 546"/>
                <a:gd name="T90" fmla="*/ 0 w 530"/>
                <a:gd name="T91" fmla="*/ 0 h 546"/>
                <a:gd name="T92" fmla="*/ 0 w 530"/>
                <a:gd name="T93" fmla="*/ 0 h 546"/>
                <a:gd name="T94" fmla="*/ 0 w 530"/>
                <a:gd name="T95" fmla="*/ 0 h 546"/>
                <a:gd name="T96" fmla="*/ 0 w 530"/>
                <a:gd name="T97" fmla="*/ 0 h 546"/>
                <a:gd name="T98" fmla="*/ 0 w 530"/>
                <a:gd name="T99" fmla="*/ 0 h 546"/>
                <a:gd name="T100" fmla="*/ 0 w 530"/>
                <a:gd name="T101" fmla="*/ 0 h 546"/>
                <a:gd name="T102" fmla="*/ 0 w 530"/>
                <a:gd name="T103" fmla="*/ 0 h 546"/>
                <a:gd name="T104" fmla="*/ 0 w 530"/>
                <a:gd name="T105" fmla="*/ 0 h 546"/>
                <a:gd name="T106" fmla="*/ 0 w 530"/>
                <a:gd name="T107" fmla="*/ 0 h 546"/>
                <a:gd name="T108" fmla="*/ 0 w 530"/>
                <a:gd name="T109" fmla="*/ 0 h 546"/>
                <a:gd name="T110" fmla="*/ 0 w 530"/>
                <a:gd name="T111" fmla="*/ 0 h 546"/>
                <a:gd name="T112" fmla="*/ 0 w 530"/>
                <a:gd name="T113" fmla="*/ 0 h 54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30"/>
                <a:gd name="T172" fmla="*/ 0 h 546"/>
                <a:gd name="T173" fmla="*/ 530 w 530"/>
                <a:gd name="T174" fmla="*/ 546 h 54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30" h="546">
                  <a:moveTo>
                    <a:pt x="11" y="13"/>
                  </a:moveTo>
                  <a:cubicBezTo>
                    <a:pt x="6" y="16"/>
                    <a:pt x="6" y="30"/>
                    <a:pt x="7" y="34"/>
                  </a:cubicBezTo>
                  <a:cubicBezTo>
                    <a:pt x="8" y="38"/>
                    <a:pt x="20" y="45"/>
                    <a:pt x="17" y="54"/>
                  </a:cubicBezTo>
                  <a:cubicBezTo>
                    <a:pt x="14" y="63"/>
                    <a:pt x="0" y="75"/>
                    <a:pt x="3" y="82"/>
                  </a:cubicBezTo>
                  <a:cubicBezTo>
                    <a:pt x="6" y="89"/>
                    <a:pt x="21" y="107"/>
                    <a:pt x="21" y="120"/>
                  </a:cubicBezTo>
                  <a:cubicBezTo>
                    <a:pt x="21" y="133"/>
                    <a:pt x="34" y="518"/>
                    <a:pt x="34" y="518"/>
                  </a:cubicBezTo>
                  <a:cubicBezTo>
                    <a:pt x="320" y="522"/>
                    <a:pt x="320" y="522"/>
                    <a:pt x="320" y="522"/>
                  </a:cubicBezTo>
                  <a:cubicBezTo>
                    <a:pt x="320" y="522"/>
                    <a:pt x="322" y="512"/>
                    <a:pt x="329" y="510"/>
                  </a:cubicBezTo>
                  <a:cubicBezTo>
                    <a:pt x="336" y="508"/>
                    <a:pt x="334" y="518"/>
                    <a:pt x="334" y="518"/>
                  </a:cubicBezTo>
                  <a:cubicBezTo>
                    <a:pt x="413" y="521"/>
                    <a:pt x="413" y="521"/>
                    <a:pt x="413" y="521"/>
                  </a:cubicBezTo>
                  <a:cubicBezTo>
                    <a:pt x="413" y="521"/>
                    <a:pt x="425" y="546"/>
                    <a:pt x="438" y="539"/>
                  </a:cubicBezTo>
                  <a:cubicBezTo>
                    <a:pt x="451" y="532"/>
                    <a:pt x="450" y="511"/>
                    <a:pt x="460" y="508"/>
                  </a:cubicBezTo>
                  <a:cubicBezTo>
                    <a:pt x="470" y="505"/>
                    <a:pt x="472" y="509"/>
                    <a:pt x="482" y="505"/>
                  </a:cubicBezTo>
                  <a:cubicBezTo>
                    <a:pt x="492" y="501"/>
                    <a:pt x="492" y="478"/>
                    <a:pt x="492" y="478"/>
                  </a:cubicBezTo>
                  <a:cubicBezTo>
                    <a:pt x="509" y="477"/>
                    <a:pt x="509" y="477"/>
                    <a:pt x="509" y="477"/>
                  </a:cubicBezTo>
                  <a:cubicBezTo>
                    <a:pt x="525" y="462"/>
                    <a:pt x="525" y="462"/>
                    <a:pt x="525" y="462"/>
                  </a:cubicBezTo>
                  <a:cubicBezTo>
                    <a:pt x="522" y="456"/>
                    <a:pt x="520" y="450"/>
                    <a:pt x="520" y="445"/>
                  </a:cubicBezTo>
                  <a:cubicBezTo>
                    <a:pt x="519" y="430"/>
                    <a:pt x="518" y="416"/>
                    <a:pt x="518" y="416"/>
                  </a:cubicBezTo>
                  <a:cubicBezTo>
                    <a:pt x="530" y="415"/>
                    <a:pt x="530" y="415"/>
                    <a:pt x="530" y="415"/>
                  </a:cubicBezTo>
                  <a:cubicBezTo>
                    <a:pt x="530" y="415"/>
                    <a:pt x="503" y="397"/>
                    <a:pt x="490" y="369"/>
                  </a:cubicBezTo>
                  <a:cubicBezTo>
                    <a:pt x="477" y="341"/>
                    <a:pt x="478" y="326"/>
                    <a:pt x="469" y="315"/>
                  </a:cubicBezTo>
                  <a:cubicBezTo>
                    <a:pt x="460" y="304"/>
                    <a:pt x="456" y="302"/>
                    <a:pt x="448" y="288"/>
                  </a:cubicBezTo>
                  <a:cubicBezTo>
                    <a:pt x="440" y="274"/>
                    <a:pt x="440" y="252"/>
                    <a:pt x="440" y="252"/>
                  </a:cubicBezTo>
                  <a:cubicBezTo>
                    <a:pt x="415" y="225"/>
                    <a:pt x="415" y="225"/>
                    <a:pt x="415" y="225"/>
                  </a:cubicBezTo>
                  <a:cubicBezTo>
                    <a:pt x="415" y="225"/>
                    <a:pt x="418" y="216"/>
                    <a:pt x="412" y="204"/>
                  </a:cubicBezTo>
                  <a:cubicBezTo>
                    <a:pt x="406" y="192"/>
                    <a:pt x="380" y="170"/>
                    <a:pt x="378" y="161"/>
                  </a:cubicBezTo>
                  <a:cubicBezTo>
                    <a:pt x="376" y="152"/>
                    <a:pt x="368" y="147"/>
                    <a:pt x="368" y="147"/>
                  </a:cubicBezTo>
                  <a:cubicBezTo>
                    <a:pt x="368" y="147"/>
                    <a:pt x="376" y="137"/>
                    <a:pt x="368" y="126"/>
                  </a:cubicBezTo>
                  <a:cubicBezTo>
                    <a:pt x="360" y="115"/>
                    <a:pt x="350" y="112"/>
                    <a:pt x="350" y="112"/>
                  </a:cubicBezTo>
                  <a:cubicBezTo>
                    <a:pt x="361" y="99"/>
                    <a:pt x="361" y="99"/>
                    <a:pt x="361" y="99"/>
                  </a:cubicBezTo>
                  <a:cubicBezTo>
                    <a:pt x="373" y="107"/>
                    <a:pt x="373" y="107"/>
                    <a:pt x="373" y="107"/>
                  </a:cubicBezTo>
                  <a:cubicBezTo>
                    <a:pt x="373" y="107"/>
                    <a:pt x="372" y="124"/>
                    <a:pt x="381" y="130"/>
                  </a:cubicBezTo>
                  <a:cubicBezTo>
                    <a:pt x="390" y="136"/>
                    <a:pt x="395" y="145"/>
                    <a:pt x="395" y="145"/>
                  </a:cubicBezTo>
                  <a:cubicBezTo>
                    <a:pt x="394" y="162"/>
                    <a:pt x="394" y="162"/>
                    <a:pt x="394" y="162"/>
                  </a:cubicBezTo>
                  <a:cubicBezTo>
                    <a:pt x="394" y="162"/>
                    <a:pt x="426" y="214"/>
                    <a:pt x="438" y="207"/>
                  </a:cubicBezTo>
                  <a:cubicBezTo>
                    <a:pt x="450" y="200"/>
                    <a:pt x="456" y="195"/>
                    <a:pt x="456" y="195"/>
                  </a:cubicBezTo>
                  <a:cubicBezTo>
                    <a:pt x="449" y="183"/>
                    <a:pt x="449" y="183"/>
                    <a:pt x="449" y="183"/>
                  </a:cubicBezTo>
                  <a:cubicBezTo>
                    <a:pt x="449" y="183"/>
                    <a:pt x="462" y="157"/>
                    <a:pt x="462" y="143"/>
                  </a:cubicBezTo>
                  <a:cubicBezTo>
                    <a:pt x="462" y="129"/>
                    <a:pt x="471" y="112"/>
                    <a:pt x="471" y="112"/>
                  </a:cubicBezTo>
                  <a:cubicBezTo>
                    <a:pt x="435" y="19"/>
                    <a:pt x="435" y="19"/>
                    <a:pt x="435" y="19"/>
                  </a:cubicBezTo>
                  <a:cubicBezTo>
                    <a:pt x="435" y="19"/>
                    <a:pt x="397" y="34"/>
                    <a:pt x="388" y="30"/>
                  </a:cubicBezTo>
                  <a:cubicBezTo>
                    <a:pt x="379" y="26"/>
                    <a:pt x="373" y="22"/>
                    <a:pt x="373" y="22"/>
                  </a:cubicBezTo>
                  <a:cubicBezTo>
                    <a:pt x="373" y="22"/>
                    <a:pt x="364" y="33"/>
                    <a:pt x="350" y="26"/>
                  </a:cubicBezTo>
                  <a:cubicBezTo>
                    <a:pt x="336" y="19"/>
                    <a:pt x="341" y="10"/>
                    <a:pt x="325" y="7"/>
                  </a:cubicBezTo>
                  <a:cubicBezTo>
                    <a:pt x="309" y="4"/>
                    <a:pt x="288" y="14"/>
                    <a:pt x="288" y="14"/>
                  </a:cubicBezTo>
                  <a:cubicBezTo>
                    <a:pt x="288" y="14"/>
                    <a:pt x="273" y="7"/>
                    <a:pt x="262" y="11"/>
                  </a:cubicBezTo>
                  <a:cubicBezTo>
                    <a:pt x="251" y="15"/>
                    <a:pt x="243" y="30"/>
                    <a:pt x="243" y="30"/>
                  </a:cubicBezTo>
                  <a:cubicBezTo>
                    <a:pt x="243" y="30"/>
                    <a:pt x="231" y="28"/>
                    <a:pt x="227" y="30"/>
                  </a:cubicBezTo>
                  <a:cubicBezTo>
                    <a:pt x="223" y="32"/>
                    <a:pt x="210" y="43"/>
                    <a:pt x="210" y="43"/>
                  </a:cubicBezTo>
                  <a:cubicBezTo>
                    <a:pt x="210" y="43"/>
                    <a:pt x="176" y="29"/>
                    <a:pt x="170" y="29"/>
                  </a:cubicBezTo>
                  <a:cubicBezTo>
                    <a:pt x="164" y="29"/>
                    <a:pt x="153" y="32"/>
                    <a:pt x="140" y="29"/>
                  </a:cubicBezTo>
                  <a:cubicBezTo>
                    <a:pt x="127" y="26"/>
                    <a:pt x="125" y="14"/>
                    <a:pt x="112" y="13"/>
                  </a:cubicBezTo>
                  <a:cubicBezTo>
                    <a:pt x="99" y="12"/>
                    <a:pt x="89" y="12"/>
                    <a:pt x="89" y="12"/>
                  </a:cubicBezTo>
                  <a:cubicBezTo>
                    <a:pt x="89" y="12"/>
                    <a:pt x="69" y="1"/>
                    <a:pt x="60" y="1"/>
                  </a:cubicBezTo>
                  <a:cubicBezTo>
                    <a:pt x="51" y="1"/>
                    <a:pt x="46" y="15"/>
                    <a:pt x="31" y="6"/>
                  </a:cubicBezTo>
                  <a:cubicBezTo>
                    <a:pt x="28" y="4"/>
                    <a:pt x="26" y="2"/>
                    <a:pt x="24" y="0"/>
                  </a:cubicBezTo>
                  <a:cubicBezTo>
                    <a:pt x="21" y="4"/>
                    <a:pt x="15" y="11"/>
                    <a:pt x="11" y="13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93" name="Freeform 109"/>
            <p:cNvSpPr>
              <a:spLocks/>
            </p:cNvSpPr>
            <p:nvPr/>
          </p:nvSpPr>
          <p:spPr bwMode="auto">
            <a:xfrm>
              <a:off x="2826" y="2486"/>
              <a:ext cx="138" cy="233"/>
            </a:xfrm>
            <a:custGeom>
              <a:avLst/>
              <a:gdLst>
                <a:gd name="T0" fmla="*/ 0 w 363"/>
                <a:gd name="T1" fmla="*/ 0 h 614"/>
                <a:gd name="T2" fmla="*/ 0 w 363"/>
                <a:gd name="T3" fmla="*/ 0 h 614"/>
                <a:gd name="T4" fmla="*/ 0 w 363"/>
                <a:gd name="T5" fmla="*/ 0 h 614"/>
                <a:gd name="T6" fmla="*/ 0 w 363"/>
                <a:gd name="T7" fmla="*/ 0 h 614"/>
                <a:gd name="T8" fmla="*/ 0 w 363"/>
                <a:gd name="T9" fmla="*/ 0 h 614"/>
                <a:gd name="T10" fmla="*/ 0 w 363"/>
                <a:gd name="T11" fmla="*/ 0 h 614"/>
                <a:gd name="T12" fmla="*/ 0 w 363"/>
                <a:gd name="T13" fmla="*/ 0 h 614"/>
                <a:gd name="T14" fmla="*/ 0 w 363"/>
                <a:gd name="T15" fmla="*/ 0 h 614"/>
                <a:gd name="T16" fmla="*/ 0 w 363"/>
                <a:gd name="T17" fmla="*/ 0 h 614"/>
                <a:gd name="T18" fmla="*/ 0 w 363"/>
                <a:gd name="T19" fmla="*/ 0 h 614"/>
                <a:gd name="T20" fmla="*/ 0 w 363"/>
                <a:gd name="T21" fmla="*/ 0 h 614"/>
                <a:gd name="T22" fmla="*/ 0 w 363"/>
                <a:gd name="T23" fmla="*/ 0 h 614"/>
                <a:gd name="T24" fmla="*/ 0 w 363"/>
                <a:gd name="T25" fmla="*/ 0 h 614"/>
                <a:gd name="T26" fmla="*/ 0 w 363"/>
                <a:gd name="T27" fmla="*/ 0 h 614"/>
                <a:gd name="T28" fmla="*/ 0 w 363"/>
                <a:gd name="T29" fmla="*/ 0 h 614"/>
                <a:gd name="T30" fmla="*/ 0 w 363"/>
                <a:gd name="T31" fmla="*/ 0 h 614"/>
                <a:gd name="T32" fmla="*/ 0 w 363"/>
                <a:gd name="T33" fmla="*/ 0 h 614"/>
                <a:gd name="T34" fmla="*/ 0 w 363"/>
                <a:gd name="T35" fmla="*/ 0 h 614"/>
                <a:gd name="T36" fmla="*/ 0 w 363"/>
                <a:gd name="T37" fmla="*/ 0 h 614"/>
                <a:gd name="T38" fmla="*/ 0 w 363"/>
                <a:gd name="T39" fmla="*/ 0 h 614"/>
                <a:gd name="T40" fmla="*/ 0 w 363"/>
                <a:gd name="T41" fmla="*/ 0 h 614"/>
                <a:gd name="T42" fmla="*/ 0 w 363"/>
                <a:gd name="T43" fmla="*/ 0 h 614"/>
                <a:gd name="T44" fmla="*/ 0 w 363"/>
                <a:gd name="T45" fmla="*/ 0 h 614"/>
                <a:gd name="T46" fmla="*/ 0 w 363"/>
                <a:gd name="T47" fmla="*/ 0 h 614"/>
                <a:gd name="T48" fmla="*/ 0 w 363"/>
                <a:gd name="T49" fmla="*/ 0 h 614"/>
                <a:gd name="T50" fmla="*/ 0 w 363"/>
                <a:gd name="T51" fmla="*/ 0 h 614"/>
                <a:gd name="T52" fmla="*/ 0 w 363"/>
                <a:gd name="T53" fmla="*/ 0 h 614"/>
                <a:gd name="T54" fmla="*/ 0 w 363"/>
                <a:gd name="T55" fmla="*/ 0 h 614"/>
                <a:gd name="T56" fmla="*/ 0 w 363"/>
                <a:gd name="T57" fmla="*/ 0 h 614"/>
                <a:gd name="T58" fmla="*/ 0 w 363"/>
                <a:gd name="T59" fmla="*/ 0 h 614"/>
                <a:gd name="T60" fmla="*/ 0 w 363"/>
                <a:gd name="T61" fmla="*/ 0 h 614"/>
                <a:gd name="T62" fmla="*/ 0 w 363"/>
                <a:gd name="T63" fmla="*/ 0 h 614"/>
                <a:gd name="T64" fmla="*/ 0 w 363"/>
                <a:gd name="T65" fmla="*/ 0 h 614"/>
                <a:gd name="T66" fmla="*/ 0 w 363"/>
                <a:gd name="T67" fmla="*/ 0 h 614"/>
                <a:gd name="T68" fmla="*/ 0 w 363"/>
                <a:gd name="T69" fmla="*/ 0 h 614"/>
                <a:gd name="T70" fmla="*/ 0 w 363"/>
                <a:gd name="T71" fmla="*/ 0 h 614"/>
                <a:gd name="T72" fmla="*/ 0 w 363"/>
                <a:gd name="T73" fmla="*/ 0 h 614"/>
                <a:gd name="T74" fmla="*/ 0 w 363"/>
                <a:gd name="T75" fmla="*/ 0 h 614"/>
                <a:gd name="T76" fmla="*/ 0 w 363"/>
                <a:gd name="T77" fmla="*/ 0 h 614"/>
                <a:gd name="T78" fmla="*/ 0 w 363"/>
                <a:gd name="T79" fmla="*/ 0 h 614"/>
                <a:gd name="T80" fmla="*/ 0 w 363"/>
                <a:gd name="T81" fmla="*/ 0 h 614"/>
                <a:gd name="T82" fmla="*/ 0 w 363"/>
                <a:gd name="T83" fmla="*/ 0 h 6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63"/>
                <a:gd name="T127" fmla="*/ 0 h 614"/>
                <a:gd name="T128" fmla="*/ 363 w 363"/>
                <a:gd name="T129" fmla="*/ 614 h 6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63" h="614">
                  <a:moveTo>
                    <a:pt x="280" y="17"/>
                  </a:moveTo>
                  <a:cubicBezTo>
                    <a:pt x="276" y="12"/>
                    <a:pt x="275" y="0"/>
                    <a:pt x="275" y="0"/>
                  </a:cubicBezTo>
                  <a:cubicBezTo>
                    <a:pt x="259" y="2"/>
                    <a:pt x="259" y="2"/>
                    <a:pt x="259" y="2"/>
                  </a:cubicBezTo>
                  <a:cubicBezTo>
                    <a:pt x="260" y="11"/>
                    <a:pt x="261" y="40"/>
                    <a:pt x="263" y="43"/>
                  </a:cubicBezTo>
                  <a:cubicBezTo>
                    <a:pt x="265" y="46"/>
                    <a:pt x="284" y="35"/>
                    <a:pt x="285" y="46"/>
                  </a:cubicBezTo>
                  <a:cubicBezTo>
                    <a:pt x="286" y="57"/>
                    <a:pt x="282" y="70"/>
                    <a:pt x="282" y="70"/>
                  </a:cubicBezTo>
                  <a:cubicBezTo>
                    <a:pt x="282" y="70"/>
                    <a:pt x="290" y="79"/>
                    <a:pt x="280" y="88"/>
                  </a:cubicBezTo>
                  <a:cubicBezTo>
                    <a:pt x="270" y="97"/>
                    <a:pt x="256" y="100"/>
                    <a:pt x="256" y="100"/>
                  </a:cubicBezTo>
                  <a:cubicBezTo>
                    <a:pt x="256" y="100"/>
                    <a:pt x="248" y="117"/>
                    <a:pt x="247" y="120"/>
                  </a:cubicBezTo>
                  <a:cubicBezTo>
                    <a:pt x="246" y="123"/>
                    <a:pt x="236" y="136"/>
                    <a:pt x="236" y="136"/>
                  </a:cubicBezTo>
                  <a:cubicBezTo>
                    <a:pt x="234" y="155"/>
                    <a:pt x="234" y="155"/>
                    <a:pt x="234" y="155"/>
                  </a:cubicBezTo>
                  <a:cubicBezTo>
                    <a:pt x="227" y="159"/>
                    <a:pt x="227" y="159"/>
                    <a:pt x="227" y="159"/>
                  </a:cubicBezTo>
                  <a:cubicBezTo>
                    <a:pt x="227" y="159"/>
                    <a:pt x="229" y="180"/>
                    <a:pt x="224" y="189"/>
                  </a:cubicBezTo>
                  <a:cubicBezTo>
                    <a:pt x="219" y="198"/>
                    <a:pt x="209" y="191"/>
                    <a:pt x="207" y="198"/>
                  </a:cubicBezTo>
                  <a:cubicBezTo>
                    <a:pt x="205" y="205"/>
                    <a:pt x="210" y="223"/>
                    <a:pt x="205" y="233"/>
                  </a:cubicBezTo>
                  <a:cubicBezTo>
                    <a:pt x="200" y="243"/>
                    <a:pt x="181" y="250"/>
                    <a:pt x="181" y="250"/>
                  </a:cubicBezTo>
                  <a:cubicBezTo>
                    <a:pt x="173" y="282"/>
                    <a:pt x="173" y="282"/>
                    <a:pt x="173" y="282"/>
                  </a:cubicBezTo>
                  <a:cubicBezTo>
                    <a:pt x="157" y="302"/>
                    <a:pt x="157" y="302"/>
                    <a:pt x="157" y="302"/>
                  </a:cubicBezTo>
                  <a:cubicBezTo>
                    <a:pt x="157" y="302"/>
                    <a:pt x="161" y="316"/>
                    <a:pt x="156" y="322"/>
                  </a:cubicBezTo>
                  <a:cubicBezTo>
                    <a:pt x="151" y="328"/>
                    <a:pt x="140" y="337"/>
                    <a:pt x="140" y="337"/>
                  </a:cubicBezTo>
                  <a:cubicBezTo>
                    <a:pt x="140" y="337"/>
                    <a:pt x="140" y="358"/>
                    <a:pt x="128" y="358"/>
                  </a:cubicBezTo>
                  <a:cubicBezTo>
                    <a:pt x="116" y="358"/>
                    <a:pt x="119" y="342"/>
                    <a:pt x="119" y="342"/>
                  </a:cubicBezTo>
                  <a:cubicBezTo>
                    <a:pt x="119" y="342"/>
                    <a:pt x="105" y="318"/>
                    <a:pt x="98" y="318"/>
                  </a:cubicBezTo>
                  <a:cubicBezTo>
                    <a:pt x="91" y="318"/>
                    <a:pt x="104" y="332"/>
                    <a:pt x="95" y="334"/>
                  </a:cubicBezTo>
                  <a:cubicBezTo>
                    <a:pt x="86" y="336"/>
                    <a:pt x="78" y="323"/>
                    <a:pt x="72" y="328"/>
                  </a:cubicBezTo>
                  <a:cubicBezTo>
                    <a:pt x="66" y="333"/>
                    <a:pt x="56" y="353"/>
                    <a:pt x="56" y="353"/>
                  </a:cubicBezTo>
                  <a:cubicBezTo>
                    <a:pt x="13" y="390"/>
                    <a:pt x="13" y="390"/>
                    <a:pt x="13" y="390"/>
                  </a:cubicBezTo>
                  <a:cubicBezTo>
                    <a:pt x="13" y="390"/>
                    <a:pt x="15" y="422"/>
                    <a:pt x="13" y="428"/>
                  </a:cubicBezTo>
                  <a:cubicBezTo>
                    <a:pt x="11" y="434"/>
                    <a:pt x="4" y="449"/>
                    <a:pt x="4" y="449"/>
                  </a:cubicBezTo>
                  <a:cubicBezTo>
                    <a:pt x="4" y="449"/>
                    <a:pt x="4" y="449"/>
                    <a:pt x="4" y="449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18" y="455"/>
                    <a:pt x="18" y="455"/>
                    <a:pt x="18" y="455"/>
                  </a:cubicBezTo>
                  <a:cubicBezTo>
                    <a:pt x="18" y="455"/>
                    <a:pt x="17" y="477"/>
                    <a:pt x="27" y="486"/>
                  </a:cubicBezTo>
                  <a:cubicBezTo>
                    <a:pt x="37" y="495"/>
                    <a:pt x="44" y="497"/>
                    <a:pt x="44" y="497"/>
                  </a:cubicBezTo>
                  <a:cubicBezTo>
                    <a:pt x="58" y="484"/>
                    <a:pt x="58" y="484"/>
                    <a:pt x="58" y="484"/>
                  </a:cubicBezTo>
                  <a:cubicBezTo>
                    <a:pt x="45" y="504"/>
                    <a:pt x="45" y="504"/>
                    <a:pt x="45" y="504"/>
                  </a:cubicBezTo>
                  <a:cubicBezTo>
                    <a:pt x="57" y="522"/>
                    <a:pt x="57" y="522"/>
                    <a:pt x="57" y="522"/>
                  </a:cubicBezTo>
                  <a:cubicBezTo>
                    <a:pt x="70" y="527"/>
                    <a:pt x="70" y="527"/>
                    <a:pt x="70" y="527"/>
                  </a:cubicBezTo>
                  <a:cubicBezTo>
                    <a:pt x="68" y="557"/>
                    <a:pt x="68" y="557"/>
                    <a:pt x="68" y="557"/>
                  </a:cubicBezTo>
                  <a:cubicBezTo>
                    <a:pt x="61" y="559"/>
                    <a:pt x="61" y="559"/>
                    <a:pt x="61" y="559"/>
                  </a:cubicBezTo>
                  <a:cubicBezTo>
                    <a:pt x="62" y="580"/>
                    <a:pt x="62" y="580"/>
                    <a:pt x="62" y="580"/>
                  </a:cubicBezTo>
                  <a:cubicBezTo>
                    <a:pt x="68" y="586"/>
                    <a:pt x="68" y="586"/>
                    <a:pt x="68" y="586"/>
                  </a:cubicBezTo>
                  <a:cubicBezTo>
                    <a:pt x="132" y="586"/>
                    <a:pt x="132" y="586"/>
                    <a:pt x="132" y="586"/>
                  </a:cubicBezTo>
                  <a:cubicBezTo>
                    <a:pt x="144" y="576"/>
                    <a:pt x="144" y="576"/>
                    <a:pt x="144" y="576"/>
                  </a:cubicBezTo>
                  <a:cubicBezTo>
                    <a:pt x="154" y="585"/>
                    <a:pt x="154" y="585"/>
                    <a:pt x="154" y="585"/>
                  </a:cubicBezTo>
                  <a:cubicBezTo>
                    <a:pt x="175" y="585"/>
                    <a:pt x="175" y="585"/>
                    <a:pt x="175" y="585"/>
                  </a:cubicBezTo>
                  <a:cubicBezTo>
                    <a:pt x="175" y="585"/>
                    <a:pt x="180" y="577"/>
                    <a:pt x="184" y="577"/>
                  </a:cubicBezTo>
                  <a:cubicBezTo>
                    <a:pt x="188" y="577"/>
                    <a:pt x="195" y="581"/>
                    <a:pt x="195" y="581"/>
                  </a:cubicBezTo>
                  <a:cubicBezTo>
                    <a:pt x="227" y="580"/>
                    <a:pt x="227" y="580"/>
                    <a:pt x="227" y="580"/>
                  </a:cubicBezTo>
                  <a:cubicBezTo>
                    <a:pt x="227" y="590"/>
                    <a:pt x="227" y="590"/>
                    <a:pt x="227" y="590"/>
                  </a:cubicBezTo>
                  <a:cubicBezTo>
                    <a:pt x="227" y="590"/>
                    <a:pt x="282" y="587"/>
                    <a:pt x="287" y="587"/>
                  </a:cubicBezTo>
                  <a:cubicBezTo>
                    <a:pt x="292" y="587"/>
                    <a:pt x="320" y="600"/>
                    <a:pt x="320" y="600"/>
                  </a:cubicBezTo>
                  <a:cubicBezTo>
                    <a:pt x="340" y="599"/>
                    <a:pt x="340" y="599"/>
                    <a:pt x="340" y="599"/>
                  </a:cubicBezTo>
                  <a:cubicBezTo>
                    <a:pt x="358" y="614"/>
                    <a:pt x="358" y="614"/>
                    <a:pt x="358" y="614"/>
                  </a:cubicBezTo>
                  <a:cubicBezTo>
                    <a:pt x="359" y="587"/>
                    <a:pt x="359" y="587"/>
                    <a:pt x="359" y="587"/>
                  </a:cubicBezTo>
                  <a:cubicBezTo>
                    <a:pt x="363" y="581"/>
                    <a:pt x="363" y="581"/>
                    <a:pt x="363" y="581"/>
                  </a:cubicBezTo>
                  <a:cubicBezTo>
                    <a:pt x="358" y="575"/>
                    <a:pt x="358" y="575"/>
                    <a:pt x="358" y="575"/>
                  </a:cubicBezTo>
                  <a:cubicBezTo>
                    <a:pt x="358" y="556"/>
                    <a:pt x="358" y="556"/>
                    <a:pt x="358" y="556"/>
                  </a:cubicBezTo>
                  <a:cubicBezTo>
                    <a:pt x="354" y="542"/>
                    <a:pt x="354" y="542"/>
                    <a:pt x="354" y="542"/>
                  </a:cubicBezTo>
                  <a:cubicBezTo>
                    <a:pt x="354" y="542"/>
                    <a:pt x="342" y="534"/>
                    <a:pt x="332" y="526"/>
                  </a:cubicBezTo>
                  <a:cubicBezTo>
                    <a:pt x="322" y="518"/>
                    <a:pt x="311" y="495"/>
                    <a:pt x="311" y="495"/>
                  </a:cubicBezTo>
                  <a:cubicBezTo>
                    <a:pt x="311" y="495"/>
                    <a:pt x="315" y="475"/>
                    <a:pt x="313" y="472"/>
                  </a:cubicBezTo>
                  <a:cubicBezTo>
                    <a:pt x="311" y="469"/>
                    <a:pt x="294" y="458"/>
                    <a:pt x="294" y="458"/>
                  </a:cubicBezTo>
                  <a:cubicBezTo>
                    <a:pt x="294" y="427"/>
                    <a:pt x="294" y="427"/>
                    <a:pt x="294" y="427"/>
                  </a:cubicBezTo>
                  <a:cubicBezTo>
                    <a:pt x="282" y="420"/>
                    <a:pt x="282" y="420"/>
                    <a:pt x="282" y="420"/>
                  </a:cubicBezTo>
                  <a:cubicBezTo>
                    <a:pt x="289" y="412"/>
                    <a:pt x="289" y="412"/>
                    <a:pt x="289" y="412"/>
                  </a:cubicBezTo>
                  <a:cubicBezTo>
                    <a:pt x="290" y="387"/>
                    <a:pt x="290" y="387"/>
                    <a:pt x="290" y="387"/>
                  </a:cubicBezTo>
                  <a:cubicBezTo>
                    <a:pt x="290" y="387"/>
                    <a:pt x="275" y="386"/>
                    <a:pt x="276" y="378"/>
                  </a:cubicBezTo>
                  <a:cubicBezTo>
                    <a:pt x="277" y="370"/>
                    <a:pt x="299" y="363"/>
                    <a:pt x="299" y="363"/>
                  </a:cubicBezTo>
                  <a:cubicBezTo>
                    <a:pt x="304" y="338"/>
                    <a:pt x="304" y="338"/>
                    <a:pt x="304" y="338"/>
                  </a:cubicBezTo>
                  <a:cubicBezTo>
                    <a:pt x="310" y="338"/>
                    <a:pt x="310" y="338"/>
                    <a:pt x="310" y="338"/>
                  </a:cubicBezTo>
                  <a:cubicBezTo>
                    <a:pt x="310" y="338"/>
                    <a:pt x="311" y="326"/>
                    <a:pt x="312" y="318"/>
                  </a:cubicBezTo>
                  <a:cubicBezTo>
                    <a:pt x="313" y="310"/>
                    <a:pt x="331" y="300"/>
                    <a:pt x="331" y="300"/>
                  </a:cubicBezTo>
                  <a:cubicBezTo>
                    <a:pt x="331" y="300"/>
                    <a:pt x="326" y="253"/>
                    <a:pt x="317" y="243"/>
                  </a:cubicBezTo>
                  <a:cubicBezTo>
                    <a:pt x="308" y="233"/>
                    <a:pt x="287" y="224"/>
                    <a:pt x="279" y="216"/>
                  </a:cubicBezTo>
                  <a:cubicBezTo>
                    <a:pt x="271" y="208"/>
                    <a:pt x="256" y="187"/>
                    <a:pt x="261" y="174"/>
                  </a:cubicBezTo>
                  <a:cubicBezTo>
                    <a:pt x="266" y="161"/>
                    <a:pt x="306" y="168"/>
                    <a:pt x="314" y="167"/>
                  </a:cubicBezTo>
                  <a:cubicBezTo>
                    <a:pt x="322" y="166"/>
                    <a:pt x="336" y="165"/>
                    <a:pt x="336" y="165"/>
                  </a:cubicBezTo>
                  <a:cubicBezTo>
                    <a:pt x="336" y="165"/>
                    <a:pt x="315" y="147"/>
                    <a:pt x="310" y="133"/>
                  </a:cubicBezTo>
                  <a:cubicBezTo>
                    <a:pt x="305" y="119"/>
                    <a:pt x="304" y="91"/>
                    <a:pt x="304" y="91"/>
                  </a:cubicBezTo>
                  <a:cubicBezTo>
                    <a:pt x="304" y="91"/>
                    <a:pt x="310" y="81"/>
                    <a:pt x="310" y="70"/>
                  </a:cubicBezTo>
                  <a:cubicBezTo>
                    <a:pt x="310" y="59"/>
                    <a:pt x="296" y="52"/>
                    <a:pt x="296" y="52"/>
                  </a:cubicBezTo>
                  <a:cubicBezTo>
                    <a:pt x="300" y="25"/>
                    <a:pt x="300" y="25"/>
                    <a:pt x="300" y="25"/>
                  </a:cubicBezTo>
                  <a:cubicBezTo>
                    <a:pt x="300" y="25"/>
                    <a:pt x="284" y="22"/>
                    <a:pt x="280" y="17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94" name="Freeform 110"/>
            <p:cNvSpPr>
              <a:spLocks/>
            </p:cNvSpPr>
            <p:nvPr/>
          </p:nvSpPr>
          <p:spPr bwMode="auto">
            <a:xfrm>
              <a:off x="2449" y="2023"/>
              <a:ext cx="214" cy="167"/>
            </a:xfrm>
            <a:custGeom>
              <a:avLst/>
              <a:gdLst>
                <a:gd name="T0" fmla="*/ 0 w 565"/>
                <a:gd name="T1" fmla="*/ 0 h 438"/>
                <a:gd name="T2" fmla="*/ 0 w 565"/>
                <a:gd name="T3" fmla="*/ 0 h 438"/>
                <a:gd name="T4" fmla="*/ 0 w 565"/>
                <a:gd name="T5" fmla="*/ 0 h 438"/>
                <a:gd name="T6" fmla="*/ 0 w 565"/>
                <a:gd name="T7" fmla="*/ 0 h 438"/>
                <a:gd name="T8" fmla="*/ 0 w 565"/>
                <a:gd name="T9" fmla="*/ 0 h 438"/>
                <a:gd name="T10" fmla="*/ 0 w 565"/>
                <a:gd name="T11" fmla="*/ 0 h 438"/>
                <a:gd name="T12" fmla="*/ 0 w 565"/>
                <a:gd name="T13" fmla="*/ 0 h 438"/>
                <a:gd name="T14" fmla="*/ 0 w 565"/>
                <a:gd name="T15" fmla="*/ 0 h 438"/>
                <a:gd name="T16" fmla="*/ 0 w 565"/>
                <a:gd name="T17" fmla="*/ 0 h 438"/>
                <a:gd name="T18" fmla="*/ 0 w 565"/>
                <a:gd name="T19" fmla="*/ 0 h 438"/>
                <a:gd name="T20" fmla="*/ 0 w 565"/>
                <a:gd name="T21" fmla="*/ 0 h 438"/>
                <a:gd name="T22" fmla="*/ 0 w 565"/>
                <a:gd name="T23" fmla="*/ 0 h 438"/>
                <a:gd name="T24" fmla="*/ 0 w 565"/>
                <a:gd name="T25" fmla="*/ 0 h 438"/>
                <a:gd name="T26" fmla="*/ 0 w 565"/>
                <a:gd name="T27" fmla="*/ 0 h 438"/>
                <a:gd name="T28" fmla="*/ 0 w 565"/>
                <a:gd name="T29" fmla="*/ 0 h 438"/>
                <a:gd name="T30" fmla="*/ 0 w 565"/>
                <a:gd name="T31" fmla="*/ 0 h 438"/>
                <a:gd name="T32" fmla="*/ 0 w 565"/>
                <a:gd name="T33" fmla="*/ 0 h 438"/>
                <a:gd name="T34" fmla="*/ 0 w 565"/>
                <a:gd name="T35" fmla="*/ 0 h 438"/>
                <a:gd name="T36" fmla="*/ 0 w 565"/>
                <a:gd name="T37" fmla="*/ 0 h 438"/>
                <a:gd name="T38" fmla="*/ 0 w 565"/>
                <a:gd name="T39" fmla="*/ 0 h 438"/>
                <a:gd name="T40" fmla="*/ 0 w 565"/>
                <a:gd name="T41" fmla="*/ 0 h 438"/>
                <a:gd name="T42" fmla="*/ 0 w 565"/>
                <a:gd name="T43" fmla="*/ 0 h 438"/>
                <a:gd name="T44" fmla="*/ 0 w 565"/>
                <a:gd name="T45" fmla="*/ 0 h 438"/>
                <a:gd name="T46" fmla="*/ 0 w 565"/>
                <a:gd name="T47" fmla="*/ 0 h 438"/>
                <a:gd name="T48" fmla="*/ 0 w 565"/>
                <a:gd name="T49" fmla="*/ 0 h 438"/>
                <a:gd name="T50" fmla="*/ 0 w 565"/>
                <a:gd name="T51" fmla="*/ 0 h 438"/>
                <a:gd name="T52" fmla="*/ 0 w 565"/>
                <a:gd name="T53" fmla="*/ 0 h 438"/>
                <a:gd name="T54" fmla="*/ 0 w 565"/>
                <a:gd name="T55" fmla="*/ 0 h 438"/>
                <a:gd name="T56" fmla="*/ 0 w 565"/>
                <a:gd name="T57" fmla="*/ 0 h 438"/>
                <a:gd name="T58" fmla="*/ 0 w 565"/>
                <a:gd name="T59" fmla="*/ 0 h 438"/>
                <a:gd name="T60" fmla="*/ 0 w 565"/>
                <a:gd name="T61" fmla="*/ 0 h 438"/>
                <a:gd name="T62" fmla="*/ 0 w 565"/>
                <a:gd name="T63" fmla="*/ 0 h 438"/>
                <a:gd name="T64" fmla="*/ 0 w 565"/>
                <a:gd name="T65" fmla="*/ 0 h 438"/>
                <a:gd name="T66" fmla="*/ 0 w 565"/>
                <a:gd name="T67" fmla="*/ 0 h 438"/>
                <a:gd name="T68" fmla="*/ 0 w 565"/>
                <a:gd name="T69" fmla="*/ 0 h 438"/>
                <a:gd name="T70" fmla="*/ 0 w 565"/>
                <a:gd name="T71" fmla="*/ 0 h 438"/>
                <a:gd name="T72" fmla="*/ 0 w 565"/>
                <a:gd name="T73" fmla="*/ 0 h 438"/>
                <a:gd name="T74" fmla="*/ 0 w 565"/>
                <a:gd name="T75" fmla="*/ 0 h 438"/>
                <a:gd name="T76" fmla="*/ 0 w 565"/>
                <a:gd name="T77" fmla="*/ 0 h 438"/>
                <a:gd name="T78" fmla="*/ 0 w 565"/>
                <a:gd name="T79" fmla="*/ 0 h 438"/>
                <a:gd name="T80" fmla="*/ 0 w 565"/>
                <a:gd name="T81" fmla="*/ 0 h 438"/>
                <a:gd name="T82" fmla="*/ 0 w 565"/>
                <a:gd name="T83" fmla="*/ 0 h 438"/>
                <a:gd name="T84" fmla="*/ 0 w 565"/>
                <a:gd name="T85" fmla="*/ 0 h 438"/>
                <a:gd name="T86" fmla="*/ 0 w 565"/>
                <a:gd name="T87" fmla="*/ 0 h 438"/>
                <a:gd name="T88" fmla="*/ 0 w 565"/>
                <a:gd name="T89" fmla="*/ 0 h 438"/>
                <a:gd name="T90" fmla="*/ 0 w 565"/>
                <a:gd name="T91" fmla="*/ 0 h 438"/>
                <a:gd name="T92" fmla="*/ 0 w 565"/>
                <a:gd name="T93" fmla="*/ 0 h 438"/>
                <a:gd name="T94" fmla="*/ 0 w 565"/>
                <a:gd name="T95" fmla="*/ 0 h 438"/>
                <a:gd name="T96" fmla="*/ 0 w 565"/>
                <a:gd name="T97" fmla="*/ 0 h 438"/>
                <a:gd name="T98" fmla="*/ 0 w 565"/>
                <a:gd name="T99" fmla="*/ 0 h 438"/>
                <a:gd name="T100" fmla="*/ 0 w 565"/>
                <a:gd name="T101" fmla="*/ 0 h 438"/>
                <a:gd name="T102" fmla="*/ 0 w 565"/>
                <a:gd name="T103" fmla="*/ 0 h 438"/>
                <a:gd name="T104" fmla="*/ 0 w 565"/>
                <a:gd name="T105" fmla="*/ 0 h 438"/>
                <a:gd name="T106" fmla="*/ 0 w 565"/>
                <a:gd name="T107" fmla="*/ 0 h 438"/>
                <a:gd name="T108" fmla="*/ 0 w 565"/>
                <a:gd name="T109" fmla="*/ 0 h 438"/>
                <a:gd name="T110" fmla="*/ 0 w 565"/>
                <a:gd name="T111" fmla="*/ 0 h 438"/>
                <a:gd name="T112" fmla="*/ 0 w 565"/>
                <a:gd name="T113" fmla="*/ 0 h 438"/>
                <a:gd name="T114" fmla="*/ 0 w 565"/>
                <a:gd name="T115" fmla="*/ 0 h 438"/>
                <a:gd name="T116" fmla="*/ 0 w 565"/>
                <a:gd name="T117" fmla="*/ 0 h 438"/>
                <a:gd name="T118" fmla="*/ 0 w 565"/>
                <a:gd name="T119" fmla="*/ 0 h 438"/>
                <a:gd name="T120" fmla="*/ 0 w 565"/>
                <a:gd name="T121" fmla="*/ 0 h 438"/>
                <a:gd name="T122" fmla="*/ 0 w 565"/>
                <a:gd name="T123" fmla="*/ 0 h 438"/>
                <a:gd name="T124" fmla="*/ 0 w 565"/>
                <a:gd name="T125" fmla="*/ 0 h 43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65"/>
                <a:gd name="T190" fmla="*/ 0 h 438"/>
                <a:gd name="T191" fmla="*/ 565 w 565"/>
                <a:gd name="T192" fmla="*/ 438 h 43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65" h="438">
                  <a:moveTo>
                    <a:pt x="547" y="165"/>
                  </a:moveTo>
                  <a:cubicBezTo>
                    <a:pt x="550" y="145"/>
                    <a:pt x="550" y="145"/>
                    <a:pt x="550" y="145"/>
                  </a:cubicBezTo>
                  <a:cubicBezTo>
                    <a:pt x="536" y="145"/>
                    <a:pt x="536" y="145"/>
                    <a:pt x="536" y="145"/>
                  </a:cubicBezTo>
                  <a:cubicBezTo>
                    <a:pt x="543" y="124"/>
                    <a:pt x="543" y="124"/>
                    <a:pt x="543" y="124"/>
                  </a:cubicBezTo>
                  <a:cubicBezTo>
                    <a:pt x="537" y="113"/>
                    <a:pt x="537" y="113"/>
                    <a:pt x="537" y="113"/>
                  </a:cubicBezTo>
                  <a:cubicBezTo>
                    <a:pt x="540" y="68"/>
                    <a:pt x="540" y="68"/>
                    <a:pt x="540" y="68"/>
                  </a:cubicBezTo>
                  <a:cubicBezTo>
                    <a:pt x="532" y="68"/>
                    <a:pt x="532" y="68"/>
                    <a:pt x="532" y="68"/>
                  </a:cubicBezTo>
                  <a:cubicBezTo>
                    <a:pt x="532" y="68"/>
                    <a:pt x="536" y="57"/>
                    <a:pt x="536" y="56"/>
                  </a:cubicBezTo>
                  <a:cubicBezTo>
                    <a:pt x="526" y="52"/>
                    <a:pt x="522" y="43"/>
                    <a:pt x="521" y="39"/>
                  </a:cubicBezTo>
                  <a:cubicBezTo>
                    <a:pt x="508" y="36"/>
                    <a:pt x="496" y="26"/>
                    <a:pt x="487" y="26"/>
                  </a:cubicBezTo>
                  <a:cubicBezTo>
                    <a:pt x="477" y="26"/>
                    <a:pt x="470" y="34"/>
                    <a:pt x="470" y="34"/>
                  </a:cubicBezTo>
                  <a:cubicBezTo>
                    <a:pt x="470" y="34"/>
                    <a:pt x="447" y="29"/>
                    <a:pt x="439" y="29"/>
                  </a:cubicBezTo>
                  <a:cubicBezTo>
                    <a:pt x="431" y="29"/>
                    <a:pt x="423" y="38"/>
                    <a:pt x="408" y="33"/>
                  </a:cubicBezTo>
                  <a:cubicBezTo>
                    <a:pt x="393" y="28"/>
                    <a:pt x="378" y="4"/>
                    <a:pt x="374" y="2"/>
                  </a:cubicBezTo>
                  <a:cubicBezTo>
                    <a:pt x="370" y="0"/>
                    <a:pt x="354" y="0"/>
                    <a:pt x="354" y="0"/>
                  </a:cubicBezTo>
                  <a:cubicBezTo>
                    <a:pt x="354" y="0"/>
                    <a:pt x="343" y="35"/>
                    <a:pt x="337" y="48"/>
                  </a:cubicBezTo>
                  <a:cubicBezTo>
                    <a:pt x="331" y="61"/>
                    <a:pt x="312" y="98"/>
                    <a:pt x="300" y="107"/>
                  </a:cubicBezTo>
                  <a:cubicBezTo>
                    <a:pt x="288" y="116"/>
                    <a:pt x="272" y="112"/>
                    <a:pt x="267" y="116"/>
                  </a:cubicBezTo>
                  <a:cubicBezTo>
                    <a:pt x="262" y="120"/>
                    <a:pt x="251" y="131"/>
                    <a:pt x="251" y="131"/>
                  </a:cubicBezTo>
                  <a:cubicBezTo>
                    <a:pt x="239" y="128"/>
                    <a:pt x="239" y="128"/>
                    <a:pt x="239" y="128"/>
                  </a:cubicBezTo>
                  <a:cubicBezTo>
                    <a:pt x="222" y="137"/>
                    <a:pt x="222" y="137"/>
                    <a:pt x="222" y="137"/>
                  </a:cubicBezTo>
                  <a:cubicBezTo>
                    <a:pt x="222" y="137"/>
                    <a:pt x="217" y="150"/>
                    <a:pt x="211" y="158"/>
                  </a:cubicBezTo>
                  <a:cubicBezTo>
                    <a:pt x="211" y="158"/>
                    <a:pt x="191" y="170"/>
                    <a:pt x="191" y="174"/>
                  </a:cubicBezTo>
                  <a:cubicBezTo>
                    <a:pt x="191" y="178"/>
                    <a:pt x="195" y="192"/>
                    <a:pt x="188" y="199"/>
                  </a:cubicBezTo>
                  <a:cubicBezTo>
                    <a:pt x="181" y="206"/>
                    <a:pt x="164" y="230"/>
                    <a:pt x="165" y="244"/>
                  </a:cubicBezTo>
                  <a:cubicBezTo>
                    <a:pt x="166" y="258"/>
                    <a:pt x="166" y="269"/>
                    <a:pt x="166" y="269"/>
                  </a:cubicBezTo>
                  <a:cubicBezTo>
                    <a:pt x="166" y="269"/>
                    <a:pt x="158" y="273"/>
                    <a:pt x="158" y="276"/>
                  </a:cubicBezTo>
                  <a:cubicBezTo>
                    <a:pt x="158" y="279"/>
                    <a:pt x="173" y="277"/>
                    <a:pt x="170" y="292"/>
                  </a:cubicBezTo>
                  <a:cubicBezTo>
                    <a:pt x="167" y="307"/>
                    <a:pt x="169" y="316"/>
                    <a:pt x="169" y="316"/>
                  </a:cubicBezTo>
                  <a:cubicBezTo>
                    <a:pt x="169" y="316"/>
                    <a:pt x="163" y="310"/>
                    <a:pt x="154" y="321"/>
                  </a:cubicBezTo>
                  <a:cubicBezTo>
                    <a:pt x="145" y="332"/>
                    <a:pt x="138" y="348"/>
                    <a:pt x="130" y="359"/>
                  </a:cubicBezTo>
                  <a:cubicBezTo>
                    <a:pt x="122" y="370"/>
                    <a:pt x="108" y="366"/>
                    <a:pt x="101" y="376"/>
                  </a:cubicBezTo>
                  <a:cubicBezTo>
                    <a:pt x="94" y="386"/>
                    <a:pt x="86" y="398"/>
                    <a:pt x="80" y="404"/>
                  </a:cubicBezTo>
                  <a:cubicBezTo>
                    <a:pt x="74" y="410"/>
                    <a:pt x="36" y="420"/>
                    <a:pt x="32" y="421"/>
                  </a:cubicBezTo>
                  <a:cubicBezTo>
                    <a:pt x="28" y="422"/>
                    <a:pt x="9" y="423"/>
                    <a:pt x="9" y="423"/>
                  </a:cubicBezTo>
                  <a:cubicBezTo>
                    <a:pt x="9" y="423"/>
                    <a:pt x="4" y="429"/>
                    <a:pt x="0" y="438"/>
                  </a:cubicBezTo>
                  <a:cubicBezTo>
                    <a:pt x="207" y="438"/>
                    <a:pt x="207" y="438"/>
                    <a:pt x="207" y="438"/>
                  </a:cubicBezTo>
                  <a:cubicBezTo>
                    <a:pt x="209" y="399"/>
                    <a:pt x="209" y="399"/>
                    <a:pt x="209" y="399"/>
                  </a:cubicBezTo>
                  <a:cubicBezTo>
                    <a:pt x="212" y="381"/>
                    <a:pt x="212" y="381"/>
                    <a:pt x="212" y="381"/>
                  </a:cubicBezTo>
                  <a:cubicBezTo>
                    <a:pt x="212" y="381"/>
                    <a:pt x="225" y="374"/>
                    <a:pt x="232" y="369"/>
                  </a:cubicBezTo>
                  <a:cubicBezTo>
                    <a:pt x="239" y="364"/>
                    <a:pt x="253" y="344"/>
                    <a:pt x="253" y="344"/>
                  </a:cubicBezTo>
                  <a:cubicBezTo>
                    <a:pt x="265" y="345"/>
                    <a:pt x="265" y="345"/>
                    <a:pt x="265" y="345"/>
                  </a:cubicBezTo>
                  <a:cubicBezTo>
                    <a:pt x="283" y="331"/>
                    <a:pt x="283" y="331"/>
                    <a:pt x="283" y="331"/>
                  </a:cubicBezTo>
                  <a:cubicBezTo>
                    <a:pt x="283" y="331"/>
                    <a:pt x="296" y="340"/>
                    <a:pt x="302" y="339"/>
                  </a:cubicBezTo>
                  <a:cubicBezTo>
                    <a:pt x="308" y="338"/>
                    <a:pt x="308" y="326"/>
                    <a:pt x="308" y="326"/>
                  </a:cubicBezTo>
                  <a:cubicBezTo>
                    <a:pt x="326" y="325"/>
                    <a:pt x="326" y="325"/>
                    <a:pt x="326" y="325"/>
                  </a:cubicBezTo>
                  <a:cubicBezTo>
                    <a:pt x="327" y="317"/>
                    <a:pt x="327" y="317"/>
                    <a:pt x="327" y="317"/>
                  </a:cubicBezTo>
                  <a:cubicBezTo>
                    <a:pt x="327" y="317"/>
                    <a:pt x="353" y="321"/>
                    <a:pt x="361" y="318"/>
                  </a:cubicBezTo>
                  <a:cubicBezTo>
                    <a:pt x="369" y="315"/>
                    <a:pt x="384" y="284"/>
                    <a:pt x="384" y="284"/>
                  </a:cubicBezTo>
                  <a:cubicBezTo>
                    <a:pt x="384" y="284"/>
                    <a:pt x="408" y="283"/>
                    <a:pt x="414" y="283"/>
                  </a:cubicBezTo>
                  <a:cubicBezTo>
                    <a:pt x="420" y="283"/>
                    <a:pt x="432" y="264"/>
                    <a:pt x="432" y="264"/>
                  </a:cubicBezTo>
                  <a:cubicBezTo>
                    <a:pt x="449" y="257"/>
                    <a:pt x="449" y="257"/>
                    <a:pt x="449" y="257"/>
                  </a:cubicBezTo>
                  <a:cubicBezTo>
                    <a:pt x="439" y="245"/>
                    <a:pt x="439" y="245"/>
                    <a:pt x="439" y="245"/>
                  </a:cubicBezTo>
                  <a:cubicBezTo>
                    <a:pt x="439" y="245"/>
                    <a:pt x="430" y="228"/>
                    <a:pt x="438" y="221"/>
                  </a:cubicBezTo>
                  <a:cubicBezTo>
                    <a:pt x="446" y="214"/>
                    <a:pt x="468" y="220"/>
                    <a:pt x="475" y="215"/>
                  </a:cubicBezTo>
                  <a:cubicBezTo>
                    <a:pt x="482" y="210"/>
                    <a:pt x="475" y="203"/>
                    <a:pt x="480" y="200"/>
                  </a:cubicBezTo>
                  <a:cubicBezTo>
                    <a:pt x="485" y="197"/>
                    <a:pt x="493" y="202"/>
                    <a:pt x="493" y="202"/>
                  </a:cubicBezTo>
                  <a:cubicBezTo>
                    <a:pt x="493" y="202"/>
                    <a:pt x="497" y="195"/>
                    <a:pt x="501" y="195"/>
                  </a:cubicBezTo>
                  <a:cubicBezTo>
                    <a:pt x="505" y="195"/>
                    <a:pt x="515" y="201"/>
                    <a:pt x="515" y="201"/>
                  </a:cubicBezTo>
                  <a:cubicBezTo>
                    <a:pt x="553" y="196"/>
                    <a:pt x="553" y="196"/>
                    <a:pt x="553" y="196"/>
                  </a:cubicBezTo>
                  <a:cubicBezTo>
                    <a:pt x="553" y="196"/>
                    <a:pt x="552" y="189"/>
                    <a:pt x="554" y="186"/>
                  </a:cubicBezTo>
                  <a:cubicBezTo>
                    <a:pt x="556" y="183"/>
                    <a:pt x="565" y="177"/>
                    <a:pt x="565" y="177"/>
                  </a:cubicBezTo>
                  <a:lnTo>
                    <a:pt x="547" y="165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95" name="Freeform 111"/>
            <p:cNvSpPr>
              <a:spLocks/>
            </p:cNvSpPr>
            <p:nvPr/>
          </p:nvSpPr>
          <p:spPr bwMode="auto">
            <a:xfrm>
              <a:off x="2811" y="1990"/>
              <a:ext cx="71" cy="147"/>
            </a:xfrm>
            <a:custGeom>
              <a:avLst/>
              <a:gdLst>
                <a:gd name="T0" fmla="*/ 0 w 187"/>
                <a:gd name="T1" fmla="*/ 0 h 387"/>
                <a:gd name="T2" fmla="*/ 0 w 187"/>
                <a:gd name="T3" fmla="*/ 0 h 387"/>
                <a:gd name="T4" fmla="*/ 0 w 187"/>
                <a:gd name="T5" fmla="*/ 0 h 387"/>
                <a:gd name="T6" fmla="*/ 0 w 187"/>
                <a:gd name="T7" fmla="*/ 0 h 387"/>
                <a:gd name="T8" fmla="*/ 0 w 187"/>
                <a:gd name="T9" fmla="*/ 0 h 387"/>
                <a:gd name="T10" fmla="*/ 0 w 187"/>
                <a:gd name="T11" fmla="*/ 0 h 387"/>
                <a:gd name="T12" fmla="*/ 0 w 187"/>
                <a:gd name="T13" fmla="*/ 0 h 387"/>
                <a:gd name="T14" fmla="*/ 0 w 187"/>
                <a:gd name="T15" fmla="*/ 0 h 387"/>
                <a:gd name="T16" fmla="*/ 0 w 187"/>
                <a:gd name="T17" fmla="*/ 0 h 387"/>
                <a:gd name="T18" fmla="*/ 0 w 187"/>
                <a:gd name="T19" fmla="*/ 0 h 387"/>
                <a:gd name="T20" fmla="*/ 0 w 187"/>
                <a:gd name="T21" fmla="*/ 0 h 387"/>
                <a:gd name="T22" fmla="*/ 0 w 187"/>
                <a:gd name="T23" fmla="*/ 0 h 387"/>
                <a:gd name="T24" fmla="*/ 0 w 187"/>
                <a:gd name="T25" fmla="*/ 0 h 387"/>
                <a:gd name="T26" fmla="*/ 0 w 187"/>
                <a:gd name="T27" fmla="*/ 0 h 387"/>
                <a:gd name="T28" fmla="*/ 0 w 187"/>
                <a:gd name="T29" fmla="*/ 0 h 387"/>
                <a:gd name="T30" fmla="*/ 0 w 187"/>
                <a:gd name="T31" fmla="*/ 0 h 387"/>
                <a:gd name="T32" fmla="*/ 0 w 187"/>
                <a:gd name="T33" fmla="*/ 0 h 387"/>
                <a:gd name="T34" fmla="*/ 0 w 187"/>
                <a:gd name="T35" fmla="*/ 0 h 387"/>
                <a:gd name="T36" fmla="*/ 0 w 187"/>
                <a:gd name="T37" fmla="*/ 0 h 387"/>
                <a:gd name="T38" fmla="*/ 0 w 187"/>
                <a:gd name="T39" fmla="*/ 0 h 387"/>
                <a:gd name="T40" fmla="*/ 0 w 187"/>
                <a:gd name="T41" fmla="*/ 0 h 387"/>
                <a:gd name="T42" fmla="*/ 0 w 187"/>
                <a:gd name="T43" fmla="*/ 0 h 387"/>
                <a:gd name="T44" fmla="*/ 0 w 187"/>
                <a:gd name="T45" fmla="*/ 0 h 387"/>
                <a:gd name="T46" fmla="*/ 0 w 187"/>
                <a:gd name="T47" fmla="*/ 0 h 387"/>
                <a:gd name="T48" fmla="*/ 0 w 187"/>
                <a:gd name="T49" fmla="*/ 0 h 387"/>
                <a:gd name="T50" fmla="*/ 0 w 187"/>
                <a:gd name="T51" fmla="*/ 0 h 387"/>
                <a:gd name="T52" fmla="*/ 0 w 187"/>
                <a:gd name="T53" fmla="*/ 0 h 387"/>
                <a:gd name="T54" fmla="*/ 0 w 187"/>
                <a:gd name="T55" fmla="*/ 0 h 387"/>
                <a:gd name="T56" fmla="*/ 0 w 187"/>
                <a:gd name="T57" fmla="*/ 0 h 387"/>
                <a:gd name="T58" fmla="*/ 0 w 187"/>
                <a:gd name="T59" fmla="*/ 0 h 387"/>
                <a:gd name="T60" fmla="*/ 0 w 187"/>
                <a:gd name="T61" fmla="*/ 0 h 387"/>
                <a:gd name="T62" fmla="*/ 0 w 187"/>
                <a:gd name="T63" fmla="*/ 0 h 387"/>
                <a:gd name="T64" fmla="*/ 0 w 187"/>
                <a:gd name="T65" fmla="*/ 0 h 387"/>
                <a:gd name="T66" fmla="*/ 0 w 187"/>
                <a:gd name="T67" fmla="*/ 0 h 387"/>
                <a:gd name="T68" fmla="*/ 0 w 187"/>
                <a:gd name="T69" fmla="*/ 0 h 387"/>
                <a:gd name="T70" fmla="*/ 0 w 187"/>
                <a:gd name="T71" fmla="*/ 0 h 387"/>
                <a:gd name="T72" fmla="*/ 0 w 187"/>
                <a:gd name="T73" fmla="*/ 0 h 387"/>
                <a:gd name="T74" fmla="*/ 0 w 187"/>
                <a:gd name="T75" fmla="*/ 0 h 387"/>
                <a:gd name="T76" fmla="*/ 0 w 187"/>
                <a:gd name="T77" fmla="*/ 0 h 387"/>
                <a:gd name="T78" fmla="*/ 0 w 187"/>
                <a:gd name="T79" fmla="*/ 0 h 38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87"/>
                <a:gd name="T121" fmla="*/ 0 h 387"/>
                <a:gd name="T122" fmla="*/ 187 w 187"/>
                <a:gd name="T123" fmla="*/ 387 h 38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87" h="387">
                  <a:moveTo>
                    <a:pt x="25" y="48"/>
                  </a:move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29" y="83"/>
                    <a:pt x="33" y="90"/>
                  </a:cubicBezTo>
                  <a:cubicBezTo>
                    <a:pt x="37" y="97"/>
                    <a:pt x="39" y="109"/>
                    <a:pt x="38" y="119"/>
                  </a:cubicBezTo>
                  <a:cubicBezTo>
                    <a:pt x="37" y="129"/>
                    <a:pt x="30" y="151"/>
                    <a:pt x="30" y="151"/>
                  </a:cubicBezTo>
                  <a:cubicBezTo>
                    <a:pt x="16" y="162"/>
                    <a:pt x="16" y="162"/>
                    <a:pt x="16" y="162"/>
                  </a:cubicBezTo>
                  <a:cubicBezTo>
                    <a:pt x="16" y="162"/>
                    <a:pt x="0" y="175"/>
                    <a:pt x="0" y="185"/>
                  </a:cubicBezTo>
                  <a:cubicBezTo>
                    <a:pt x="0" y="195"/>
                    <a:pt x="0" y="208"/>
                    <a:pt x="0" y="208"/>
                  </a:cubicBezTo>
                  <a:cubicBezTo>
                    <a:pt x="7" y="208"/>
                    <a:pt x="7" y="208"/>
                    <a:pt x="7" y="208"/>
                  </a:cubicBezTo>
                  <a:cubicBezTo>
                    <a:pt x="7" y="227"/>
                    <a:pt x="7" y="227"/>
                    <a:pt x="7" y="227"/>
                  </a:cubicBezTo>
                  <a:cubicBezTo>
                    <a:pt x="7" y="227"/>
                    <a:pt x="33" y="232"/>
                    <a:pt x="34" y="240"/>
                  </a:cubicBezTo>
                  <a:cubicBezTo>
                    <a:pt x="35" y="248"/>
                    <a:pt x="35" y="266"/>
                    <a:pt x="35" y="266"/>
                  </a:cubicBezTo>
                  <a:cubicBezTo>
                    <a:pt x="35" y="266"/>
                    <a:pt x="67" y="278"/>
                    <a:pt x="67" y="291"/>
                  </a:cubicBezTo>
                  <a:cubicBezTo>
                    <a:pt x="67" y="302"/>
                    <a:pt x="82" y="364"/>
                    <a:pt x="88" y="387"/>
                  </a:cubicBezTo>
                  <a:cubicBezTo>
                    <a:pt x="95" y="384"/>
                    <a:pt x="104" y="381"/>
                    <a:pt x="104" y="381"/>
                  </a:cubicBezTo>
                  <a:cubicBezTo>
                    <a:pt x="104" y="381"/>
                    <a:pt x="124" y="367"/>
                    <a:pt x="123" y="355"/>
                  </a:cubicBezTo>
                  <a:cubicBezTo>
                    <a:pt x="122" y="343"/>
                    <a:pt x="112" y="323"/>
                    <a:pt x="114" y="317"/>
                  </a:cubicBezTo>
                  <a:cubicBezTo>
                    <a:pt x="116" y="311"/>
                    <a:pt x="129" y="306"/>
                    <a:pt x="129" y="306"/>
                  </a:cubicBezTo>
                  <a:cubicBezTo>
                    <a:pt x="129" y="306"/>
                    <a:pt x="142" y="289"/>
                    <a:pt x="148" y="283"/>
                  </a:cubicBezTo>
                  <a:cubicBezTo>
                    <a:pt x="154" y="277"/>
                    <a:pt x="179" y="273"/>
                    <a:pt x="183" y="265"/>
                  </a:cubicBezTo>
                  <a:cubicBezTo>
                    <a:pt x="187" y="257"/>
                    <a:pt x="172" y="255"/>
                    <a:pt x="172" y="255"/>
                  </a:cubicBezTo>
                  <a:cubicBezTo>
                    <a:pt x="175" y="228"/>
                    <a:pt x="175" y="228"/>
                    <a:pt x="175" y="228"/>
                  </a:cubicBezTo>
                  <a:cubicBezTo>
                    <a:pt x="170" y="227"/>
                    <a:pt x="167" y="226"/>
                    <a:pt x="167" y="226"/>
                  </a:cubicBezTo>
                  <a:cubicBezTo>
                    <a:pt x="160" y="207"/>
                    <a:pt x="160" y="207"/>
                    <a:pt x="160" y="207"/>
                  </a:cubicBezTo>
                  <a:cubicBezTo>
                    <a:pt x="150" y="201"/>
                    <a:pt x="150" y="201"/>
                    <a:pt x="150" y="201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42" y="203"/>
                    <a:pt x="142" y="203"/>
                    <a:pt x="142" y="203"/>
                  </a:cubicBezTo>
                  <a:cubicBezTo>
                    <a:pt x="142" y="203"/>
                    <a:pt x="111" y="202"/>
                    <a:pt x="111" y="183"/>
                  </a:cubicBezTo>
                  <a:cubicBezTo>
                    <a:pt x="111" y="164"/>
                    <a:pt x="109" y="174"/>
                    <a:pt x="132" y="154"/>
                  </a:cubicBezTo>
                  <a:cubicBezTo>
                    <a:pt x="155" y="134"/>
                    <a:pt x="169" y="118"/>
                    <a:pt x="156" y="102"/>
                  </a:cubicBezTo>
                  <a:cubicBezTo>
                    <a:pt x="143" y="86"/>
                    <a:pt x="128" y="89"/>
                    <a:pt x="132" y="73"/>
                  </a:cubicBezTo>
                  <a:cubicBezTo>
                    <a:pt x="136" y="57"/>
                    <a:pt x="135" y="59"/>
                    <a:pt x="145" y="50"/>
                  </a:cubicBezTo>
                  <a:cubicBezTo>
                    <a:pt x="155" y="41"/>
                    <a:pt x="163" y="19"/>
                    <a:pt x="156" y="18"/>
                  </a:cubicBezTo>
                  <a:cubicBezTo>
                    <a:pt x="149" y="17"/>
                    <a:pt x="130" y="43"/>
                    <a:pt x="125" y="45"/>
                  </a:cubicBezTo>
                  <a:cubicBezTo>
                    <a:pt x="120" y="47"/>
                    <a:pt x="108" y="33"/>
                    <a:pt x="108" y="33"/>
                  </a:cubicBezTo>
                  <a:cubicBezTo>
                    <a:pt x="108" y="33"/>
                    <a:pt x="127" y="16"/>
                    <a:pt x="110" y="8"/>
                  </a:cubicBezTo>
                  <a:cubicBezTo>
                    <a:pt x="93" y="0"/>
                    <a:pt x="66" y="19"/>
                    <a:pt x="60" y="23"/>
                  </a:cubicBezTo>
                  <a:cubicBezTo>
                    <a:pt x="58" y="24"/>
                    <a:pt x="56" y="25"/>
                    <a:pt x="53" y="25"/>
                  </a:cubicBezTo>
                  <a:cubicBezTo>
                    <a:pt x="53" y="35"/>
                    <a:pt x="53" y="35"/>
                    <a:pt x="53" y="35"/>
                  </a:cubicBezTo>
                  <a:lnTo>
                    <a:pt x="25" y="48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96" name="Freeform 112"/>
            <p:cNvSpPr>
              <a:spLocks/>
            </p:cNvSpPr>
            <p:nvPr/>
          </p:nvSpPr>
          <p:spPr bwMode="auto">
            <a:xfrm>
              <a:off x="2613" y="2527"/>
              <a:ext cx="81" cy="132"/>
            </a:xfrm>
            <a:custGeom>
              <a:avLst/>
              <a:gdLst>
                <a:gd name="T0" fmla="*/ 0 w 213"/>
                <a:gd name="T1" fmla="*/ 0 h 349"/>
                <a:gd name="T2" fmla="*/ 0 w 213"/>
                <a:gd name="T3" fmla="*/ 0 h 349"/>
                <a:gd name="T4" fmla="*/ 0 w 213"/>
                <a:gd name="T5" fmla="*/ 0 h 349"/>
                <a:gd name="T6" fmla="*/ 0 w 213"/>
                <a:gd name="T7" fmla="*/ 0 h 349"/>
                <a:gd name="T8" fmla="*/ 0 w 213"/>
                <a:gd name="T9" fmla="*/ 0 h 349"/>
                <a:gd name="T10" fmla="*/ 0 w 213"/>
                <a:gd name="T11" fmla="*/ 0 h 349"/>
                <a:gd name="T12" fmla="*/ 0 w 213"/>
                <a:gd name="T13" fmla="*/ 0 h 349"/>
                <a:gd name="T14" fmla="*/ 0 w 213"/>
                <a:gd name="T15" fmla="*/ 0 h 349"/>
                <a:gd name="T16" fmla="*/ 0 w 213"/>
                <a:gd name="T17" fmla="*/ 0 h 349"/>
                <a:gd name="T18" fmla="*/ 0 w 213"/>
                <a:gd name="T19" fmla="*/ 0 h 349"/>
                <a:gd name="T20" fmla="*/ 0 w 213"/>
                <a:gd name="T21" fmla="*/ 0 h 349"/>
                <a:gd name="T22" fmla="*/ 0 w 213"/>
                <a:gd name="T23" fmla="*/ 0 h 349"/>
                <a:gd name="T24" fmla="*/ 0 w 213"/>
                <a:gd name="T25" fmla="*/ 0 h 349"/>
                <a:gd name="T26" fmla="*/ 0 w 213"/>
                <a:gd name="T27" fmla="*/ 0 h 349"/>
                <a:gd name="T28" fmla="*/ 0 w 213"/>
                <a:gd name="T29" fmla="*/ 0 h 349"/>
                <a:gd name="T30" fmla="*/ 0 w 213"/>
                <a:gd name="T31" fmla="*/ 0 h 349"/>
                <a:gd name="T32" fmla="*/ 0 w 213"/>
                <a:gd name="T33" fmla="*/ 0 h 349"/>
                <a:gd name="T34" fmla="*/ 0 w 213"/>
                <a:gd name="T35" fmla="*/ 0 h 349"/>
                <a:gd name="T36" fmla="*/ 0 w 213"/>
                <a:gd name="T37" fmla="*/ 0 h 349"/>
                <a:gd name="T38" fmla="*/ 0 w 213"/>
                <a:gd name="T39" fmla="*/ 0 h 349"/>
                <a:gd name="T40" fmla="*/ 0 w 213"/>
                <a:gd name="T41" fmla="*/ 0 h 349"/>
                <a:gd name="T42" fmla="*/ 0 w 213"/>
                <a:gd name="T43" fmla="*/ 0 h 349"/>
                <a:gd name="T44" fmla="*/ 0 w 213"/>
                <a:gd name="T45" fmla="*/ 0 h 349"/>
                <a:gd name="T46" fmla="*/ 0 w 213"/>
                <a:gd name="T47" fmla="*/ 0 h 349"/>
                <a:gd name="T48" fmla="*/ 0 w 213"/>
                <a:gd name="T49" fmla="*/ 0 h 349"/>
                <a:gd name="T50" fmla="*/ 0 w 213"/>
                <a:gd name="T51" fmla="*/ 0 h 349"/>
                <a:gd name="T52" fmla="*/ 0 w 213"/>
                <a:gd name="T53" fmla="*/ 0 h 349"/>
                <a:gd name="T54" fmla="*/ 0 w 213"/>
                <a:gd name="T55" fmla="*/ 0 h 349"/>
                <a:gd name="T56" fmla="*/ 0 w 213"/>
                <a:gd name="T57" fmla="*/ 0 h 349"/>
                <a:gd name="T58" fmla="*/ 0 w 213"/>
                <a:gd name="T59" fmla="*/ 0 h 349"/>
                <a:gd name="T60" fmla="*/ 0 w 213"/>
                <a:gd name="T61" fmla="*/ 0 h 349"/>
                <a:gd name="T62" fmla="*/ 0 w 213"/>
                <a:gd name="T63" fmla="*/ 0 h 349"/>
                <a:gd name="T64" fmla="*/ 0 w 213"/>
                <a:gd name="T65" fmla="*/ 0 h 349"/>
                <a:gd name="T66" fmla="*/ 0 w 213"/>
                <a:gd name="T67" fmla="*/ 0 h 349"/>
                <a:gd name="T68" fmla="*/ 0 w 213"/>
                <a:gd name="T69" fmla="*/ 0 h 349"/>
                <a:gd name="T70" fmla="*/ 0 w 213"/>
                <a:gd name="T71" fmla="*/ 0 h 349"/>
                <a:gd name="T72" fmla="*/ 0 w 213"/>
                <a:gd name="T73" fmla="*/ 0 h 349"/>
                <a:gd name="T74" fmla="*/ 0 w 213"/>
                <a:gd name="T75" fmla="*/ 0 h 349"/>
                <a:gd name="T76" fmla="*/ 0 w 213"/>
                <a:gd name="T77" fmla="*/ 0 h 349"/>
                <a:gd name="T78" fmla="*/ 0 w 213"/>
                <a:gd name="T79" fmla="*/ 0 h 349"/>
                <a:gd name="T80" fmla="*/ 0 w 213"/>
                <a:gd name="T81" fmla="*/ 0 h 349"/>
                <a:gd name="T82" fmla="*/ 0 w 213"/>
                <a:gd name="T83" fmla="*/ 0 h 349"/>
                <a:gd name="T84" fmla="*/ 0 w 213"/>
                <a:gd name="T85" fmla="*/ 0 h 349"/>
                <a:gd name="T86" fmla="*/ 0 w 213"/>
                <a:gd name="T87" fmla="*/ 0 h 349"/>
                <a:gd name="T88" fmla="*/ 0 w 213"/>
                <a:gd name="T89" fmla="*/ 0 h 349"/>
                <a:gd name="T90" fmla="*/ 0 w 213"/>
                <a:gd name="T91" fmla="*/ 0 h 349"/>
                <a:gd name="T92" fmla="*/ 0 w 213"/>
                <a:gd name="T93" fmla="*/ 0 h 34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13"/>
                <a:gd name="T142" fmla="*/ 0 h 349"/>
                <a:gd name="T143" fmla="*/ 213 w 213"/>
                <a:gd name="T144" fmla="*/ 349 h 34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13" h="349">
                  <a:moveTo>
                    <a:pt x="185" y="228"/>
                  </a:moveTo>
                  <a:cubicBezTo>
                    <a:pt x="185" y="228"/>
                    <a:pt x="191" y="211"/>
                    <a:pt x="190" y="205"/>
                  </a:cubicBezTo>
                  <a:cubicBezTo>
                    <a:pt x="189" y="199"/>
                    <a:pt x="182" y="203"/>
                    <a:pt x="182" y="198"/>
                  </a:cubicBezTo>
                  <a:cubicBezTo>
                    <a:pt x="182" y="193"/>
                    <a:pt x="185" y="186"/>
                    <a:pt x="185" y="186"/>
                  </a:cubicBezTo>
                  <a:cubicBezTo>
                    <a:pt x="187" y="157"/>
                    <a:pt x="187" y="157"/>
                    <a:pt x="187" y="157"/>
                  </a:cubicBezTo>
                  <a:cubicBezTo>
                    <a:pt x="187" y="157"/>
                    <a:pt x="192" y="154"/>
                    <a:pt x="191" y="148"/>
                  </a:cubicBezTo>
                  <a:cubicBezTo>
                    <a:pt x="190" y="142"/>
                    <a:pt x="173" y="134"/>
                    <a:pt x="173" y="134"/>
                  </a:cubicBezTo>
                  <a:cubicBezTo>
                    <a:pt x="173" y="134"/>
                    <a:pt x="184" y="126"/>
                    <a:pt x="185" y="123"/>
                  </a:cubicBezTo>
                  <a:cubicBezTo>
                    <a:pt x="186" y="120"/>
                    <a:pt x="178" y="113"/>
                    <a:pt x="178" y="113"/>
                  </a:cubicBezTo>
                  <a:cubicBezTo>
                    <a:pt x="178" y="113"/>
                    <a:pt x="186" y="95"/>
                    <a:pt x="182" y="88"/>
                  </a:cubicBezTo>
                  <a:cubicBezTo>
                    <a:pt x="178" y="81"/>
                    <a:pt x="166" y="91"/>
                    <a:pt x="166" y="91"/>
                  </a:cubicBezTo>
                  <a:cubicBezTo>
                    <a:pt x="174" y="42"/>
                    <a:pt x="174" y="42"/>
                    <a:pt x="174" y="42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9" y="15"/>
                    <a:pt x="159" y="15"/>
                    <a:pt x="159" y="15"/>
                  </a:cubicBezTo>
                  <a:cubicBezTo>
                    <a:pt x="159" y="4"/>
                    <a:pt x="159" y="4"/>
                    <a:pt x="159" y="4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9" y="10"/>
                    <a:pt x="129" y="10"/>
                    <a:pt x="129" y="10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18" y="16"/>
                    <a:pt x="18" y="24"/>
                  </a:cubicBezTo>
                  <a:cubicBezTo>
                    <a:pt x="18" y="32"/>
                    <a:pt x="24" y="33"/>
                    <a:pt x="24" y="33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4" y="105"/>
                    <a:pt x="34" y="105"/>
                    <a:pt x="34" y="105"/>
                  </a:cubicBezTo>
                  <a:cubicBezTo>
                    <a:pt x="26" y="106"/>
                    <a:pt x="26" y="106"/>
                    <a:pt x="26" y="106"/>
                  </a:cubicBezTo>
                  <a:cubicBezTo>
                    <a:pt x="26" y="106"/>
                    <a:pt x="38" y="140"/>
                    <a:pt x="38" y="152"/>
                  </a:cubicBezTo>
                  <a:cubicBezTo>
                    <a:pt x="38" y="164"/>
                    <a:pt x="21" y="171"/>
                    <a:pt x="21" y="179"/>
                  </a:cubicBezTo>
                  <a:cubicBezTo>
                    <a:pt x="21" y="187"/>
                    <a:pt x="20" y="209"/>
                    <a:pt x="20" y="209"/>
                  </a:cubicBezTo>
                  <a:cubicBezTo>
                    <a:pt x="20" y="209"/>
                    <a:pt x="0" y="227"/>
                    <a:pt x="0" y="241"/>
                  </a:cubicBezTo>
                  <a:cubicBezTo>
                    <a:pt x="0" y="255"/>
                    <a:pt x="13" y="291"/>
                    <a:pt x="13" y="291"/>
                  </a:cubicBezTo>
                  <a:cubicBezTo>
                    <a:pt x="31" y="297"/>
                    <a:pt x="31" y="297"/>
                    <a:pt x="31" y="297"/>
                  </a:cubicBezTo>
                  <a:cubicBezTo>
                    <a:pt x="32" y="332"/>
                    <a:pt x="32" y="332"/>
                    <a:pt x="32" y="332"/>
                  </a:cubicBezTo>
                  <a:cubicBezTo>
                    <a:pt x="41" y="334"/>
                    <a:pt x="47" y="334"/>
                    <a:pt x="47" y="334"/>
                  </a:cubicBezTo>
                  <a:cubicBezTo>
                    <a:pt x="47" y="334"/>
                    <a:pt x="51" y="349"/>
                    <a:pt x="61" y="345"/>
                  </a:cubicBezTo>
                  <a:cubicBezTo>
                    <a:pt x="71" y="341"/>
                    <a:pt x="92" y="323"/>
                    <a:pt x="99" y="321"/>
                  </a:cubicBezTo>
                  <a:cubicBezTo>
                    <a:pt x="106" y="319"/>
                    <a:pt x="117" y="321"/>
                    <a:pt x="117" y="321"/>
                  </a:cubicBezTo>
                  <a:cubicBezTo>
                    <a:pt x="117" y="321"/>
                    <a:pt x="138" y="303"/>
                    <a:pt x="141" y="302"/>
                  </a:cubicBezTo>
                  <a:cubicBezTo>
                    <a:pt x="144" y="301"/>
                    <a:pt x="159" y="298"/>
                    <a:pt x="159" y="298"/>
                  </a:cubicBezTo>
                  <a:cubicBezTo>
                    <a:pt x="159" y="298"/>
                    <a:pt x="165" y="282"/>
                    <a:pt x="173" y="283"/>
                  </a:cubicBezTo>
                  <a:cubicBezTo>
                    <a:pt x="181" y="284"/>
                    <a:pt x="187" y="292"/>
                    <a:pt x="196" y="287"/>
                  </a:cubicBezTo>
                  <a:cubicBezTo>
                    <a:pt x="201" y="284"/>
                    <a:pt x="207" y="278"/>
                    <a:pt x="213" y="273"/>
                  </a:cubicBezTo>
                  <a:cubicBezTo>
                    <a:pt x="193" y="256"/>
                    <a:pt x="193" y="256"/>
                    <a:pt x="193" y="256"/>
                  </a:cubicBezTo>
                  <a:lnTo>
                    <a:pt x="185" y="228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97" name="Freeform 113"/>
            <p:cNvSpPr>
              <a:spLocks/>
            </p:cNvSpPr>
            <p:nvPr/>
          </p:nvSpPr>
          <p:spPr bwMode="auto">
            <a:xfrm>
              <a:off x="2671" y="2528"/>
              <a:ext cx="35" cy="102"/>
            </a:xfrm>
            <a:custGeom>
              <a:avLst/>
              <a:gdLst>
                <a:gd name="T0" fmla="*/ 0 w 91"/>
                <a:gd name="T1" fmla="*/ 0 h 270"/>
                <a:gd name="T2" fmla="*/ 0 w 91"/>
                <a:gd name="T3" fmla="*/ 0 h 270"/>
                <a:gd name="T4" fmla="*/ 0 w 91"/>
                <a:gd name="T5" fmla="*/ 0 h 270"/>
                <a:gd name="T6" fmla="*/ 0 w 91"/>
                <a:gd name="T7" fmla="*/ 0 h 270"/>
                <a:gd name="T8" fmla="*/ 0 w 91"/>
                <a:gd name="T9" fmla="*/ 0 h 270"/>
                <a:gd name="T10" fmla="*/ 0 w 91"/>
                <a:gd name="T11" fmla="*/ 0 h 270"/>
                <a:gd name="T12" fmla="*/ 0 w 91"/>
                <a:gd name="T13" fmla="*/ 0 h 270"/>
                <a:gd name="T14" fmla="*/ 0 w 91"/>
                <a:gd name="T15" fmla="*/ 0 h 270"/>
                <a:gd name="T16" fmla="*/ 0 w 91"/>
                <a:gd name="T17" fmla="*/ 0 h 270"/>
                <a:gd name="T18" fmla="*/ 0 w 91"/>
                <a:gd name="T19" fmla="*/ 0 h 270"/>
                <a:gd name="T20" fmla="*/ 0 w 91"/>
                <a:gd name="T21" fmla="*/ 0 h 270"/>
                <a:gd name="T22" fmla="*/ 0 w 91"/>
                <a:gd name="T23" fmla="*/ 0 h 270"/>
                <a:gd name="T24" fmla="*/ 0 w 91"/>
                <a:gd name="T25" fmla="*/ 0 h 270"/>
                <a:gd name="T26" fmla="*/ 0 w 91"/>
                <a:gd name="T27" fmla="*/ 0 h 270"/>
                <a:gd name="T28" fmla="*/ 0 w 91"/>
                <a:gd name="T29" fmla="*/ 0 h 270"/>
                <a:gd name="T30" fmla="*/ 0 w 91"/>
                <a:gd name="T31" fmla="*/ 0 h 270"/>
                <a:gd name="T32" fmla="*/ 0 w 91"/>
                <a:gd name="T33" fmla="*/ 0 h 270"/>
                <a:gd name="T34" fmla="*/ 0 w 91"/>
                <a:gd name="T35" fmla="*/ 0 h 270"/>
                <a:gd name="T36" fmla="*/ 0 w 91"/>
                <a:gd name="T37" fmla="*/ 0 h 270"/>
                <a:gd name="T38" fmla="*/ 0 w 91"/>
                <a:gd name="T39" fmla="*/ 0 h 270"/>
                <a:gd name="T40" fmla="*/ 0 w 91"/>
                <a:gd name="T41" fmla="*/ 0 h 270"/>
                <a:gd name="T42" fmla="*/ 0 w 91"/>
                <a:gd name="T43" fmla="*/ 0 h 270"/>
                <a:gd name="T44" fmla="*/ 0 w 91"/>
                <a:gd name="T45" fmla="*/ 0 h 270"/>
                <a:gd name="T46" fmla="*/ 0 w 91"/>
                <a:gd name="T47" fmla="*/ 0 h 270"/>
                <a:gd name="T48" fmla="*/ 0 w 91"/>
                <a:gd name="T49" fmla="*/ 0 h 270"/>
                <a:gd name="T50" fmla="*/ 0 w 91"/>
                <a:gd name="T51" fmla="*/ 0 h 270"/>
                <a:gd name="T52" fmla="*/ 0 w 91"/>
                <a:gd name="T53" fmla="*/ 0 h 270"/>
                <a:gd name="T54" fmla="*/ 0 w 91"/>
                <a:gd name="T55" fmla="*/ 0 h 270"/>
                <a:gd name="T56" fmla="*/ 0 w 91"/>
                <a:gd name="T57" fmla="*/ 0 h 270"/>
                <a:gd name="T58" fmla="*/ 0 w 91"/>
                <a:gd name="T59" fmla="*/ 0 h 270"/>
                <a:gd name="T60" fmla="*/ 0 w 91"/>
                <a:gd name="T61" fmla="*/ 0 h 270"/>
                <a:gd name="T62" fmla="*/ 0 w 91"/>
                <a:gd name="T63" fmla="*/ 0 h 270"/>
                <a:gd name="T64" fmla="*/ 0 w 91"/>
                <a:gd name="T65" fmla="*/ 0 h 270"/>
                <a:gd name="T66" fmla="*/ 0 w 91"/>
                <a:gd name="T67" fmla="*/ 0 h 27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1"/>
                <a:gd name="T103" fmla="*/ 0 h 270"/>
                <a:gd name="T104" fmla="*/ 91 w 91"/>
                <a:gd name="T105" fmla="*/ 270 h 27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1" h="270">
                  <a:moveTo>
                    <a:pt x="82" y="239"/>
                  </a:moveTo>
                  <a:cubicBezTo>
                    <a:pt x="80" y="195"/>
                    <a:pt x="80" y="195"/>
                    <a:pt x="80" y="195"/>
                  </a:cubicBezTo>
                  <a:cubicBezTo>
                    <a:pt x="85" y="188"/>
                    <a:pt x="85" y="188"/>
                    <a:pt x="85" y="188"/>
                  </a:cubicBezTo>
                  <a:cubicBezTo>
                    <a:pt x="79" y="182"/>
                    <a:pt x="79" y="182"/>
                    <a:pt x="79" y="182"/>
                  </a:cubicBezTo>
                  <a:cubicBezTo>
                    <a:pt x="80" y="143"/>
                    <a:pt x="80" y="143"/>
                    <a:pt x="80" y="143"/>
                  </a:cubicBezTo>
                  <a:cubicBezTo>
                    <a:pt x="85" y="135"/>
                    <a:pt x="85" y="135"/>
                    <a:pt x="85" y="135"/>
                  </a:cubicBezTo>
                  <a:cubicBezTo>
                    <a:pt x="85" y="135"/>
                    <a:pt x="80" y="116"/>
                    <a:pt x="81" y="108"/>
                  </a:cubicBezTo>
                  <a:cubicBezTo>
                    <a:pt x="82" y="100"/>
                    <a:pt x="69" y="91"/>
                    <a:pt x="69" y="91"/>
                  </a:cubicBezTo>
                  <a:cubicBezTo>
                    <a:pt x="69" y="91"/>
                    <a:pt x="71" y="68"/>
                    <a:pt x="69" y="60"/>
                  </a:cubicBezTo>
                  <a:cubicBezTo>
                    <a:pt x="67" y="52"/>
                    <a:pt x="42" y="37"/>
                    <a:pt x="42" y="37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26" y="78"/>
                    <a:pt x="30" y="85"/>
                  </a:cubicBezTo>
                  <a:cubicBezTo>
                    <a:pt x="34" y="92"/>
                    <a:pt x="26" y="110"/>
                    <a:pt x="26" y="110"/>
                  </a:cubicBezTo>
                  <a:cubicBezTo>
                    <a:pt x="26" y="110"/>
                    <a:pt x="34" y="117"/>
                    <a:pt x="33" y="120"/>
                  </a:cubicBezTo>
                  <a:cubicBezTo>
                    <a:pt x="32" y="123"/>
                    <a:pt x="21" y="131"/>
                    <a:pt x="21" y="131"/>
                  </a:cubicBezTo>
                  <a:cubicBezTo>
                    <a:pt x="21" y="131"/>
                    <a:pt x="38" y="139"/>
                    <a:pt x="39" y="145"/>
                  </a:cubicBezTo>
                  <a:cubicBezTo>
                    <a:pt x="40" y="151"/>
                    <a:pt x="35" y="154"/>
                    <a:pt x="35" y="154"/>
                  </a:cubicBezTo>
                  <a:cubicBezTo>
                    <a:pt x="33" y="183"/>
                    <a:pt x="33" y="183"/>
                    <a:pt x="33" y="183"/>
                  </a:cubicBezTo>
                  <a:cubicBezTo>
                    <a:pt x="33" y="183"/>
                    <a:pt x="30" y="190"/>
                    <a:pt x="30" y="195"/>
                  </a:cubicBezTo>
                  <a:cubicBezTo>
                    <a:pt x="30" y="200"/>
                    <a:pt x="37" y="196"/>
                    <a:pt x="38" y="202"/>
                  </a:cubicBezTo>
                  <a:cubicBezTo>
                    <a:pt x="39" y="208"/>
                    <a:pt x="33" y="225"/>
                    <a:pt x="33" y="225"/>
                  </a:cubicBezTo>
                  <a:cubicBezTo>
                    <a:pt x="41" y="253"/>
                    <a:pt x="41" y="253"/>
                    <a:pt x="41" y="253"/>
                  </a:cubicBezTo>
                  <a:cubicBezTo>
                    <a:pt x="61" y="270"/>
                    <a:pt x="61" y="270"/>
                    <a:pt x="61" y="270"/>
                  </a:cubicBezTo>
                  <a:cubicBezTo>
                    <a:pt x="66" y="264"/>
                    <a:pt x="72" y="260"/>
                    <a:pt x="78" y="259"/>
                  </a:cubicBezTo>
                  <a:cubicBezTo>
                    <a:pt x="82" y="258"/>
                    <a:pt x="86" y="258"/>
                    <a:pt x="91" y="258"/>
                  </a:cubicBezTo>
                  <a:cubicBezTo>
                    <a:pt x="91" y="248"/>
                    <a:pt x="82" y="239"/>
                    <a:pt x="82" y="239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98" name="Freeform 114"/>
            <p:cNvSpPr>
              <a:spLocks/>
            </p:cNvSpPr>
            <p:nvPr/>
          </p:nvSpPr>
          <p:spPr bwMode="auto">
            <a:xfrm>
              <a:off x="2687" y="2501"/>
              <a:ext cx="57" cy="126"/>
            </a:xfrm>
            <a:custGeom>
              <a:avLst/>
              <a:gdLst>
                <a:gd name="T0" fmla="*/ 0 w 150"/>
                <a:gd name="T1" fmla="*/ 0 h 332"/>
                <a:gd name="T2" fmla="*/ 0 w 150"/>
                <a:gd name="T3" fmla="*/ 0 h 332"/>
                <a:gd name="T4" fmla="*/ 0 w 150"/>
                <a:gd name="T5" fmla="*/ 0 h 332"/>
                <a:gd name="T6" fmla="*/ 0 w 150"/>
                <a:gd name="T7" fmla="*/ 0 h 332"/>
                <a:gd name="T8" fmla="*/ 0 w 150"/>
                <a:gd name="T9" fmla="*/ 0 h 332"/>
                <a:gd name="T10" fmla="*/ 0 w 150"/>
                <a:gd name="T11" fmla="*/ 0 h 332"/>
                <a:gd name="T12" fmla="*/ 0 w 150"/>
                <a:gd name="T13" fmla="*/ 0 h 332"/>
                <a:gd name="T14" fmla="*/ 0 w 150"/>
                <a:gd name="T15" fmla="*/ 0 h 332"/>
                <a:gd name="T16" fmla="*/ 0 w 150"/>
                <a:gd name="T17" fmla="*/ 0 h 332"/>
                <a:gd name="T18" fmla="*/ 0 w 150"/>
                <a:gd name="T19" fmla="*/ 0 h 332"/>
                <a:gd name="T20" fmla="*/ 0 w 150"/>
                <a:gd name="T21" fmla="*/ 0 h 332"/>
                <a:gd name="T22" fmla="*/ 0 w 150"/>
                <a:gd name="T23" fmla="*/ 0 h 332"/>
                <a:gd name="T24" fmla="*/ 0 w 150"/>
                <a:gd name="T25" fmla="*/ 0 h 332"/>
                <a:gd name="T26" fmla="*/ 0 w 150"/>
                <a:gd name="T27" fmla="*/ 0 h 332"/>
                <a:gd name="T28" fmla="*/ 0 w 150"/>
                <a:gd name="T29" fmla="*/ 0 h 332"/>
                <a:gd name="T30" fmla="*/ 0 w 150"/>
                <a:gd name="T31" fmla="*/ 0 h 332"/>
                <a:gd name="T32" fmla="*/ 0 w 150"/>
                <a:gd name="T33" fmla="*/ 0 h 332"/>
                <a:gd name="T34" fmla="*/ 0 w 150"/>
                <a:gd name="T35" fmla="*/ 0 h 332"/>
                <a:gd name="T36" fmla="*/ 0 w 150"/>
                <a:gd name="T37" fmla="*/ 0 h 332"/>
                <a:gd name="T38" fmla="*/ 0 w 150"/>
                <a:gd name="T39" fmla="*/ 0 h 332"/>
                <a:gd name="T40" fmla="*/ 0 w 150"/>
                <a:gd name="T41" fmla="*/ 0 h 332"/>
                <a:gd name="T42" fmla="*/ 0 w 150"/>
                <a:gd name="T43" fmla="*/ 0 h 332"/>
                <a:gd name="T44" fmla="*/ 0 w 150"/>
                <a:gd name="T45" fmla="*/ 0 h 332"/>
                <a:gd name="T46" fmla="*/ 0 w 150"/>
                <a:gd name="T47" fmla="*/ 0 h 332"/>
                <a:gd name="T48" fmla="*/ 0 w 150"/>
                <a:gd name="T49" fmla="*/ 0 h 332"/>
                <a:gd name="T50" fmla="*/ 0 w 150"/>
                <a:gd name="T51" fmla="*/ 0 h 332"/>
                <a:gd name="T52" fmla="*/ 0 w 150"/>
                <a:gd name="T53" fmla="*/ 0 h 332"/>
                <a:gd name="T54" fmla="*/ 0 w 150"/>
                <a:gd name="T55" fmla="*/ 0 h 332"/>
                <a:gd name="T56" fmla="*/ 0 w 150"/>
                <a:gd name="T57" fmla="*/ 0 h 332"/>
                <a:gd name="T58" fmla="*/ 0 w 150"/>
                <a:gd name="T59" fmla="*/ 0 h 332"/>
                <a:gd name="T60" fmla="*/ 0 w 150"/>
                <a:gd name="T61" fmla="*/ 0 h 332"/>
                <a:gd name="T62" fmla="*/ 0 w 150"/>
                <a:gd name="T63" fmla="*/ 0 h 332"/>
                <a:gd name="T64" fmla="*/ 0 w 150"/>
                <a:gd name="T65" fmla="*/ 0 h 332"/>
                <a:gd name="T66" fmla="*/ 0 w 150"/>
                <a:gd name="T67" fmla="*/ 0 h 332"/>
                <a:gd name="T68" fmla="*/ 0 w 150"/>
                <a:gd name="T69" fmla="*/ 0 h 332"/>
                <a:gd name="T70" fmla="*/ 0 w 150"/>
                <a:gd name="T71" fmla="*/ 0 h 332"/>
                <a:gd name="T72" fmla="*/ 0 w 150"/>
                <a:gd name="T73" fmla="*/ 0 h 332"/>
                <a:gd name="T74" fmla="*/ 0 w 150"/>
                <a:gd name="T75" fmla="*/ 0 h 332"/>
                <a:gd name="T76" fmla="*/ 0 w 150"/>
                <a:gd name="T77" fmla="*/ 0 h 332"/>
                <a:gd name="T78" fmla="*/ 0 w 150"/>
                <a:gd name="T79" fmla="*/ 0 h 332"/>
                <a:gd name="T80" fmla="*/ 0 w 150"/>
                <a:gd name="T81" fmla="*/ 0 h 332"/>
                <a:gd name="T82" fmla="*/ 0 w 150"/>
                <a:gd name="T83" fmla="*/ 0 h 332"/>
                <a:gd name="T84" fmla="*/ 0 w 150"/>
                <a:gd name="T85" fmla="*/ 0 h 332"/>
                <a:gd name="T86" fmla="*/ 0 w 150"/>
                <a:gd name="T87" fmla="*/ 0 h 33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50"/>
                <a:gd name="T133" fmla="*/ 0 h 332"/>
                <a:gd name="T134" fmla="*/ 150 w 150"/>
                <a:gd name="T135" fmla="*/ 332 h 33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50" h="332">
                  <a:moveTo>
                    <a:pt x="94" y="247"/>
                  </a:moveTo>
                  <a:cubicBezTo>
                    <a:pt x="97" y="228"/>
                    <a:pt x="97" y="228"/>
                    <a:pt x="97" y="228"/>
                  </a:cubicBezTo>
                  <a:cubicBezTo>
                    <a:pt x="94" y="206"/>
                    <a:pt x="94" y="206"/>
                    <a:pt x="94" y="206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6" y="183"/>
                    <a:pt x="104" y="187"/>
                    <a:pt x="112" y="177"/>
                  </a:cubicBezTo>
                  <a:cubicBezTo>
                    <a:pt x="120" y="167"/>
                    <a:pt x="115" y="155"/>
                    <a:pt x="118" y="148"/>
                  </a:cubicBezTo>
                  <a:cubicBezTo>
                    <a:pt x="121" y="141"/>
                    <a:pt x="133" y="132"/>
                    <a:pt x="133" y="132"/>
                  </a:cubicBezTo>
                  <a:cubicBezTo>
                    <a:pt x="135" y="105"/>
                    <a:pt x="135" y="105"/>
                    <a:pt x="135" y="105"/>
                  </a:cubicBezTo>
                  <a:cubicBezTo>
                    <a:pt x="135" y="105"/>
                    <a:pt x="146" y="102"/>
                    <a:pt x="148" y="95"/>
                  </a:cubicBezTo>
                  <a:cubicBezTo>
                    <a:pt x="150" y="88"/>
                    <a:pt x="144" y="85"/>
                    <a:pt x="144" y="85"/>
                  </a:cubicBezTo>
                  <a:cubicBezTo>
                    <a:pt x="144" y="85"/>
                    <a:pt x="145" y="82"/>
                    <a:pt x="145" y="76"/>
                  </a:cubicBezTo>
                  <a:cubicBezTo>
                    <a:pt x="145" y="70"/>
                    <a:pt x="130" y="58"/>
                    <a:pt x="131" y="51"/>
                  </a:cubicBezTo>
                  <a:cubicBezTo>
                    <a:pt x="132" y="44"/>
                    <a:pt x="139" y="31"/>
                    <a:pt x="139" y="31"/>
                  </a:cubicBezTo>
                  <a:cubicBezTo>
                    <a:pt x="139" y="31"/>
                    <a:pt x="123" y="25"/>
                    <a:pt x="118" y="22"/>
                  </a:cubicBezTo>
                  <a:cubicBezTo>
                    <a:pt x="113" y="19"/>
                    <a:pt x="96" y="0"/>
                    <a:pt x="96" y="0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67" y="40"/>
                    <a:pt x="63" y="43"/>
                  </a:cubicBezTo>
                  <a:cubicBezTo>
                    <a:pt x="59" y="46"/>
                    <a:pt x="58" y="53"/>
                    <a:pt x="58" y="53"/>
                  </a:cubicBezTo>
                  <a:cubicBezTo>
                    <a:pt x="58" y="53"/>
                    <a:pt x="32" y="52"/>
                    <a:pt x="32" y="51"/>
                  </a:cubicBezTo>
                  <a:cubicBezTo>
                    <a:pt x="21" y="56"/>
                    <a:pt x="19" y="70"/>
                    <a:pt x="19" y="70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26" y="123"/>
                    <a:pt x="28" y="131"/>
                  </a:cubicBezTo>
                  <a:cubicBezTo>
                    <a:pt x="30" y="139"/>
                    <a:pt x="28" y="162"/>
                    <a:pt x="28" y="162"/>
                  </a:cubicBezTo>
                  <a:cubicBezTo>
                    <a:pt x="28" y="162"/>
                    <a:pt x="41" y="171"/>
                    <a:pt x="40" y="179"/>
                  </a:cubicBezTo>
                  <a:cubicBezTo>
                    <a:pt x="39" y="187"/>
                    <a:pt x="44" y="206"/>
                    <a:pt x="44" y="206"/>
                  </a:cubicBezTo>
                  <a:cubicBezTo>
                    <a:pt x="39" y="214"/>
                    <a:pt x="39" y="214"/>
                    <a:pt x="39" y="214"/>
                  </a:cubicBezTo>
                  <a:cubicBezTo>
                    <a:pt x="38" y="253"/>
                    <a:pt x="38" y="253"/>
                    <a:pt x="38" y="253"/>
                  </a:cubicBezTo>
                  <a:cubicBezTo>
                    <a:pt x="44" y="259"/>
                    <a:pt x="44" y="259"/>
                    <a:pt x="44" y="259"/>
                  </a:cubicBezTo>
                  <a:cubicBezTo>
                    <a:pt x="39" y="266"/>
                    <a:pt x="39" y="266"/>
                    <a:pt x="39" y="266"/>
                  </a:cubicBezTo>
                  <a:cubicBezTo>
                    <a:pt x="41" y="310"/>
                    <a:pt x="41" y="310"/>
                    <a:pt x="41" y="310"/>
                  </a:cubicBezTo>
                  <a:cubicBezTo>
                    <a:pt x="41" y="310"/>
                    <a:pt x="50" y="319"/>
                    <a:pt x="50" y="329"/>
                  </a:cubicBezTo>
                  <a:cubicBezTo>
                    <a:pt x="50" y="329"/>
                    <a:pt x="50" y="329"/>
                    <a:pt x="50" y="329"/>
                  </a:cubicBezTo>
                  <a:cubicBezTo>
                    <a:pt x="61" y="330"/>
                    <a:pt x="73" y="332"/>
                    <a:pt x="73" y="332"/>
                  </a:cubicBezTo>
                  <a:cubicBezTo>
                    <a:pt x="81" y="318"/>
                    <a:pt x="81" y="318"/>
                    <a:pt x="81" y="318"/>
                  </a:cubicBezTo>
                  <a:cubicBezTo>
                    <a:pt x="81" y="318"/>
                    <a:pt x="85" y="320"/>
                    <a:pt x="91" y="323"/>
                  </a:cubicBezTo>
                  <a:cubicBezTo>
                    <a:pt x="95" y="306"/>
                    <a:pt x="95" y="306"/>
                    <a:pt x="95" y="306"/>
                  </a:cubicBezTo>
                  <a:lnTo>
                    <a:pt x="94" y="247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4999" name="Freeform 115"/>
            <p:cNvSpPr>
              <a:spLocks/>
            </p:cNvSpPr>
            <p:nvPr/>
          </p:nvSpPr>
          <p:spPr bwMode="auto">
            <a:xfrm>
              <a:off x="2721" y="2471"/>
              <a:ext cx="215" cy="194"/>
            </a:xfrm>
            <a:custGeom>
              <a:avLst/>
              <a:gdLst>
                <a:gd name="T0" fmla="*/ 0 w 567"/>
                <a:gd name="T1" fmla="*/ 0 h 511"/>
                <a:gd name="T2" fmla="*/ 0 w 567"/>
                <a:gd name="T3" fmla="*/ 0 h 511"/>
                <a:gd name="T4" fmla="*/ 0 w 567"/>
                <a:gd name="T5" fmla="*/ 0 h 511"/>
                <a:gd name="T6" fmla="*/ 0 w 567"/>
                <a:gd name="T7" fmla="*/ 0 h 511"/>
                <a:gd name="T8" fmla="*/ 0 w 567"/>
                <a:gd name="T9" fmla="*/ 0 h 511"/>
                <a:gd name="T10" fmla="*/ 0 w 567"/>
                <a:gd name="T11" fmla="*/ 0 h 511"/>
                <a:gd name="T12" fmla="*/ 0 w 567"/>
                <a:gd name="T13" fmla="*/ 0 h 511"/>
                <a:gd name="T14" fmla="*/ 0 w 567"/>
                <a:gd name="T15" fmla="*/ 0 h 511"/>
                <a:gd name="T16" fmla="*/ 0 w 567"/>
                <a:gd name="T17" fmla="*/ 0 h 511"/>
                <a:gd name="T18" fmla="*/ 0 w 567"/>
                <a:gd name="T19" fmla="*/ 0 h 511"/>
                <a:gd name="T20" fmla="*/ 0 w 567"/>
                <a:gd name="T21" fmla="*/ 0 h 511"/>
                <a:gd name="T22" fmla="*/ 0 w 567"/>
                <a:gd name="T23" fmla="*/ 0 h 511"/>
                <a:gd name="T24" fmla="*/ 0 w 567"/>
                <a:gd name="T25" fmla="*/ 0 h 511"/>
                <a:gd name="T26" fmla="*/ 0 w 567"/>
                <a:gd name="T27" fmla="*/ 0 h 511"/>
                <a:gd name="T28" fmla="*/ 0 w 567"/>
                <a:gd name="T29" fmla="*/ 0 h 511"/>
                <a:gd name="T30" fmla="*/ 0 w 567"/>
                <a:gd name="T31" fmla="*/ 0 h 511"/>
                <a:gd name="T32" fmla="*/ 0 w 567"/>
                <a:gd name="T33" fmla="*/ 0 h 511"/>
                <a:gd name="T34" fmla="*/ 0 w 567"/>
                <a:gd name="T35" fmla="*/ 0 h 511"/>
                <a:gd name="T36" fmla="*/ 0 w 567"/>
                <a:gd name="T37" fmla="*/ 0 h 511"/>
                <a:gd name="T38" fmla="*/ 0 w 567"/>
                <a:gd name="T39" fmla="*/ 0 h 511"/>
                <a:gd name="T40" fmla="*/ 0 w 567"/>
                <a:gd name="T41" fmla="*/ 0 h 511"/>
                <a:gd name="T42" fmla="*/ 0 w 567"/>
                <a:gd name="T43" fmla="*/ 0 h 511"/>
                <a:gd name="T44" fmla="*/ 0 w 567"/>
                <a:gd name="T45" fmla="*/ 0 h 511"/>
                <a:gd name="T46" fmla="*/ 0 w 567"/>
                <a:gd name="T47" fmla="*/ 0 h 511"/>
                <a:gd name="T48" fmla="*/ 0 w 567"/>
                <a:gd name="T49" fmla="*/ 0 h 511"/>
                <a:gd name="T50" fmla="*/ 0 w 567"/>
                <a:gd name="T51" fmla="*/ 0 h 511"/>
                <a:gd name="T52" fmla="*/ 0 w 567"/>
                <a:gd name="T53" fmla="*/ 0 h 511"/>
                <a:gd name="T54" fmla="*/ 0 w 567"/>
                <a:gd name="T55" fmla="*/ 0 h 511"/>
                <a:gd name="T56" fmla="*/ 0 w 567"/>
                <a:gd name="T57" fmla="*/ 0 h 511"/>
                <a:gd name="T58" fmla="*/ 0 w 567"/>
                <a:gd name="T59" fmla="*/ 0 h 511"/>
                <a:gd name="T60" fmla="*/ 0 w 567"/>
                <a:gd name="T61" fmla="*/ 0 h 511"/>
                <a:gd name="T62" fmla="*/ 0 w 567"/>
                <a:gd name="T63" fmla="*/ 0 h 511"/>
                <a:gd name="T64" fmla="*/ 0 w 567"/>
                <a:gd name="T65" fmla="*/ 0 h 511"/>
                <a:gd name="T66" fmla="*/ 0 w 567"/>
                <a:gd name="T67" fmla="*/ 0 h 511"/>
                <a:gd name="T68" fmla="*/ 0 w 567"/>
                <a:gd name="T69" fmla="*/ 0 h 511"/>
                <a:gd name="T70" fmla="*/ 0 w 567"/>
                <a:gd name="T71" fmla="*/ 0 h 511"/>
                <a:gd name="T72" fmla="*/ 0 w 567"/>
                <a:gd name="T73" fmla="*/ 0 h 511"/>
                <a:gd name="T74" fmla="*/ 0 w 567"/>
                <a:gd name="T75" fmla="*/ 0 h 511"/>
                <a:gd name="T76" fmla="*/ 0 w 567"/>
                <a:gd name="T77" fmla="*/ 0 h 511"/>
                <a:gd name="T78" fmla="*/ 0 w 567"/>
                <a:gd name="T79" fmla="*/ 0 h 51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67"/>
                <a:gd name="T121" fmla="*/ 0 h 511"/>
                <a:gd name="T122" fmla="*/ 567 w 567"/>
                <a:gd name="T123" fmla="*/ 511 h 51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67" h="511">
                  <a:moveTo>
                    <a:pt x="281" y="490"/>
                  </a:moveTo>
                  <a:cubicBezTo>
                    <a:pt x="281" y="490"/>
                    <a:pt x="288" y="475"/>
                    <a:pt x="290" y="469"/>
                  </a:cubicBezTo>
                  <a:cubicBezTo>
                    <a:pt x="292" y="463"/>
                    <a:pt x="290" y="431"/>
                    <a:pt x="290" y="431"/>
                  </a:cubicBezTo>
                  <a:cubicBezTo>
                    <a:pt x="333" y="394"/>
                    <a:pt x="333" y="394"/>
                    <a:pt x="333" y="394"/>
                  </a:cubicBezTo>
                  <a:cubicBezTo>
                    <a:pt x="333" y="394"/>
                    <a:pt x="343" y="374"/>
                    <a:pt x="349" y="369"/>
                  </a:cubicBezTo>
                  <a:cubicBezTo>
                    <a:pt x="355" y="364"/>
                    <a:pt x="363" y="377"/>
                    <a:pt x="372" y="375"/>
                  </a:cubicBezTo>
                  <a:cubicBezTo>
                    <a:pt x="381" y="373"/>
                    <a:pt x="368" y="359"/>
                    <a:pt x="375" y="359"/>
                  </a:cubicBezTo>
                  <a:cubicBezTo>
                    <a:pt x="382" y="359"/>
                    <a:pt x="396" y="383"/>
                    <a:pt x="396" y="383"/>
                  </a:cubicBezTo>
                  <a:cubicBezTo>
                    <a:pt x="396" y="383"/>
                    <a:pt x="393" y="399"/>
                    <a:pt x="405" y="399"/>
                  </a:cubicBezTo>
                  <a:cubicBezTo>
                    <a:pt x="417" y="399"/>
                    <a:pt x="417" y="378"/>
                    <a:pt x="417" y="378"/>
                  </a:cubicBezTo>
                  <a:cubicBezTo>
                    <a:pt x="417" y="378"/>
                    <a:pt x="428" y="369"/>
                    <a:pt x="433" y="363"/>
                  </a:cubicBezTo>
                  <a:cubicBezTo>
                    <a:pt x="438" y="357"/>
                    <a:pt x="434" y="343"/>
                    <a:pt x="434" y="343"/>
                  </a:cubicBezTo>
                  <a:cubicBezTo>
                    <a:pt x="450" y="323"/>
                    <a:pt x="450" y="323"/>
                    <a:pt x="450" y="323"/>
                  </a:cubicBezTo>
                  <a:cubicBezTo>
                    <a:pt x="458" y="291"/>
                    <a:pt x="458" y="291"/>
                    <a:pt x="458" y="291"/>
                  </a:cubicBezTo>
                  <a:cubicBezTo>
                    <a:pt x="458" y="291"/>
                    <a:pt x="477" y="284"/>
                    <a:pt x="482" y="274"/>
                  </a:cubicBezTo>
                  <a:cubicBezTo>
                    <a:pt x="487" y="264"/>
                    <a:pt x="482" y="246"/>
                    <a:pt x="484" y="239"/>
                  </a:cubicBezTo>
                  <a:cubicBezTo>
                    <a:pt x="486" y="232"/>
                    <a:pt x="496" y="239"/>
                    <a:pt x="501" y="230"/>
                  </a:cubicBezTo>
                  <a:cubicBezTo>
                    <a:pt x="506" y="221"/>
                    <a:pt x="504" y="200"/>
                    <a:pt x="504" y="200"/>
                  </a:cubicBezTo>
                  <a:cubicBezTo>
                    <a:pt x="511" y="196"/>
                    <a:pt x="511" y="196"/>
                    <a:pt x="511" y="196"/>
                  </a:cubicBezTo>
                  <a:cubicBezTo>
                    <a:pt x="513" y="177"/>
                    <a:pt x="513" y="177"/>
                    <a:pt x="513" y="177"/>
                  </a:cubicBezTo>
                  <a:cubicBezTo>
                    <a:pt x="513" y="177"/>
                    <a:pt x="523" y="164"/>
                    <a:pt x="524" y="161"/>
                  </a:cubicBezTo>
                  <a:cubicBezTo>
                    <a:pt x="525" y="158"/>
                    <a:pt x="533" y="141"/>
                    <a:pt x="533" y="141"/>
                  </a:cubicBezTo>
                  <a:cubicBezTo>
                    <a:pt x="533" y="141"/>
                    <a:pt x="547" y="138"/>
                    <a:pt x="557" y="129"/>
                  </a:cubicBezTo>
                  <a:cubicBezTo>
                    <a:pt x="567" y="120"/>
                    <a:pt x="559" y="111"/>
                    <a:pt x="559" y="111"/>
                  </a:cubicBezTo>
                  <a:cubicBezTo>
                    <a:pt x="559" y="111"/>
                    <a:pt x="563" y="98"/>
                    <a:pt x="562" y="87"/>
                  </a:cubicBezTo>
                  <a:cubicBezTo>
                    <a:pt x="561" y="76"/>
                    <a:pt x="542" y="87"/>
                    <a:pt x="540" y="84"/>
                  </a:cubicBezTo>
                  <a:cubicBezTo>
                    <a:pt x="538" y="81"/>
                    <a:pt x="536" y="40"/>
                    <a:pt x="536" y="40"/>
                  </a:cubicBezTo>
                  <a:cubicBezTo>
                    <a:pt x="517" y="8"/>
                    <a:pt x="517" y="8"/>
                    <a:pt x="517" y="8"/>
                  </a:cubicBezTo>
                  <a:cubicBezTo>
                    <a:pt x="517" y="8"/>
                    <a:pt x="511" y="8"/>
                    <a:pt x="507" y="8"/>
                  </a:cubicBezTo>
                  <a:cubicBezTo>
                    <a:pt x="503" y="8"/>
                    <a:pt x="499" y="22"/>
                    <a:pt x="499" y="22"/>
                  </a:cubicBezTo>
                  <a:cubicBezTo>
                    <a:pt x="499" y="22"/>
                    <a:pt x="490" y="19"/>
                    <a:pt x="483" y="23"/>
                  </a:cubicBezTo>
                  <a:cubicBezTo>
                    <a:pt x="476" y="27"/>
                    <a:pt x="458" y="40"/>
                    <a:pt x="458" y="40"/>
                  </a:cubicBezTo>
                  <a:cubicBezTo>
                    <a:pt x="440" y="39"/>
                    <a:pt x="440" y="39"/>
                    <a:pt x="440" y="39"/>
                  </a:cubicBezTo>
                  <a:cubicBezTo>
                    <a:pt x="440" y="39"/>
                    <a:pt x="424" y="25"/>
                    <a:pt x="382" y="25"/>
                  </a:cubicBezTo>
                  <a:cubicBezTo>
                    <a:pt x="340" y="25"/>
                    <a:pt x="328" y="60"/>
                    <a:pt x="328" y="60"/>
                  </a:cubicBezTo>
                  <a:cubicBezTo>
                    <a:pt x="328" y="60"/>
                    <a:pt x="312" y="56"/>
                    <a:pt x="293" y="55"/>
                  </a:cubicBezTo>
                  <a:cubicBezTo>
                    <a:pt x="274" y="54"/>
                    <a:pt x="262" y="26"/>
                    <a:pt x="250" y="26"/>
                  </a:cubicBezTo>
                  <a:cubicBezTo>
                    <a:pt x="238" y="26"/>
                    <a:pt x="214" y="46"/>
                    <a:pt x="205" y="47"/>
                  </a:cubicBezTo>
                  <a:cubicBezTo>
                    <a:pt x="196" y="48"/>
                    <a:pt x="191" y="26"/>
                    <a:pt x="191" y="26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4" y="12"/>
                    <a:pt x="162" y="12"/>
                    <a:pt x="155" y="11"/>
                  </a:cubicBezTo>
                  <a:cubicBezTo>
                    <a:pt x="148" y="10"/>
                    <a:pt x="149" y="0"/>
                    <a:pt x="135" y="1"/>
                  </a:cubicBezTo>
                  <a:cubicBezTo>
                    <a:pt x="121" y="2"/>
                    <a:pt x="122" y="8"/>
                    <a:pt x="122" y="8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35"/>
                    <a:pt x="68" y="50"/>
                  </a:cubicBezTo>
                  <a:cubicBezTo>
                    <a:pt x="67" y="65"/>
                    <a:pt x="45" y="76"/>
                    <a:pt x="45" y="76"/>
                  </a:cubicBezTo>
                  <a:cubicBezTo>
                    <a:pt x="48" y="110"/>
                    <a:pt x="48" y="110"/>
                    <a:pt x="48" y="110"/>
                  </a:cubicBezTo>
                  <a:cubicBezTo>
                    <a:pt x="48" y="110"/>
                    <a:pt x="41" y="123"/>
                    <a:pt x="40" y="130"/>
                  </a:cubicBezTo>
                  <a:cubicBezTo>
                    <a:pt x="39" y="137"/>
                    <a:pt x="54" y="149"/>
                    <a:pt x="54" y="155"/>
                  </a:cubicBezTo>
                  <a:cubicBezTo>
                    <a:pt x="54" y="161"/>
                    <a:pt x="53" y="164"/>
                    <a:pt x="53" y="164"/>
                  </a:cubicBezTo>
                  <a:cubicBezTo>
                    <a:pt x="53" y="164"/>
                    <a:pt x="59" y="167"/>
                    <a:pt x="57" y="174"/>
                  </a:cubicBezTo>
                  <a:cubicBezTo>
                    <a:pt x="55" y="181"/>
                    <a:pt x="44" y="184"/>
                    <a:pt x="44" y="184"/>
                  </a:cubicBezTo>
                  <a:cubicBezTo>
                    <a:pt x="42" y="211"/>
                    <a:pt x="42" y="211"/>
                    <a:pt x="42" y="211"/>
                  </a:cubicBezTo>
                  <a:cubicBezTo>
                    <a:pt x="42" y="211"/>
                    <a:pt x="30" y="220"/>
                    <a:pt x="27" y="227"/>
                  </a:cubicBezTo>
                  <a:cubicBezTo>
                    <a:pt x="24" y="234"/>
                    <a:pt x="29" y="246"/>
                    <a:pt x="21" y="256"/>
                  </a:cubicBezTo>
                  <a:cubicBezTo>
                    <a:pt x="13" y="266"/>
                    <a:pt x="5" y="262"/>
                    <a:pt x="5" y="262"/>
                  </a:cubicBezTo>
                  <a:cubicBezTo>
                    <a:pt x="3" y="285"/>
                    <a:pt x="3" y="285"/>
                    <a:pt x="3" y="285"/>
                  </a:cubicBezTo>
                  <a:cubicBezTo>
                    <a:pt x="6" y="307"/>
                    <a:pt x="6" y="307"/>
                    <a:pt x="6" y="307"/>
                  </a:cubicBezTo>
                  <a:cubicBezTo>
                    <a:pt x="3" y="326"/>
                    <a:pt x="3" y="326"/>
                    <a:pt x="3" y="326"/>
                  </a:cubicBezTo>
                  <a:cubicBezTo>
                    <a:pt x="4" y="385"/>
                    <a:pt x="4" y="385"/>
                    <a:pt x="4" y="385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7" y="405"/>
                    <a:pt x="17" y="408"/>
                    <a:pt x="23" y="406"/>
                  </a:cubicBezTo>
                  <a:cubicBezTo>
                    <a:pt x="34" y="402"/>
                    <a:pt x="44" y="394"/>
                    <a:pt x="44" y="394"/>
                  </a:cubicBezTo>
                  <a:cubicBezTo>
                    <a:pt x="47" y="401"/>
                    <a:pt x="47" y="401"/>
                    <a:pt x="47" y="401"/>
                  </a:cubicBezTo>
                  <a:cubicBezTo>
                    <a:pt x="47" y="401"/>
                    <a:pt x="80" y="394"/>
                    <a:pt x="96" y="413"/>
                  </a:cubicBezTo>
                  <a:cubicBezTo>
                    <a:pt x="112" y="432"/>
                    <a:pt x="113" y="441"/>
                    <a:pt x="113" y="441"/>
                  </a:cubicBezTo>
                  <a:cubicBezTo>
                    <a:pt x="127" y="440"/>
                    <a:pt x="127" y="440"/>
                    <a:pt x="127" y="440"/>
                  </a:cubicBezTo>
                  <a:cubicBezTo>
                    <a:pt x="127" y="440"/>
                    <a:pt x="117" y="455"/>
                    <a:pt x="120" y="456"/>
                  </a:cubicBezTo>
                  <a:cubicBezTo>
                    <a:pt x="123" y="457"/>
                    <a:pt x="133" y="450"/>
                    <a:pt x="133" y="453"/>
                  </a:cubicBezTo>
                  <a:cubicBezTo>
                    <a:pt x="133" y="456"/>
                    <a:pt x="128" y="464"/>
                    <a:pt x="128" y="472"/>
                  </a:cubicBezTo>
                  <a:cubicBezTo>
                    <a:pt x="128" y="480"/>
                    <a:pt x="136" y="509"/>
                    <a:pt x="157" y="510"/>
                  </a:cubicBezTo>
                  <a:cubicBezTo>
                    <a:pt x="178" y="511"/>
                    <a:pt x="191" y="509"/>
                    <a:pt x="191" y="509"/>
                  </a:cubicBezTo>
                  <a:cubicBezTo>
                    <a:pt x="194" y="491"/>
                    <a:pt x="194" y="491"/>
                    <a:pt x="194" y="491"/>
                  </a:cubicBezTo>
                  <a:cubicBezTo>
                    <a:pt x="212" y="501"/>
                    <a:pt x="212" y="501"/>
                    <a:pt x="212" y="501"/>
                  </a:cubicBezTo>
                  <a:cubicBezTo>
                    <a:pt x="228" y="496"/>
                    <a:pt x="228" y="496"/>
                    <a:pt x="228" y="496"/>
                  </a:cubicBezTo>
                  <a:cubicBezTo>
                    <a:pt x="237" y="505"/>
                    <a:pt x="237" y="505"/>
                    <a:pt x="237" y="505"/>
                  </a:cubicBezTo>
                  <a:cubicBezTo>
                    <a:pt x="265" y="504"/>
                    <a:pt x="265" y="504"/>
                    <a:pt x="265" y="504"/>
                  </a:cubicBezTo>
                  <a:cubicBezTo>
                    <a:pt x="265" y="488"/>
                    <a:pt x="265" y="488"/>
                    <a:pt x="265" y="488"/>
                  </a:cubicBezTo>
                  <a:cubicBezTo>
                    <a:pt x="282" y="487"/>
                    <a:pt x="282" y="487"/>
                    <a:pt x="282" y="487"/>
                  </a:cubicBezTo>
                  <a:cubicBezTo>
                    <a:pt x="281" y="490"/>
                    <a:pt x="281" y="490"/>
                    <a:pt x="281" y="490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00" name="Freeform 116"/>
            <p:cNvSpPr>
              <a:spLocks/>
            </p:cNvSpPr>
            <p:nvPr/>
          </p:nvSpPr>
          <p:spPr bwMode="auto">
            <a:xfrm>
              <a:off x="2913" y="2274"/>
              <a:ext cx="189" cy="329"/>
            </a:xfrm>
            <a:custGeom>
              <a:avLst/>
              <a:gdLst>
                <a:gd name="T0" fmla="*/ 0 w 496"/>
                <a:gd name="T1" fmla="*/ 0 h 866"/>
                <a:gd name="T2" fmla="*/ 0 w 496"/>
                <a:gd name="T3" fmla="*/ 0 h 866"/>
                <a:gd name="T4" fmla="*/ 0 w 496"/>
                <a:gd name="T5" fmla="*/ 0 h 866"/>
                <a:gd name="T6" fmla="*/ 0 w 496"/>
                <a:gd name="T7" fmla="*/ 0 h 866"/>
                <a:gd name="T8" fmla="*/ 0 w 496"/>
                <a:gd name="T9" fmla="*/ 0 h 866"/>
                <a:gd name="T10" fmla="*/ 0 w 496"/>
                <a:gd name="T11" fmla="*/ 0 h 866"/>
                <a:gd name="T12" fmla="*/ 0 w 496"/>
                <a:gd name="T13" fmla="*/ 0 h 866"/>
                <a:gd name="T14" fmla="*/ 0 w 496"/>
                <a:gd name="T15" fmla="*/ 0 h 866"/>
                <a:gd name="T16" fmla="*/ 0 w 496"/>
                <a:gd name="T17" fmla="*/ 0 h 866"/>
                <a:gd name="T18" fmla="*/ 0 w 496"/>
                <a:gd name="T19" fmla="*/ 0 h 866"/>
                <a:gd name="T20" fmla="*/ 0 w 496"/>
                <a:gd name="T21" fmla="*/ 0 h 866"/>
                <a:gd name="T22" fmla="*/ 0 w 496"/>
                <a:gd name="T23" fmla="*/ 0 h 866"/>
                <a:gd name="T24" fmla="*/ 0 w 496"/>
                <a:gd name="T25" fmla="*/ 0 h 866"/>
                <a:gd name="T26" fmla="*/ 0 w 496"/>
                <a:gd name="T27" fmla="*/ 0 h 866"/>
                <a:gd name="T28" fmla="*/ 0 w 496"/>
                <a:gd name="T29" fmla="*/ 0 h 866"/>
                <a:gd name="T30" fmla="*/ 0 w 496"/>
                <a:gd name="T31" fmla="*/ 0 h 866"/>
                <a:gd name="T32" fmla="*/ 0 w 496"/>
                <a:gd name="T33" fmla="*/ 0 h 866"/>
                <a:gd name="T34" fmla="*/ 0 w 496"/>
                <a:gd name="T35" fmla="*/ 0 h 866"/>
                <a:gd name="T36" fmla="*/ 0 w 496"/>
                <a:gd name="T37" fmla="*/ 0 h 866"/>
                <a:gd name="T38" fmla="*/ 0 w 496"/>
                <a:gd name="T39" fmla="*/ 0 h 866"/>
                <a:gd name="T40" fmla="*/ 0 w 496"/>
                <a:gd name="T41" fmla="*/ 0 h 866"/>
                <a:gd name="T42" fmla="*/ 0 w 496"/>
                <a:gd name="T43" fmla="*/ 0 h 866"/>
                <a:gd name="T44" fmla="*/ 0 w 496"/>
                <a:gd name="T45" fmla="*/ 0 h 866"/>
                <a:gd name="T46" fmla="*/ 0 w 496"/>
                <a:gd name="T47" fmla="*/ 0 h 866"/>
                <a:gd name="T48" fmla="*/ 0 w 496"/>
                <a:gd name="T49" fmla="*/ 0 h 866"/>
                <a:gd name="T50" fmla="*/ 0 w 496"/>
                <a:gd name="T51" fmla="*/ 0 h 866"/>
                <a:gd name="T52" fmla="*/ 0 w 496"/>
                <a:gd name="T53" fmla="*/ 0 h 866"/>
                <a:gd name="T54" fmla="*/ 0 w 496"/>
                <a:gd name="T55" fmla="*/ 0 h 866"/>
                <a:gd name="T56" fmla="*/ 0 w 496"/>
                <a:gd name="T57" fmla="*/ 0 h 866"/>
                <a:gd name="T58" fmla="*/ 0 w 496"/>
                <a:gd name="T59" fmla="*/ 0 h 866"/>
                <a:gd name="T60" fmla="*/ 0 w 496"/>
                <a:gd name="T61" fmla="*/ 0 h 866"/>
                <a:gd name="T62" fmla="*/ 0 w 496"/>
                <a:gd name="T63" fmla="*/ 0 h 866"/>
                <a:gd name="T64" fmla="*/ 0 w 496"/>
                <a:gd name="T65" fmla="*/ 0 h 86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96"/>
                <a:gd name="T100" fmla="*/ 0 h 866"/>
                <a:gd name="T101" fmla="*/ 496 w 496"/>
                <a:gd name="T102" fmla="*/ 866 h 86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96" h="866">
                  <a:moveTo>
                    <a:pt x="451" y="419"/>
                  </a:moveTo>
                  <a:cubicBezTo>
                    <a:pt x="464" y="415"/>
                    <a:pt x="496" y="420"/>
                    <a:pt x="496" y="420"/>
                  </a:cubicBezTo>
                  <a:cubicBezTo>
                    <a:pt x="492" y="216"/>
                    <a:pt x="492" y="216"/>
                    <a:pt x="492" y="216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94" y="15"/>
                    <a:pt x="71" y="28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95" y="129"/>
                    <a:pt x="95" y="129"/>
                    <a:pt x="95" y="129"/>
                  </a:cubicBezTo>
                  <a:cubicBezTo>
                    <a:pt x="100" y="145"/>
                    <a:pt x="100" y="145"/>
                    <a:pt x="100" y="145"/>
                  </a:cubicBezTo>
                  <a:cubicBezTo>
                    <a:pt x="120" y="169"/>
                    <a:pt x="120" y="169"/>
                    <a:pt x="120" y="169"/>
                  </a:cubicBezTo>
                  <a:cubicBezTo>
                    <a:pt x="106" y="194"/>
                    <a:pt x="106" y="194"/>
                    <a:pt x="106" y="194"/>
                  </a:cubicBezTo>
                  <a:cubicBezTo>
                    <a:pt x="96" y="356"/>
                    <a:pt x="96" y="356"/>
                    <a:pt x="96" y="356"/>
                  </a:cubicBezTo>
                  <a:cubicBezTo>
                    <a:pt x="96" y="356"/>
                    <a:pt x="46" y="409"/>
                    <a:pt x="35" y="426"/>
                  </a:cubicBezTo>
                  <a:cubicBezTo>
                    <a:pt x="23" y="442"/>
                    <a:pt x="13" y="479"/>
                    <a:pt x="13" y="479"/>
                  </a:cubicBezTo>
                  <a:cubicBezTo>
                    <a:pt x="0" y="484"/>
                    <a:pt x="0" y="484"/>
                    <a:pt x="0" y="484"/>
                  </a:cubicBezTo>
                  <a:cubicBezTo>
                    <a:pt x="3" y="526"/>
                    <a:pt x="3" y="526"/>
                    <a:pt x="3" y="526"/>
                  </a:cubicBezTo>
                  <a:cubicBezTo>
                    <a:pt x="7" y="526"/>
                    <a:pt x="10" y="526"/>
                    <a:pt x="10" y="526"/>
                  </a:cubicBezTo>
                  <a:cubicBezTo>
                    <a:pt x="29" y="558"/>
                    <a:pt x="29" y="558"/>
                    <a:pt x="29" y="558"/>
                  </a:cubicBezTo>
                  <a:cubicBezTo>
                    <a:pt x="29" y="558"/>
                    <a:pt x="29" y="560"/>
                    <a:pt x="29" y="563"/>
                  </a:cubicBezTo>
                  <a:cubicBezTo>
                    <a:pt x="29" y="562"/>
                    <a:pt x="29" y="561"/>
                    <a:pt x="29" y="561"/>
                  </a:cubicBezTo>
                  <a:cubicBezTo>
                    <a:pt x="45" y="559"/>
                    <a:pt x="45" y="559"/>
                    <a:pt x="45" y="559"/>
                  </a:cubicBezTo>
                  <a:cubicBezTo>
                    <a:pt x="45" y="559"/>
                    <a:pt x="46" y="571"/>
                    <a:pt x="50" y="576"/>
                  </a:cubicBezTo>
                  <a:cubicBezTo>
                    <a:pt x="54" y="581"/>
                    <a:pt x="70" y="584"/>
                    <a:pt x="70" y="584"/>
                  </a:cubicBezTo>
                  <a:cubicBezTo>
                    <a:pt x="66" y="611"/>
                    <a:pt x="66" y="611"/>
                    <a:pt x="66" y="611"/>
                  </a:cubicBezTo>
                  <a:cubicBezTo>
                    <a:pt x="66" y="611"/>
                    <a:pt x="80" y="618"/>
                    <a:pt x="80" y="629"/>
                  </a:cubicBezTo>
                  <a:cubicBezTo>
                    <a:pt x="80" y="640"/>
                    <a:pt x="74" y="650"/>
                    <a:pt x="74" y="650"/>
                  </a:cubicBezTo>
                  <a:cubicBezTo>
                    <a:pt x="74" y="650"/>
                    <a:pt x="75" y="678"/>
                    <a:pt x="80" y="692"/>
                  </a:cubicBezTo>
                  <a:cubicBezTo>
                    <a:pt x="85" y="706"/>
                    <a:pt x="106" y="724"/>
                    <a:pt x="106" y="724"/>
                  </a:cubicBezTo>
                  <a:cubicBezTo>
                    <a:pt x="106" y="724"/>
                    <a:pt x="92" y="725"/>
                    <a:pt x="84" y="726"/>
                  </a:cubicBezTo>
                  <a:cubicBezTo>
                    <a:pt x="76" y="727"/>
                    <a:pt x="36" y="720"/>
                    <a:pt x="31" y="733"/>
                  </a:cubicBezTo>
                  <a:cubicBezTo>
                    <a:pt x="26" y="746"/>
                    <a:pt x="41" y="767"/>
                    <a:pt x="49" y="775"/>
                  </a:cubicBezTo>
                  <a:cubicBezTo>
                    <a:pt x="57" y="783"/>
                    <a:pt x="78" y="792"/>
                    <a:pt x="87" y="802"/>
                  </a:cubicBezTo>
                  <a:cubicBezTo>
                    <a:pt x="96" y="812"/>
                    <a:pt x="101" y="859"/>
                    <a:pt x="101" y="859"/>
                  </a:cubicBezTo>
                  <a:cubicBezTo>
                    <a:pt x="101" y="859"/>
                    <a:pt x="113" y="866"/>
                    <a:pt x="123" y="860"/>
                  </a:cubicBezTo>
                  <a:cubicBezTo>
                    <a:pt x="133" y="853"/>
                    <a:pt x="153" y="838"/>
                    <a:pt x="153" y="838"/>
                  </a:cubicBezTo>
                  <a:cubicBezTo>
                    <a:pt x="153" y="838"/>
                    <a:pt x="146" y="863"/>
                    <a:pt x="165" y="858"/>
                  </a:cubicBezTo>
                  <a:cubicBezTo>
                    <a:pt x="183" y="853"/>
                    <a:pt x="178" y="833"/>
                    <a:pt x="196" y="833"/>
                  </a:cubicBezTo>
                  <a:cubicBezTo>
                    <a:pt x="215" y="833"/>
                    <a:pt x="248" y="833"/>
                    <a:pt x="248" y="833"/>
                  </a:cubicBezTo>
                  <a:cubicBezTo>
                    <a:pt x="248" y="833"/>
                    <a:pt x="263" y="811"/>
                    <a:pt x="268" y="805"/>
                  </a:cubicBezTo>
                  <a:cubicBezTo>
                    <a:pt x="273" y="798"/>
                    <a:pt x="253" y="788"/>
                    <a:pt x="253" y="788"/>
                  </a:cubicBezTo>
                  <a:cubicBezTo>
                    <a:pt x="267" y="780"/>
                    <a:pt x="267" y="780"/>
                    <a:pt x="267" y="780"/>
                  </a:cubicBezTo>
                  <a:cubicBezTo>
                    <a:pt x="267" y="780"/>
                    <a:pt x="307" y="780"/>
                    <a:pt x="338" y="765"/>
                  </a:cubicBezTo>
                  <a:cubicBezTo>
                    <a:pt x="370" y="750"/>
                    <a:pt x="365" y="728"/>
                    <a:pt x="365" y="728"/>
                  </a:cubicBezTo>
                  <a:cubicBezTo>
                    <a:pt x="378" y="723"/>
                    <a:pt x="378" y="723"/>
                    <a:pt x="378" y="723"/>
                  </a:cubicBezTo>
                  <a:cubicBezTo>
                    <a:pt x="390" y="711"/>
                    <a:pt x="390" y="711"/>
                    <a:pt x="390" y="71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430" y="673"/>
                    <a:pt x="430" y="673"/>
                    <a:pt x="430" y="673"/>
                  </a:cubicBezTo>
                  <a:cubicBezTo>
                    <a:pt x="446" y="674"/>
                    <a:pt x="446" y="674"/>
                    <a:pt x="446" y="674"/>
                  </a:cubicBezTo>
                  <a:cubicBezTo>
                    <a:pt x="445" y="665"/>
                    <a:pt x="445" y="665"/>
                    <a:pt x="445" y="665"/>
                  </a:cubicBezTo>
                  <a:cubicBezTo>
                    <a:pt x="445" y="665"/>
                    <a:pt x="463" y="669"/>
                    <a:pt x="451" y="656"/>
                  </a:cubicBezTo>
                  <a:cubicBezTo>
                    <a:pt x="439" y="643"/>
                    <a:pt x="430" y="642"/>
                    <a:pt x="430" y="642"/>
                  </a:cubicBezTo>
                  <a:cubicBezTo>
                    <a:pt x="426" y="625"/>
                    <a:pt x="426" y="625"/>
                    <a:pt x="426" y="625"/>
                  </a:cubicBezTo>
                  <a:cubicBezTo>
                    <a:pt x="437" y="620"/>
                    <a:pt x="437" y="620"/>
                    <a:pt x="437" y="620"/>
                  </a:cubicBezTo>
                  <a:cubicBezTo>
                    <a:pt x="428" y="612"/>
                    <a:pt x="428" y="612"/>
                    <a:pt x="428" y="612"/>
                  </a:cubicBezTo>
                  <a:cubicBezTo>
                    <a:pt x="428" y="612"/>
                    <a:pt x="430" y="585"/>
                    <a:pt x="423" y="582"/>
                  </a:cubicBezTo>
                  <a:cubicBezTo>
                    <a:pt x="416" y="579"/>
                    <a:pt x="411" y="589"/>
                    <a:pt x="406" y="587"/>
                  </a:cubicBezTo>
                  <a:cubicBezTo>
                    <a:pt x="401" y="585"/>
                    <a:pt x="395" y="580"/>
                    <a:pt x="398" y="569"/>
                  </a:cubicBezTo>
                  <a:cubicBezTo>
                    <a:pt x="401" y="558"/>
                    <a:pt x="415" y="558"/>
                    <a:pt x="417" y="549"/>
                  </a:cubicBezTo>
                  <a:cubicBezTo>
                    <a:pt x="419" y="540"/>
                    <a:pt x="416" y="536"/>
                    <a:pt x="410" y="526"/>
                  </a:cubicBezTo>
                  <a:cubicBezTo>
                    <a:pt x="404" y="516"/>
                    <a:pt x="419" y="508"/>
                    <a:pt x="419" y="508"/>
                  </a:cubicBezTo>
                  <a:cubicBezTo>
                    <a:pt x="430" y="501"/>
                    <a:pt x="430" y="501"/>
                    <a:pt x="430" y="501"/>
                  </a:cubicBezTo>
                  <a:cubicBezTo>
                    <a:pt x="425" y="490"/>
                    <a:pt x="425" y="490"/>
                    <a:pt x="425" y="490"/>
                  </a:cubicBezTo>
                  <a:cubicBezTo>
                    <a:pt x="422" y="474"/>
                    <a:pt x="422" y="474"/>
                    <a:pt x="422" y="474"/>
                  </a:cubicBezTo>
                  <a:cubicBezTo>
                    <a:pt x="432" y="474"/>
                    <a:pt x="432" y="474"/>
                    <a:pt x="432" y="474"/>
                  </a:cubicBezTo>
                  <a:cubicBezTo>
                    <a:pt x="432" y="474"/>
                    <a:pt x="430" y="462"/>
                    <a:pt x="436" y="456"/>
                  </a:cubicBezTo>
                  <a:cubicBezTo>
                    <a:pt x="442" y="450"/>
                    <a:pt x="451" y="450"/>
                    <a:pt x="449" y="442"/>
                  </a:cubicBezTo>
                  <a:cubicBezTo>
                    <a:pt x="447" y="434"/>
                    <a:pt x="438" y="423"/>
                    <a:pt x="451" y="419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01" name="Freeform 117"/>
            <p:cNvSpPr>
              <a:spLocks/>
            </p:cNvSpPr>
            <p:nvPr/>
          </p:nvSpPr>
          <p:spPr bwMode="auto">
            <a:xfrm>
              <a:off x="2455" y="2243"/>
              <a:ext cx="295" cy="304"/>
            </a:xfrm>
            <a:custGeom>
              <a:avLst/>
              <a:gdLst>
                <a:gd name="T0" fmla="*/ 0 w 778"/>
                <a:gd name="T1" fmla="*/ 0 h 800"/>
                <a:gd name="T2" fmla="*/ 0 w 778"/>
                <a:gd name="T3" fmla="*/ 0 h 800"/>
                <a:gd name="T4" fmla="*/ 0 w 778"/>
                <a:gd name="T5" fmla="*/ 0 h 800"/>
                <a:gd name="T6" fmla="*/ 0 w 778"/>
                <a:gd name="T7" fmla="*/ 0 h 800"/>
                <a:gd name="T8" fmla="*/ 0 w 778"/>
                <a:gd name="T9" fmla="*/ 0 h 800"/>
                <a:gd name="T10" fmla="*/ 0 w 778"/>
                <a:gd name="T11" fmla="*/ 0 h 800"/>
                <a:gd name="T12" fmla="*/ 0 w 778"/>
                <a:gd name="T13" fmla="*/ 0 h 800"/>
                <a:gd name="T14" fmla="*/ 0 w 778"/>
                <a:gd name="T15" fmla="*/ 0 h 800"/>
                <a:gd name="T16" fmla="*/ 0 w 778"/>
                <a:gd name="T17" fmla="*/ 0 h 800"/>
                <a:gd name="T18" fmla="*/ 0 w 778"/>
                <a:gd name="T19" fmla="*/ 0 h 800"/>
                <a:gd name="T20" fmla="*/ 0 w 778"/>
                <a:gd name="T21" fmla="*/ 0 h 800"/>
                <a:gd name="T22" fmla="*/ 0 w 778"/>
                <a:gd name="T23" fmla="*/ 0 h 800"/>
                <a:gd name="T24" fmla="*/ 0 w 778"/>
                <a:gd name="T25" fmla="*/ 0 h 800"/>
                <a:gd name="T26" fmla="*/ 0 w 778"/>
                <a:gd name="T27" fmla="*/ 0 h 800"/>
                <a:gd name="T28" fmla="*/ 0 w 778"/>
                <a:gd name="T29" fmla="*/ 0 h 800"/>
                <a:gd name="T30" fmla="*/ 0 w 778"/>
                <a:gd name="T31" fmla="*/ 0 h 800"/>
                <a:gd name="T32" fmla="*/ 0 w 778"/>
                <a:gd name="T33" fmla="*/ 0 h 800"/>
                <a:gd name="T34" fmla="*/ 0 w 778"/>
                <a:gd name="T35" fmla="*/ 0 h 800"/>
                <a:gd name="T36" fmla="*/ 0 w 778"/>
                <a:gd name="T37" fmla="*/ 0 h 800"/>
                <a:gd name="T38" fmla="*/ 0 w 778"/>
                <a:gd name="T39" fmla="*/ 0 h 800"/>
                <a:gd name="T40" fmla="*/ 0 w 778"/>
                <a:gd name="T41" fmla="*/ 0 h 800"/>
                <a:gd name="T42" fmla="*/ 0 w 778"/>
                <a:gd name="T43" fmla="*/ 0 h 800"/>
                <a:gd name="T44" fmla="*/ 0 w 778"/>
                <a:gd name="T45" fmla="*/ 0 h 800"/>
                <a:gd name="T46" fmla="*/ 0 w 778"/>
                <a:gd name="T47" fmla="*/ 0 h 800"/>
                <a:gd name="T48" fmla="*/ 0 w 778"/>
                <a:gd name="T49" fmla="*/ 0 h 800"/>
                <a:gd name="T50" fmla="*/ 0 w 778"/>
                <a:gd name="T51" fmla="*/ 0 h 800"/>
                <a:gd name="T52" fmla="*/ 0 w 778"/>
                <a:gd name="T53" fmla="*/ 0 h 800"/>
                <a:gd name="T54" fmla="*/ 0 w 778"/>
                <a:gd name="T55" fmla="*/ 0 h 800"/>
                <a:gd name="T56" fmla="*/ 0 w 778"/>
                <a:gd name="T57" fmla="*/ 0 h 800"/>
                <a:gd name="T58" fmla="*/ 0 w 778"/>
                <a:gd name="T59" fmla="*/ 0 h 800"/>
                <a:gd name="T60" fmla="*/ 0 w 778"/>
                <a:gd name="T61" fmla="*/ 0 h 800"/>
                <a:gd name="T62" fmla="*/ 0 w 778"/>
                <a:gd name="T63" fmla="*/ 0 h 800"/>
                <a:gd name="T64" fmla="*/ 0 w 778"/>
                <a:gd name="T65" fmla="*/ 0 h 800"/>
                <a:gd name="T66" fmla="*/ 0 w 778"/>
                <a:gd name="T67" fmla="*/ 0 h 800"/>
                <a:gd name="T68" fmla="*/ 0 w 778"/>
                <a:gd name="T69" fmla="*/ 0 h 800"/>
                <a:gd name="T70" fmla="*/ 0 w 778"/>
                <a:gd name="T71" fmla="*/ 0 h 800"/>
                <a:gd name="T72" fmla="*/ 0 w 778"/>
                <a:gd name="T73" fmla="*/ 0 h 800"/>
                <a:gd name="T74" fmla="*/ 0 w 778"/>
                <a:gd name="T75" fmla="*/ 0 h 800"/>
                <a:gd name="T76" fmla="*/ 0 w 778"/>
                <a:gd name="T77" fmla="*/ 0 h 800"/>
                <a:gd name="T78" fmla="*/ 0 w 778"/>
                <a:gd name="T79" fmla="*/ 0 h 800"/>
                <a:gd name="T80" fmla="*/ 0 w 778"/>
                <a:gd name="T81" fmla="*/ 0 h 800"/>
                <a:gd name="T82" fmla="*/ 0 w 778"/>
                <a:gd name="T83" fmla="*/ 0 h 800"/>
                <a:gd name="T84" fmla="*/ 0 w 778"/>
                <a:gd name="T85" fmla="*/ 0 h 800"/>
                <a:gd name="T86" fmla="*/ 0 w 778"/>
                <a:gd name="T87" fmla="*/ 0 h 800"/>
                <a:gd name="T88" fmla="*/ 0 w 778"/>
                <a:gd name="T89" fmla="*/ 0 h 800"/>
                <a:gd name="T90" fmla="*/ 0 w 778"/>
                <a:gd name="T91" fmla="*/ 0 h 800"/>
                <a:gd name="T92" fmla="*/ 0 w 778"/>
                <a:gd name="T93" fmla="*/ 0 h 800"/>
                <a:gd name="T94" fmla="*/ 0 w 778"/>
                <a:gd name="T95" fmla="*/ 0 h 8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78"/>
                <a:gd name="T145" fmla="*/ 0 h 800"/>
                <a:gd name="T146" fmla="*/ 778 w 778"/>
                <a:gd name="T147" fmla="*/ 800 h 80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78" h="800">
                  <a:moveTo>
                    <a:pt x="409" y="636"/>
                  </a:moveTo>
                  <a:cubicBezTo>
                    <a:pt x="424" y="631"/>
                    <a:pt x="424" y="631"/>
                    <a:pt x="424" y="631"/>
                  </a:cubicBezTo>
                  <a:cubicBezTo>
                    <a:pt x="424" y="607"/>
                    <a:pt x="424" y="607"/>
                    <a:pt x="424" y="607"/>
                  </a:cubicBezTo>
                  <a:cubicBezTo>
                    <a:pt x="437" y="607"/>
                    <a:pt x="437" y="607"/>
                    <a:pt x="437" y="607"/>
                  </a:cubicBezTo>
                  <a:cubicBezTo>
                    <a:pt x="437" y="607"/>
                    <a:pt x="454" y="578"/>
                    <a:pt x="460" y="576"/>
                  </a:cubicBezTo>
                  <a:cubicBezTo>
                    <a:pt x="466" y="574"/>
                    <a:pt x="478" y="586"/>
                    <a:pt x="481" y="585"/>
                  </a:cubicBezTo>
                  <a:cubicBezTo>
                    <a:pt x="484" y="584"/>
                    <a:pt x="485" y="563"/>
                    <a:pt x="485" y="563"/>
                  </a:cubicBezTo>
                  <a:cubicBezTo>
                    <a:pt x="502" y="563"/>
                    <a:pt x="502" y="563"/>
                    <a:pt x="502" y="563"/>
                  </a:cubicBezTo>
                  <a:cubicBezTo>
                    <a:pt x="513" y="549"/>
                    <a:pt x="513" y="549"/>
                    <a:pt x="513" y="549"/>
                  </a:cubicBezTo>
                  <a:cubicBezTo>
                    <a:pt x="513" y="549"/>
                    <a:pt x="517" y="551"/>
                    <a:pt x="527" y="547"/>
                  </a:cubicBezTo>
                  <a:cubicBezTo>
                    <a:pt x="537" y="543"/>
                    <a:pt x="539" y="535"/>
                    <a:pt x="539" y="535"/>
                  </a:cubicBezTo>
                  <a:cubicBezTo>
                    <a:pt x="572" y="537"/>
                    <a:pt x="572" y="537"/>
                    <a:pt x="572" y="537"/>
                  </a:cubicBezTo>
                  <a:cubicBezTo>
                    <a:pt x="588" y="544"/>
                    <a:pt x="588" y="544"/>
                    <a:pt x="588" y="544"/>
                  </a:cubicBezTo>
                  <a:cubicBezTo>
                    <a:pt x="620" y="537"/>
                    <a:pt x="620" y="537"/>
                    <a:pt x="620" y="537"/>
                  </a:cubicBezTo>
                  <a:cubicBezTo>
                    <a:pt x="638" y="525"/>
                    <a:pt x="638" y="525"/>
                    <a:pt x="638" y="525"/>
                  </a:cubicBezTo>
                  <a:cubicBezTo>
                    <a:pt x="680" y="526"/>
                    <a:pt x="680" y="526"/>
                    <a:pt x="680" y="526"/>
                  </a:cubicBezTo>
                  <a:cubicBezTo>
                    <a:pt x="681" y="517"/>
                    <a:pt x="681" y="517"/>
                    <a:pt x="681" y="517"/>
                  </a:cubicBezTo>
                  <a:cubicBezTo>
                    <a:pt x="712" y="519"/>
                    <a:pt x="712" y="519"/>
                    <a:pt x="712" y="519"/>
                  </a:cubicBezTo>
                  <a:cubicBezTo>
                    <a:pt x="719" y="514"/>
                    <a:pt x="719" y="514"/>
                    <a:pt x="719" y="514"/>
                  </a:cubicBezTo>
                  <a:cubicBezTo>
                    <a:pt x="719" y="514"/>
                    <a:pt x="726" y="520"/>
                    <a:pt x="748" y="509"/>
                  </a:cubicBezTo>
                  <a:cubicBezTo>
                    <a:pt x="763" y="502"/>
                    <a:pt x="763" y="469"/>
                    <a:pt x="763" y="469"/>
                  </a:cubicBezTo>
                  <a:cubicBezTo>
                    <a:pt x="778" y="454"/>
                    <a:pt x="778" y="454"/>
                    <a:pt x="778" y="454"/>
                  </a:cubicBezTo>
                  <a:cubicBezTo>
                    <a:pt x="778" y="317"/>
                    <a:pt x="778" y="317"/>
                    <a:pt x="778" y="317"/>
                  </a:cubicBezTo>
                  <a:cubicBezTo>
                    <a:pt x="771" y="319"/>
                    <a:pt x="766" y="320"/>
                    <a:pt x="766" y="320"/>
                  </a:cubicBezTo>
                  <a:cubicBezTo>
                    <a:pt x="766" y="320"/>
                    <a:pt x="744" y="328"/>
                    <a:pt x="729" y="321"/>
                  </a:cubicBezTo>
                  <a:cubicBezTo>
                    <a:pt x="714" y="314"/>
                    <a:pt x="738" y="300"/>
                    <a:pt x="738" y="300"/>
                  </a:cubicBezTo>
                  <a:cubicBezTo>
                    <a:pt x="738" y="300"/>
                    <a:pt x="737" y="280"/>
                    <a:pt x="727" y="272"/>
                  </a:cubicBezTo>
                  <a:cubicBezTo>
                    <a:pt x="717" y="264"/>
                    <a:pt x="694" y="270"/>
                    <a:pt x="694" y="270"/>
                  </a:cubicBezTo>
                  <a:cubicBezTo>
                    <a:pt x="689" y="252"/>
                    <a:pt x="689" y="252"/>
                    <a:pt x="689" y="252"/>
                  </a:cubicBezTo>
                  <a:cubicBezTo>
                    <a:pt x="689" y="252"/>
                    <a:pt x="676" y="254"/>
                    <a:pt x="666" y="251"/>
                  </a:cubicBezTo>
                  <a:cubicBezTo>
                    <a:pt x="656" y="248"/>
                    <a:pt x="658" y="241"/>
                    <a:pt x="656" y="233"/>
                  </a:cubicBezTo>
                  <a:cubicBezTo>
                    <a:pt x="654" y="225"/>
                    <a:pt x="637" y="229"/>
                    <a:pt x="637" y="229"/>
                  </a:cubicBezTo>
                  <a:cubicBezTo>
                    <a:pt x="638" y="212"/>
                    <a:pt x="638" y="212"/>
                    <a:pt x="638" y="212"/>
                  </a:cubicBezTo>
                  <a:cubicBezTo>
                    <a:pt x="364" y="3"/>
                    <a:pt x="364" y="3"/>
                    <a:pt x="364" y="3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4" y="459"/>
                    <a:pt x="314" y="459"/>
                    <a:pt x="314" y="459"/>
                  </a:cubicBezTo>
                  <a:cubicBezTo>
                    <a:pt x="314" y="459"/>
                    <a:pt x="327" y="465"/>
                    <a:pt x="328" y="472"/>
                  </a:cubicBezTo>
                  <a:cubicBezTo>
                    <a:pt x="329" y="479"/>
                    <a:pt x="323" y="483"/>
                    <a:pt x="323" y="483"/>
                  </a:cubicBezTo>
                  <a:cubicBezTo>
                    <a:pt x="318" y="510"/>
                    <a:pt x="318" y="510"/>
                    <a:pt x="318" y="510"/>
                  </a:cubicBezTo>
                  <a:cubicBezTo>
                    <a:pt x="141" y="513"/>
                    <a:pt x="141" y="513"/>
                    <a:pt x="141" y="513"/>
                  </a:cubicBezTo>
                  <a:cubicBezTo>
                    <a:pt x="141" y="513"/>
                    <a:pt x="141" y="502"/>
                    <a:pt x="137" y="503"/>
                  </a:cubicBezTo>
                  <a:cubicBezTo>
                    <a:pt x="133" y="504"/>
                    <a:pt x="135" y="516"/>
                    <a:pt x="127" y="517"/>
                  </a:cubicBezTo>
                  <a:cubicBezTo>
                    <a:pt x="119" y="518"/>
                    <a:pt x="102" y="521"/>
                    <a:pt x="102" y="521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74" y="515"/>
                    <a:pt x="74" y="515"/>
                    <a:pt x="74" y="515"/>
                  </a:cubicBezTo>
                  <a:cubicBezTo>
                    <a:pt x="64" y="532"/>
                    <a:pt x="64" y="532"/>
                    <a:pt x="64" y="532"/>
                  </a:cubicBezTo>
                  <a:cubicBezTo>
                    <a:pt x="64" y="532"/>
                    <a:pt x="52" y="507"/>
                    <a:pt x="39" y="507"/>
                  </a:cubicBezTo>
                  <a:cubicBezTo>
                    <a:pt x="26" y="507"/>
                    <a:pt x="24" y="516"/>
                    <a:pt x="24" y="535"/>
                  </a:cubicBezTo>
                  <a:cubicBezTo>
                    <a:pt x="25" y="536"/>
                    <a:pt x="28" y="546"/>
                    <a:pt x="20" y="549"/>
                  </a:cubicBezTo>
                  <a:cubicBezTo>
                    <a:pt x="12" y="552"/>
                    <a:pt x="0" y="550"/>
                    <a:pt x="0" y="550"/>
                  </a:cubicBezTo>
                  <a:cubicBezTo>
                    <a:pt x="1" y="568"/>
                    <a:pt x="1" y="568"/>
                    <a:pt x="1" y="568"/>
                  </a:cubicBezTo>
                  <a:cubicBezTo>
                    <a:pt x="9" y="578"/>
                    <a:pt x="9" y="578"/>
                    <a:pt x="9" y="578"/>
                  </a:cubicBezTo>
                  <a:cubicBezTo>
                    <a:pt x="9" y="578"/>
                    <a:pt x="21" y="600"/>
                    <a:pt x="16" y="604"/>
                  </a:cubicBezTo>
                  <a:cubicBezTo>
                    <a:pt x="11" y="608"/>
                    <a:pt x="7" y="612"/>
                    <a:pt x="14" y="623"/>
                  </a:cubicBezTo>
                  <a:cubicBezTo>
                    <a:pt x="21" y="634"/>
                    <a:pt x="25" y="622"/>
                    <a:pt x="30" y="625"/>
                  </a:cubicBezTo>
                  <a:cubicBezTo>
                    <a:pt x="35" y="628"/>
                    <a:pt x="37" y="644"/>
                    <a:pt x="37" y="644"/>
                  </a:cubicBezTo>
                  <a:cubicBezTo>
                    <a:pt x="36" y="678"/>
                    <a:pt x="36" y="678"/>
                    <a:pt x="36" y="678"/>
                  </a:cubicBezTo>
                  <a:cubicBezTo>
                    <a:pt x="36" y="678"/>
                    <a:pt x="40" y="705"/>
                    <a:pt x="44" y="703"/>
                  </a:cubicBezTo>
                  <a:cubicBezTo>
                    <a:pt x="48" y="701"/>
                    <a:pt x="52" y="685"/>
                    <a:pt x="61" y="685"/>
                  </a:cubicBezTo>
                  <a:cubicBezTo>
                    <a:pt x="70" y="685"/>
                    <a:pt x="73" y="706"/>
                    <a:pt x="73" y="706"/>
                  </a:cubicBezTo>
                  <a:cubicBezTo>
                    <a:pt x="73" y="706"/>
                    <a:pt x="87" y="683"/>
                    <a:pt x="92" y="685"/>
                  </a:cubicBezTo>
                  <a:cubicBezTo>
                    <a:pt x="97" y="687"/>
                    <a:pt x="119" y="698"/>
                    <a:pt x="119" y="698"/>
                  </a:cubicBezTo>
                  <a:cubicBezTo>
                    <a:pt x="131" y="689"/>
                    <a:pt x="131" y="689"/>
                    <a:pt x="131" y="689"/>
                  </a:cubicBezTo>
                  <a:cubicBezTo>
                    <a:pt x="131" y="689"/>
                    <a:pt x="129" y="665"/>
                    <a:pt x="145" y="673"/>
                  </a:cubicBezTo>
                  <a:cubicBezTo>
                    <a:pt x="161" y="681"/>
                    <a:pt x="154" y="688"/>
                    <a:pt x="154" y="688"/>
                  </a:cubicBezTo>
                  <a:cubicBezTo>
                    <a:pt x="163" y="697"/>
                    <a:pt x="163" y="697"/>
                    <a:pt x="163" y="697"/>
                  </a:cubicBezTo>
                  <a:cubicBezTo>
                    <a:pt x="157" y="714"/>
                    <a:pt x="157" y="714"/>
                    <a:pt x="157" y="714"/>
                  </a:cubicBezTo>
                  <a:cubicBezTo>
                    <a:pt x="180" y="730"/>
                    <a:pt x="180" y="730"/>
                    <a:pt x="180" y="730"/>
                  </a:cubicBezTo>
                  <a:cubicBezTo>
                    <a:pt x="163" y="753"/>
                    <a:pt x="163" y="753"/>
                    <a:pt x="163" y="753"/>
                  </a:cubicBezTo>
                  <a:cubicBezTo>
                    <a:pt x="182" y="752"/>
                    <a:pt x="182" y="752"/>
                    <a:pt x="182" y="752"/>
                  </a:cubicBezTo>
                  <a:cubicBezTo>
                    <a:pt x="182" y="777"/>
                    <a:pt x="182" y="777"/>
                    <a:pt x="182" y="777"/>
                  </a:cubicBezTo>
                  <a:cubicBezTo>
                    <a:pt x="201" y="796"/>
                    <a:pt x="201" y="796"/>
                    <a:pt x="201" y="796"/>
                  </a:cubicBezTo>
                  <a:cubicBezTo>
                    <a:pt x="207" y="799"/>
                    <a:pt x="207" y="799"/>
                    <a:pt x="207" y="799"/>
                  </a:cubicBezTo>
                  <a:cubicBezTo>
                    <a:pt x="207" y="799"/>
                    <a:pt x="204" y="782"/>
                    <a:pt x="220" y="784"/>
                  </a:cubicBezTo>
                  <a:cubicBezTo>
                    <a:pt x="236" y="786"/>
                    <a:pt x="246" y="800"/>
                    <a:pt x="246" y="800"/>
                  </a:cubicBezTo>
                  <a:cubicBezTo>
                    <a:pt x="250" y="788"/>
                    <a:pt x="250" y="788"/>
                    <a:pt x="250" y="788"/>
                  </a:cubicBezTo>
                  <a:cubicBezTo>
                    <a:pt x="260" y="788"/>
                    <a:pt x="260" y="788"/>
                    <a:pt x="260" y="788"/>
                  </a:cubicBezTo>
                  <a:cubicBezTo>
                    <a:pt x="264" y="770"/>
                    <a:pt x="264" y="770"/>
                    <a:pt x="264" y="770"/>
                  </a:cubicBezTo>
                  <a:cubicBezTo>
                    <a:pt x="273" y="782"/>
                    <a:pt x="273" y="782"/>
                    <a:pt x="273" y="782"/>
                  </a:cubicBezTo>
                  <a:cubicBezTo>
                    <a:pt x="281" y="769"/>
                    <a:pt x="281" y="769"/>
                    <a:pt x="281" y="769"/>
                  </a:cubicBezTo>
                  <a:cubicBezTo>
                    <a:pt x="281" y="793"/>
                    <a:pt x="281" y="793"/>
                    <a:pt x="281" y="793"/>
                  </a:cubicBezTo>
                  <a:cubicBezTo>
                    <a:pt x="296" y="795"/>
                    <a:pt x="296" y="795"/>
                    <a:pt x="296" y="795"/>
                  </a:cubicBezTo>
                  <a:cubicBezTo>
                    <a:pt x="296" y="795"/>
                    <a:pt x="300" y="781"/>
                    <a:pt x="315" y="781"/>
                  </a:cubicBezTo>
                  <a:cubicBezTo>
                    <a:pt x="312" y="744"/>
                    <a:pt x="312" y="744"/>
                    <a:pt x="312" y="744"/>
                  </a:cubicBezTo>
                  <a:cubicBezTo>
                    <a:pt x="327" y="744"/>
                    <a:pt x="327" y="744"/>
                    <a:pt x="327" y="744"/>
                  </a:cubicBezTo>
                  <a:cubicBezTo>
                    <a:pt x="335" y="729"/>
                    <a:pt x="335" y="729"/>
                    <a:pt x="335" y="729"/>
                  </a:cubicBezTo>
                  <a:cubicBezTo>
                    <a:pt x="320" y="708"/>
                    <a:pt x="320" y="708"/>
                    <a:pt x="320" y="708"/>
                  </a:cubicBezTo>
                  <a:cubicBezTo>
                    <a:pt x="333" y="700"/>
                    <a:pt x="333" y="700"/>
                    <a:pt x="333" y="700"/>
                  </a:cubicBezTo>
                  <a:cubicBezTo>
                    <a:pt x="333" y="700"/>
                    <a:pt x="348" y="697"/>
                    <a:pt x="360" y="696"/>
                  </a:cubicBezTo>
                  <a:cubicBezTo>
                    <a:pt x="372" y="695"/>
                    <a:pt x="359" y="685"/>
                    <a:pt x="359" y="685"/>
                  </a:cubicBezTo>
                  <a:cubicBezTo>
                    <a:pt x="359" y="685"/>
                    <a:pt x="366" y="684"/>
                    <a:pt x="369" y="680"/>
                  </a:cubicBezTo>
                  <a:cubicBezTo>
                    <a:pt x="372" y="676"/>
                    <a:pt x="367" y="659"/>
                    <a:pt x="367" y="659"/>
                  </a:cubicBezTo>
                  <a:cubicBezTo>
                    <a:pt x="367" y="659"/>
                    <a:pt x="379" y="661"/>
                    <a:pt x="381" y="656"/>
                  </a:cubicBezTo>
                  <a:cubicBezTo>
                    <a:pt x="383" y="651"/>
                    <a:pt x="375" y="637"/>
                    <a:pt x="375" y="637"/>
                  </a:cubicBezTo>
                  <a:cubicBezTo>
                    <a:pt x="388" y="617"/>
                    <a:pt x="388" y="617"/>
                    <a:pt x="388" y="617"/>
                  </a:cubicBezTo>
                  <a:lnTo>
                    <a:pt x="409" y="636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02" name="Freeform 118"/>
            <p:cNvSpPr>
              <a:spLocks/>
            </p:cNvSpPr>
            <p:nvPr/>
          </p:nvSpPr>
          <p:spPr bwMode="auto">
            <a:xfrm>
              <a:off x="2364" y="2412"/>
              <a:ext cx="105" cy="93"/>
            </a:xfrm>
            <a:custGeom>
              <a:avLst/>
              <a:gdLst>
                <a:gd name="T0" fmla="*/ 0 w 276"/>
                <a:gd name="T1" fmla="*/ 0 h 246"/>
                <a:gd name="T2" fmla="*/ 0 w 276"/>
                <a:gd name="T3" fmla="*/ 0 h 246"/>
                <a:gd name="T4" fmla="*/ 0 w 276"/>
                <a:gd name="T5" fmla="*/ 0 h 246"/>
                <a:gd name="T6" fmla="*/ 0 w 276"/>
                <a:gd name="T7" fmla="*/ 0 h 246"/>
                <a:gd name="T8" fmla="*/ 0 w 276"/>
                <a:gd name="T9" fmla="*/ 0 h 246"/>
                <a:gd name="T10" fmla="*/ 0 w 276"/>
                <a:gd name="T11" fmla="*/ 0 h 246"/>
                <a:gd name="T12" fmla="*/ 0 w 276"/>
                <a:gd name="T13" fmla="*/ 0 h 246"/>
                <a:gd name="T14" fmla="*/ 0 w 276"/>
                <a:gd name="T15" fmla="*/ 0 h 246"/>
                <a:gd name="T16" fmla="*/ 0 w 276"/>
                <a:gd name="T17" fmla="*/ 0 h 246"/>
                <a:gd name="T18" fmla="*/ 0 w 276"/>
                <a:gd name="T19" fmla="*/ 0 h 246"/>
                <a:gd name="T20" fmla="*/ 0 w 276"/>
                <a:gd name="T21" fmla="*/ 0 h 246"/>
                <a:gd name="T22" fmla="*/ 0 w 276"/>
                <a:gd name="T23" fmla="*/ 0 h 246"/>
                <a:gd name="T24" fmla="*/ 0 w 276"/>
                <a:gd name="T25" fmla="*/ 0 h 246"/>
                <a:gd name="T26" fmla="*/ 0 w 276"/>
                <a:gd name="T27" fmla="*/ 0 h 246"/>
                <a:gd name="T28" fmla="*/ 0 w 276"/>
                <a:gd name="T29" fmla="*/ 0 h 246"/>
                <a:gd name="T30" fmla="*/ 0 w 276"/>
                <a:gd name="T31" fmla="*/ 0 h 246"/>
                <a:gd name="T32" fmla="*/ 0 w 276"/>
                <a:gd name="T33" fmla="*/ 0 h 246"/>
                <a:gd name="T34" fmla="*/ 0 w 276"/>
                <a:gd name="T35" fmla="*/ 0 h 246"/>
                <a:gd name="T36" fmla="*/ 0 w 276"/>
                <a:gd name="T37" fmla="*/ 0 h 246"/>
                <a:gd name="T38" fmla="*/ 0 w 276"/>
                <a:gd name="T39" fmla="*/ 0 h 246"/>
                <a:gd name="T40" fmla="*/ 0 w 276"/>
                <a:gd name="T41" fmla="*/ 0 h 246"/>
                <a:gd name="T42" fmla="*/ 0 w 276"/>
                <a:gd name="T43" fmla="*/ 0 h 246"/>
                <a:gd name="T44" fmla="*/ 0 w 276"/>
                <a:gd name="T45" fmla="*/ 0 h 246"/>
                <a:gd name="T46" fmla="*/ 0 w 276"/>
                <a:gd name="T47" fmla="*/ 0 h 246"/>
                <a:gd name="T48" fmla="*/ 0 w 276"/>
                <a:gd name="T49" fmla="*/ 0 h 246"/>
                <a:gd name="T50" fmla="*/ 0 w 276"/>
                <a:gd name="T51" fmla="*/ 0 h 246"/>
                <a:gd name="T52" fmla="*/ 0 w 276"/>
                <a:gd name="T53" fmla="*/ 0 h 246"/>
                <a:gd name="T54" fmla="*/ 0 w 276"/>
                <a:gd name="T55" fmla="*/ 0 h 246"/>
                <a:gd name="T56" fmla="*/ 0 w 276"/>
                <a:gd name="T57" fmla="*/ 0 h 246"/>
                <a:gd name="T58" fmla="*/ 0 w 276"/>
                <a:gd name="T59" fmla="*/ 0 h 246"/>
                <a:gd name="T60" fmla="*/ 0 w 276"/>
                <a:gd name="T61" fmla="*/ 0 h 246"/>
                <a:gd name="T62" fmla="*/ 0 w 276"/>
                <a:gd name="T63" fmla="*/ 0 h 246"/>
                <a:gd name="T64" fmla="*/ 0 w 276"/>
                <a:gd name="T65" fmla="*/ 0 h 246"/>
                <a:gd name="T66" fmla="*/ 0 w 276"/>
                <a:gd name="T67" fmla="*/ 0 h 246"/>
                <a:gd name="T68" fmla="*/ 0 w 276"/>
                <a:gd name="T69" fmla="*/ 0 h 246"/>
                <a:gd name="T70" fmla="*/ 0 w 276"/>
                <a:gd name="T71" fmla="*/ 0 h 246"/>
                <a:gd name="T72" fmla="*/ 0 w 276"/>
                <a:gd name="T73" fmla="*/ 0 h 246"/>
                <a:gd name="T74" fmla="*/ 0 w 276"/>
                <a:gd name="T75" fmla="*/ 0 h 246"/>
                <a:gd name="T76" fmla="*/ 0 w 276"/>
                <a:gd name="T77" fmla="*/ 0 h 246"/>
                <a:gd name="T78" fmla="*/ 0 w 276"/>
                <a:gd name="T79" fmla="*/ 0 h 246"/>
                <a:gd name="T80" fmla="*/ 0 w 276"/>
                <a:gd name="T81" fmla="*/ 0 h 246"/>
                <a:gd name="T82" fmla="*/ 0 w 276"/>
                <a:gd name="T83" fmla="*/ 0 h 246"/>
                <a:gd name="T84" fmla="*/ 0 w 276"/>
                <a:gd name="T85" fmla="*/ 0 h 246"/>
                <a:gd name="T86" fmla="*/ 0 w 276"/>
                <a:gd name="T87" fmla="*/ 0 h 246"/>
                <a:gd name="T88" fmla="*/ 0 w 276"/>
                <a:gd name="T89" fmla="*/ 0 h 246"/>
                <a:gd name="T90" fmla="*/ 0 w 276"/>
                <a:gd name="T91" fmla="*/ 0 h 246"/>
                <a:gd name="T92" fmla="*/ 0 w 276"/>
                <a:gd name="T93" fmla="*/ 0 h 246"/>
                <a:gd name="T94" fmla="*/ 0 w 276"/>
                <a:gd name="T95" fmla="*/ 0 h 246"/>
                <a:gd name="T96" fmla="*/ 0 w 276"/>
                <a:gd name="T97" fmla="*/ 0 h 246"/>
                <a:gd name="T98" fmla="*/ 0 w 276"/>
                <a:gd name="T99" fmla="*/ 0 h 246"/>
                <a:gd name="T100" fmla="*/ 0 w 276"/>
                <a:gd name="T101" fmla="*/ 0 h 246"/>
                <a:gd name="T102" fmla="*/ 0 w 276"/>
                <a:gd name="T103" fmla="*/ 0 h 246"/>
                <a:gd name="T104" fmla="*/ 0 w 276"/>
                <a:gd name="T105" fmla="*/ 0 h 246"/>
                <a:gd name="T106" fmla="*/ 0 w 276"/>
                <a:gd name="T107" fmla="*/ 0 h 246"/>
                <a:gd name="T108" fmla="*/ 0 w 276"/>
                <a:gd name="T109" fmla="*/ 0 h 246"/>
                <a:gd name="T110" fmla="*/ 0 w 276"/>
                <a:gd name="T111" fmla="*/ 0 h 246"/>
                <a:gd name="T112" fmla="*/ 0 w 276"/>
                <a:gd name="T113" fmla="*/ 0 h 246"/>
                <a:gd name="T114" fmla="*/ 0 w 276"/>
                <a:gd name="T115" fmla="*/ 0 h 24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76"/>
                <a:gd name="T175" fmla="*/ 0 h 246"/>
                <a:gd name="T176" fmla="*/ 276 w 276"/>
                <a:gd name="T177" fmla="*/ 246 h 24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76" h="246">
                  <a:moveTo>
                    <a:pt x="269" y="181"/>
                  </a:moveTo>
                  <a:cubicBezTo>
                    <a:pt x="264" y="178"/>
                    <a:pt x="260" y="190"/>
                    <a:pt x="253" y="179"/>
                  </a:cubicBezTo>
                  <a:cubicBezTo>
                    <a:pt x="246" y="168"/>
                    <a:pt x="250" y="164"/>
                    <a:pt x="255" y="160"/>
                  </a:cubicBezTo>
                  <a:cubicBezTo>
                    <a:pt x="260" y="156"/>
                    <a:pt x="248" y="134"/>
                    <a:pt x="248" y="134"/>
                  </a:cubicBezTo>
                  <a:cubicBezTo>
                    <a:pt x="240" y="124"/>
                    <a:pt x="240" y="124"/>
                    <a:pt x="240" y="124"/>
                  </a:cubicBezTo>
                  <a:cubicBezTo>
                    <a:pt x="239" y="106"/>
                    <a:pt x="239" y="106"/>
                    <a:pt x="239" y="106"/>
                  </a:cubicBezTo>
                  <a:cubicBezTo>
                    <a:pt x="230" y="92"/>
                    <a:pt x="230" y="92"/>
                    <a:pt x="230" y="92"/>
                  </a:cubicBezTo>
                  <a:cubicBezTo>
                    <a:pt x="213" y="86"/>
                    <a:pt x="213" y="86"/>
                    <a:pt x="213" y="86"/>
                  </a:cubicBezTo>
                  <a:cubicBezTo>
                    <a:pt x="213" y="86"/>
                    <a:pt x="213" y="71"/>
                    <a:pt x="210" y="70"/>
                  </a:cubicBezTo>
                  <a:cubicBezTo>
                    <a:pt x="207" y="69"/>
                    <a:pt x="196" y="68"/>
                    <a:pt x="196" y="68"/>
                  </a:cubicBezTo>
                  <a:cubicBezTo>
                    <a:pt x="196" y="68"/>
                    <a:pt x="195" y="32"/>
                    <a:pt x="188" y="31"/>
                  </a:cubicBezTo>
                  <a:cubicBezTo>
                    <a:pt x="181" y="30"/>
                    <a:pt x="167" y="34"/>
                    <a:pt x="167" y="34"/>
                  </a:cubicBezTo>
                  <a:cubicBezTo>
                    <a:pt x="167" y="34"/>
                    <a:pt x="156" y="12"/>
                    <a:pt x="146" y="10"/>
                  </a:cubicBezTo>
                  <a:cubicBezTo>
                    <a:pt x="136" y="8"/>
                    <a:pt x="122" y="7"/>
                    <a:pt x="122" y="7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8" y="13"/>
                    <a:pt x="68" y="5"/>
                    <a:pt x="59" y="11"/>
                  </a:cubicBezTo>
                  <a:cubicBezTo>
                    <a:pt x="50" y="17"/>
                    <a:pt x="53" y="41"/>
                    <a:pt x="41" y="43"/>
                  </a:cubicBezTo>
                  <a:cubicBezTo>
                    <a:pt x="40" y="50"/>
                    <a:pt x="40" y="56"/>
                    <a:pt x="40" y="57"/>
                  </a:cubicBezTo>
                  <a:cubicBezTo>
                    <a:pt x="39" y="60"/>
                    <a:pt x="29" y="67"/>
                    <a:pt x="22" y="80"/>
                  </a:cubicBezTo>
                  <a:cubicBezTo>
                    <a:pt x="15" y="93"/>
                    <a:pt x="0" y="106"/>
                    <a:pt x="0" y="106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8" y="112"/>
                    <a:pt x="8" y="112"/>
                    <a:pt x="8" y="112"/>
                  </a:cubicBezTo>
                  <a:cubicBezTo>
                    <a:pt x="8" y="112"/>
                    <a:pt x="17" y="121"/>
                    <a:pt x="17" y="128"/>
                  </a:cubicBezTo>
                  <a:cubicBezTo>
                    <a:pt x="17" y="135"/>
                    <a:pt x="20" y="141"/>
                    <a:pt x="20" y="141"/>
                  </a:cubicBezTo>
                  <a:cubicBezTo>
                    <a:pt x="29" y="149"/>
                    <a:pt x="29" y="149"/>
                    <a:pt x="29" y="149"/>
                  </a:cubicBezTo>
                  <a:cubicBezTo>
                    <a:pt x="29" y="149"/>
                    <a:pt x="28" y="150"/>
                    <a:pt x="28" y="157"/>
                  </a:cubicBezTo>
                  <a:cubicBezTo>
                    <a:pt x="28" y="162"/>
                    <a:pt x="32" y="166"/>
                    <a:pt x="34" y="169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84" y="159"/>
                    <a:pt x="84" y="159"/>
                    <a:pt x="84" y="159"/>
                  </a:cubicBezTo>
                  <a:cubicBezTo>
                    <a:pt x="84" y="159"/>
                    <a:pt x="96" y="160"/>
                    <a:pt x="109" y="158"/>
                  </a:cubicBezTo>
                  <a:cubicBezTo>
                    <a:pt x="122" y="156"/>
                    <a:pt x="120" y="166"/>
                    <a:pt x="120" y="166"/>
                  </a:cubicBezTo>
                  <a:cubicBezTo>
                    <a:pt x="128" y="164"/>
                    <a:pt x="128" y="164"/>
                    <a:pt x="128" y="164"/>
                  </a:cubicBezTo>
                  <a:cubicBezTo>
                    <a:pt x="128" y="164"/>
                    <a:pt x="136" y="175"/>
                    <a:pt x="141" y="176"/>
                  </a:cubicBezTo>
                  <a:cubicBezTo>
                    <a:pt x="146" y="177"/>
                    <a:pt x="145" y="167"/>
                    <a:pt x="162" y="171"/>
                  </a:cubicBezTo>
                  <a:cubicBezTo>
                    <a:pt x="179" y="175"/>
                    <a:pt x="161" y="190"/>
                    <a:pt x="143" y="190"/>
                  </a:cubicBezTo>
                  <a:cubicBezTo>
                    <a:pt x="125" y="190"/>
                    <a:pt x="109" y="171"/>
                    <a:pt x="109" y="171"/>
                  </a:cubicBezTo>
                  <a:cubicBezTo>
                    <a:pt x="109" y="171"/>
                    <a:pt x="103" y="182"/>
                    <a:pt x="97" y="183"/>
                  </a:cubicBezTo>
                  <a:cubicBezTo>
                    <a:pt x="91" y="184"/>
                    <a:pt x="72" y="186"/>
                    <a:pt x="72" y="186"/>
                  </a:cubicBezTo>
                  <a:cubicBezTo>
                    <a:pt x="72" y="186"/>
                    <a:pt x="71" y="195"/>
                    <a:pt x="68" y="195"/>
                  </a:cubicBezTo>
                  <a:cubicBezTo>
                    <a:pt x="66" y="195"/>
                    <a:pt x="36" y="195"/>
                    <a:pt x="25" y="195"/>
                  </a:cubicBezTo>
                  <a:cubicBezTo>
                    <a:pt x="24" y="202"/>
                    <a:pt x="24" y="212"/>
                    <a:pt x="24" y="212"/>
                  </a:cubicBezTo>
                  <a:cubicBezTo>
                    <a:pt x="18" y="215"/>
                    <a:pt x="18" y="215"/>
                    <a:pt x="18" y="215"/>
                  </a:cubicBezTo>
                  <a:cubicBezTo>
                    <a:pt x="18" y="215"/>
                    <a:pt x="22" y="236"/>
                    <a:pt x="31" y="241"/>
                  </a:cubicBezTo>
                  <a:cubicBezTo>
                    <a:pt x="40" y="246"/>
                    <a:pt x="50" y="241"/>
                    <a:pt x="50" y="241"/>
                  </a:cubicBezTo>
                  <a:cubicBezTo>
                    <a:pt x="58" y="231"/>
                    <a:pt x="58" y="231"/>
                    <a:pt x="58" y="231"/>
                  </a:cubicBezTo>
                  <a:cubicBezTo>
                    <a:pt x="85" y="231"/>
                    <a:pt x="85" y="231"/>
                    <a:pt x="85" y="231"/>
                  </a:cubicBezTo>
                  <a:cubicBezTo>
                    <a:pt x="102" y="216"/>
                    <a:pt x="102" y="216"/>
                    <a:pt x="102" y="216"/>
                  </a:cubicBezTo>
                  <a:cubicBezTo>
                    <a:pt x="196" y="219"/>
                    <a:pt x="196" y="219"/>
                    <a:pt x="196" y="219"/>
                  </a:cubicBezTo>
                  <a:cubicBezTo>
                    <a:pt x="196" y="219"/>
                    <a:pt x="196" y="230"/>
                    <a:pt x="204" y="232"/>
                  </a:cubicBezTo>
                  <a:cubicBezTo>
                    <a:pt x="212" y="234"/>
                    <a:pt x="215" y="226"/>
                    <a:pt x="215" y="226"/>
                  </a:cubicBezTo>
                  <a:cubicBezTo>
                    <a:pt x="215" y="226"/>
                    <a:pt x="224" y="242"/>
                    <a:pt x="231" y="242"/>
                  </a:cubicBezTo>
                  <a:cubicBezTo>
                    <a:pt x="238" y="242"/>
                    <a:pt x="247" y="235"/>
                    <a:pt x="247" y="235"/>
                  </a:cubicBezTo>
                  <a:cubicBezTo>
                    <a:pt x="275" y="234"/>
                    <a:pt x="275" y="234"/>
                    <a:pt x="275" y="234"/>
                  </a:cubicBezTo>
                  <a:cubicBezTo>
                    <a:pt x="276" y="200"/>
                    <a:pt x="276" y="200"/>
                    <a:pt x="276" y="200"/>
                  </a:cubicBezTo>
                  <a:cubicBezTo>
                    <a:pt x="276" y="200"/>
                    <a:pt x="274" y="184"/>
                    <a:pt x="269" y="18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03" name="Freeform 119"/>
            <p:cNvSpPr>
              <a:spLocks/>
            </p:cNvSpPr>
            <p:nvPr/>
          </p:nvSpPr>
          <p:spPr bwMode="auto">
            <a:xfrm>
              <a:off x="2406" y="2494"/>
              <a:ext cx="130" cy="113"/>
            </a:xfrm>
            <a:custGeom>
              <a:avLst/>
              <a:gdLst>
                <a:gd name="T0" fmla="*/ 0 w 345"/>
                <a:gd name="T1" fmla="*/ 0 h 296"/>
                <a:gd name="T2" fmla="*/ 0 w 345"/>
                <a:gd name="T3" fmla="*/ 0 h 296"/>
                <a:gd name="T4" fmla="*/ 0 w 345"/>
                <a:gd name="T5" fmla="*/ 0 h 296"/>
                <a:gd name="T6" fmla="*/ 0 w 345"/>
                <a:gd name="T7" fmla="*/ 0 h 296"/>
                <a:gd name="T8" fmla="*/ 0 w 345"/>
                <a:gd name="T9" fmla="*/ 0 h 296"/>
                <a:gd name="T10" fmla="*/ 0 w 345"/>
                <a:gd name="T11" fmla="*/ 0 h 296"/>
                <a:gd name="T12" fmla="*/ 0 w 345"/>
                <a:gd name="T13" fmla="*/ 0 h 296"/>
                <a:gd name="T14" fmla="*/ 0 w 345"/>
                <a:gd name="T15" fmla="*/ 0 h 296"/>
                <a:gd name="T16" fmla="*/ 0 w 345"/>
                <a:gd name="T17" fmla="*/ 0 h 296"/>
                <a:gd name="T18" fmla="*/ 0 w 345"/>
                <a:gd name="T19" fmla="*/ 0 h 296"/>
                <a:gd name="T20" fmla="*/ 0 w 345"/>
                <a:gd name="T21" fmla="*/ 0 h 296"/>
                <a:gd name="T22" fmla="*/ 0 w 345"/>
                <a:gd name="T23" fmla="*/ 0 h 296"/>
                <a:gd name="T24" fmla="*/ 0 w 345"/>
                <a:gd name="T25" fmla="*/ 0 h 296"/>
                <a:gd name="T26" fmla="*/ 0 w 345"/>
                <a:gd name="T27" fmla="*/ 0 h 296"/>
                <a:gd name="T28" fmla="*/ 0 w 345"/>
                <a:gd name="T29" fmla="*/ 0 h 296"/>
                <a:gd name="T30" fmla="*/ 0 w 345"/>
                <a:gd name="T31" fmla="*/ 0 h 296"/>
                <a:gd name="T32" fmla="*/ 0 w 345"/>
                <a:gd name="T33" fmla="*/ 0 h 296"/>
                <a:gd name="T34" fmla="*/ 0 w 345"/>
                <a:gd name="T35" fmla="*/ 0 h 296"/>
                <a:gd name="T36" fmla="*/ 0 w 345"/>
                <a:gd name="T37" fmla="*/ 0 h 296"/>
                <a:gd name="T38" fmla="*/ 0 w 345"/>
                <a:gd name="T39" fmla="*/ 0 h 296"/>
                <a:gd name="T40" fmla="*/ 0 w 345"/>
                <a:gd name="T41" fmla="*/ 0 h 296"/>
                <a:gd name="T42" fmla="*/ 0 w 345"/>
                <a:gd name="T43" fmla="*/ 0 h 296"/>
                <a:gd name="T44" fmla="*/ 0 w 345"/>
                <a:gd name="T45" fmla="*/ 0 h 296"/>
                <a:gd name="T46" fmla="*/ 0 w 345"/>
                <a:gd name="T47" fmla="*/ 0 h 296"/>
                <a:gd name="T48" fmla="*/ 0 w 345"/>
                <a:gd name="T49" fmla="*/ 0 h 296"/>
                <a:gd name="T50" fmla="*/ 0 w 345"/>
                <a:gd name="T51" fmla="*/ 0 h 296"/>
                <a:gd name="T52" fmla="*/ 0 w 345"/>
                <a:gd name="T53" fmla="*/ 0 h 296"/>
                <a:gd name="T54" fmla="*/ 0 w 345"/>
                <a:gd name="T55" fmla="*/ 0 h 296"/>
                <a:gd name="T56" fmla="*/ 0 w 345"/>
                <a:gd name="T57" fmla="*/ 0 h 296"/>
                <a:gd name="T58" fmla="*/ 0 w 345"/>
                <a:gd name="T59" fmla="*/ 0 h 296"/>
                <a:gd name="T60" fmla="*/ 0 w 345"/>
                <a:gd name="T61" fmla="*/ 0 h 296"/>
                <a:gd name="T62" fmla="*/ 0 w 345"/>
                <a:gd name="T63" fmla="*/ 0 h 296"/>
                <a:gd name="T64" fmla="*/ 0 w 345"/>
                <a:gd name="T65" fmla="*/ 0 h 29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5"/>
                <a:gd name="T100" fmla="*/ 0 h 296"/>
                <a:gd name="T101" fmla="*/ 345 w 345"/>
                <a:gd name="T102" fmla="*/ 296 h 29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5" h="296">
                  <a:moveTo>
                    <a:pt x="60" y="0"/>
                  </a:move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45" y="15"/>
                    <a:pt x="45" y="26"/>
                  </a:cubicBezTo>
                  <a:cubicBezTo>
                    <a:pt x="45" y="37"/>
                    <a:pt x="62" y="32"/>
                    <a:pt x="61" y="47"/>
                  </a:cubicBezTo>
                  <a:cubicBezTo>
                    <a:pt x="60" y="62"/>
                    <a:pt x="49" y="58"/>
                    <a:pt x="39" y="58"/>
                  </a:cubicBezTo>
                  <a:cubicBezTo>
                    <a:pt x="29" y="58"/>
                    <a:pt x="22" y="65"/>
                    <a:pt x="22" y="65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6"/>
                    <a:pt x="4" y="100"/>
                    <a:pt x="9" y="102"/>
                  </a:cubicBezTo>
                  <a:cubicBezTo>
                    <a:pt x="14" y="104"/>
                    <a:pt x="19" y="103"/>
                    <a:pt x="19" y="103"/>
                  </a:cubicBezTo>
                  <a:cubicBezTo>
                    <a:pt x="19" y="103"/>
                    <a:pt x="10" y="127"/>
                    <a:pt x="25" y="134"/>
                  </a:cubicBezTo>
                  <a:cubicBezTo>
                    <a:pt x="40" y="141"/>
                    <a:pt x="45" y="138"/>
                    <a:pt x="45" y="138"/>
                  </a:cubicBezTo>
                  <a:cubicBezTo>
                    <a:pt x="45" y="138"/>
                    <a:pt x="42" y="150"/>
                    <a:pt x="46" y="154"/>
                  </a:cubicBezTo>
                  <a:cubicBezTo>
                    <a:pt x="50" y="158"/>
                    <a:pt x="59" y="149"/>
                    <a:pt x="59" y="149"/>
                  </a:cubicBezTo>
                  <a:cubicBezTo>
                    <a:pt x="59" y="149"/>
                    <a:pt x="63" y="169"/>
                    <a:pt x="67" y="176"/>
                  </a:cubicBezTo>
                  <a:cubicBezTo>
                    <a:pt x="71" y="183"/>
                    <a:pt x="86" y="194"/>
                    <a:pt x="86" y="194"/>
                  </a:cubicBezTo>
                  <a:cubicBezTo>
                    <a:pt x="98" y="194"/>
                    <a:pt x="117" y="152"/>
                    <a:pt x="117" y="152"/>
                  </a:cubicBezTo>
                  <a:cubicBezTo>
                    <a:pt x="142" y="152"/>
                    <a:pt x="142" y="152"/>
                    <a:pt x="142" y="152"/>
                  </a:cubicBezTo>
                  <a:cubicBezTo>
                    <a:pt x="146" y="140"/>
                    <a:pt x="146" y="140"/>
                    <a:pt x="146" y="140"/>
                  </a:cubicBezTo>
                  <a:cubicBezTo>
                    <a:pt x="172" y="140"/>
                    <a:pt x="172" y="140"/>
                    <a:pt x="172" y="140"/>
                  </a:cubicBezTo>
                  <a:cubicBezTo>
                    <a:pt x="200" y="181"/>
                    <a:pt x="200" y="181"/>
                    <a:pt x="200" y="181"/>
                  </a:cubicBezTo>
                  <a:cubicBezTo>
                    <a:pt x="197" y="190"/>
                    <a:pt x="197" y="190"/>
                    <a:pt x="197" y="190"/>
                  </a:cubicBezTo>
                  <a:cubicBezTo>
                    <a:pt x="197" y="190"/>
                    <a:pt x="208" y="202"/>
                    <a:pt x="208" y="210"/>
                  </a:cubicBezTo>
                  <a:cubicBezTo>
                    <a:pt x="208" y="218"/>
                    <a:pt x="197" y="226"/>
                    <a:pt x="197" y="226"/>
                  </a:cubicBezTo>
                  <a:cubicBezTo>
                    <a:pt x="196" y="239"/>
                    <a:pt x="196" y="239"/>
                    <a:pt x="196" y="239"/>
                  </a:cubicBezTo>
                  <a:cubicBezTo>
                    <a:pt x="215" y="228"/>
                    <a:pt x="215" y="228"/>
                    <a:pt x="215" y="228"/>
                  </a:cubicBezTo>
                  <a:cubicBezTo>
                    <a:pt x="231" y="232"/>
                    <a:pt x="231" y="232"/>
                    <a:pt x="231" y="232"/>
                  </a:cubicBezTo>
                  <a:cubicBezTo>
                    <a:pt x="231" y="232"/>
                    <a:pt x="228" y="214"/>
                    <a:pt x="247" y="227"/>
                  </a:cubicBezTo>
                  <a:cubicBezTo>
                    <a:pt x="266" y="240"/>
                    <a:pt x="257" y="286"/>
                    <a:pt x="257" y="286"/>
                  </a:cubicBezTo>
                  <a:cubicBezTo>
                    <a:pt x="265" y="286"/>
                    <a:pt x="265" y="286"/>
                    <a:pt x="265" y="286"/>
                  </a:cubicBezTo>
                  <a:cubicBezTo>
                    <a:pt x="265" y="286"/>
                    <a:pt x="266" y="296"/>
                    <a:pt x="277" y="296"/>
                  </a:cubicBezTo>
                  <a:cubicBezTo>
                    <a:pt x="288" y="296"/>
                    <a:pt x="288" y="274"/>
                    <a:pt x="293" y="270"/>
                  </a:cubicBezTo>
                  <a:cubicBezTo>
                    <a:pt x="298" y="266"/>
                    <a:pt x="313" y="279"/>
                    <a:pt x="320" y="276"/>
                  </a:cubicBezTo>
                  <a:cubicBezTo>
                    <a:pt x="327" y="273"/>
                    <a:pt x="320" y="255"/>
                    <a:pt x="320" y="255"/>
                  </a:cubicBezTo>
                  <a:cubicBezTo>
                    <a:pt x="332" y="252"/>
                    <a:pt x="332" y="252"/>
                    <a:pt x="332" y="252"/>
                  </a:cubicBezTo>
                  <a:cubicBezTo>
                    <a:pt x="332" y="252"/>
                    <a:pt x="314" y="239"/>
                    <a:pt x="314" y="229"/>
                  </a:cubicBezTo>
                  <a:cubicBezTo>
                    <a:pt x="314" y="219"/>
                    <a:pt x="344" y="233"/>
                    <a:pt x="344" y="233"/>
                  </a:cubicBezTo>
                  <a:cubicBezTo>
                    <a:pt x="344" y="233"/>
                    <a:pt x="345" y="227"/>
                    <a:pt x="345" y="220"/>
                  </a:cubicBezTo>
                  <a:cubicBezTo>
                    <a:pt x="345" y="213"/>
                    <a:pt x="330" y="218"/>
                    <a:pt x="329" y="210"/>
                  </a:cubicBezTo>
                  <a:cubicBezTo>
                    <a:pt x="328" y="202"/>
                    <a:pt x="338" y="193"/>
                    <a:pt x="338" y="193"/>
                  </a:cubicBezTo>
                  <a:cubicBezTo>
                    <a:pt x="328" y="189"/>
                    <a:pt x="328" y="189"/>
                    <a:pt x="328" y="189"/>
                  </a:cubicBezTo>
                  <a:cubicBezTo>
                    <a:pt x="335" y="176"/>
                    <a:pt x="335" y="176"/>
                    <a:pt x="335" y="176"/>
                  </a:cubicBezTo>
                  <a:cubicBezTo>
                    <a:pt x="323" y="175"/>
                    <a:pt x="323" y="175"/>
                    <a:pt x="323" y="175"/>
                  </a:cubicBezTo>
                  <a:cubicBezTo>
                    <a:pt x="318" y="148"/>
                    <a:pt x="318" y="148"/>
                    <a:pt x="318" y="148"/>
                  </a:cubicBezTo>
                  <a:cubicBezTo>
                    <a:pt x="331" y="134"/>
                    <a:pt x="331" y="134"/>
                    <a:pt x="331" y="134"/>
                  </a:cubicBezTo>
                  <a:cubicBezTo>
                    <a:pt x="312" y="115"/>
                    <a:pt x="312" y="115"/>
                    <a:pt x="312" y="115"/>
                  </a:cubicBezTo>
                  <a:cubicBezTo>
                    <a:pt x="312" y="90"/>
                    <a:pt x="312" y="90"/>
                    <a:pt x="312" y="90"/>
                  </a:cubicBezTo>
                  <a:cubicBezTo>
                    <a:pt x="293" y="91"/>
                    <a:pt x="293" y="91"/>
                    <a:pt x="293" y="91"/>
                  </a:cubicBezTo>
                  <a:cubicBezTo>
                    <a:pt x="310" y="68"/>
                    <a:pt x="310" y="68"/>
                    <a:pt x="310" y="68"/>
                  </a:cubicBezTo>
                  <a:cubicBezTo>
                    <a:pt x="287" y="52"/>
                    <a:pt x="287" y="52"/>
                    <a:pt x="287" y="52"/>
                  </a:cubicBezTo>
                  <a:cubicBezTo>
                    <a:pt x="293" y="35"/>
                    <a:pt x="293" y="35"/>
                    <a:pt x="293" y="35"/>
                  </a:cubicBezTo>
                  <a:cubicBezTo>
                    <a:pt x="284" y="26"/>
                    <a:pt x="284" y="26"/>
                    <a:pt x="284" y="26"/>
                  </a:cubicBezTo>
                  <a:cubicBezTo>
                    <a:pt x="284" y="26"/>
                    <a:pt x="291" y="19"/>
                    <a:pt x="275" y="11"/>
                  </a:cubicBezTo>
                  <a:cubicBezTo>
                    <a:pt x="259" y="3"/>
                    <a:pt x="261" y="27"/>
                    <a:pt x="261" y="27"/>
                  </a:cubicBezTo>
                  <a:cubicBezTo>
                    <a:pt x="249" y="36"/>
                    <a:pt x="249" y="36"/>
                    <a:pt x="249" y="36"/>
                  </a:cubicBezTo>
                  <a:cubicBezTo>
                    <a:pt x="249" y="36"/>
                    <a:pt x="227" y="25"/>
                    <a:pt x="222" y="23"/>
                  </a:cubicBezTo>
                  <a:cubicBezTo>
                    <a:pt x="217" y="21"/>
                    <a:pt x="203" y="44"/>
                    <a:pt x="203" y="44"/>
                  </a:cubicBezTo>
                  <a:cubicBezTo>
                    <a:pt x="203" y="44"/>
                    <a:pt x="200" y="23"/>
                    <a:pt x="191" y="23"/>
                  </a:cubicBezTo>
                  <a:cubicBezTo>
                    <a:pt x="182" y="23"/>
                    <a:pt x="178" y="39"/>
                    <a:pt x="174" y="41"/>
                  </a:cubicBezTo>
                  <a:cubicBezTo>
                    <a:pt x="170" y="43"/>
                    <a:pt x="166" y="16"/>
                    <a:pt x="166" y="16"/>
                  </a:cubicBezTo>
                  <a:cubicBezTo>
                    <a:pt x="138" y="17"/>
                    <a:pt x="138" y="17"/>
                    <a:pt x="138" y="17"/>
                  </a:cubicBezTo>
                  <a:cubicBezTo>
                    <a:pt x="138" y="17"/>
                    <a:pt x="129" y="24"/>
                    <a:pt x="122" y="24"/>
                  </a:cubicBezTo>
                  <a:cubicBezTo>
                    <a:pt x="115" y="24"/>
                    <a:pt x="106" y="8"/>
                    <a:pt x="106" y="8"/>
                  </a:cubicBezTo>
                  <a:cubicBezTo>
                    <a:pt x="106" y="8"/>
                    <a:pt x="103" y="16"/>
                    <a:pt x="95" y="14"/>
                  </a:cubicBezTo>
                  <a:cubicBezTo>
                    <a:pt x="87" y="12"/>
                    <a:pt x="87" y="1"/>
                    <a:pt x="87" y="1"/>
                  </a:cubicBezTo>
                  <a:lnTo>
                    <a:pt x="60" y="0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04" name="Freeform 120"/>
            <p:cNvSpPr>
              <a:spLocks/>
            </p:cNvSpPr>
            <p:nvPr/>
          </p:nvSpPr>
          <p:spPr bwMode="auto">
            <a:xfrm>
              <a:off x="2376" y="2199"/>
              <a:ext cx="217" cy="254"/>
            </a:xfrm>
            <a:custGeom>
              <a:avLst/>
              <a:gdLst>
                <a:gd name="T0" fmla="*/ 0 w 572"/>
                <a:gd name="T1" fmla="*/ 0 h 670"/>
                <a:gd name="T2" fmla="*/ 0 w 572"/>
                <a:gd name="T3" fmla="*/ 0 h 670"/>
                <a:gd name="T4" fmla="*/ 0 w 572"/>
                <a:gd name="T5" fmla="*/ 0 h 670"/>
                <a:gd name="T6" fmla="*/ 0 w 572"/>
                <a:gd name="T7" fmla="*/ 0 h 670"/>
                <a:gd name="T8" fmla="*/ 0 w 572"/>
                <a:gd name="T9" fmla="*/ 0 h 670"/>
                <a:gd name="T10" fmla="*/ 0 w 572"/>
                <a:gd name="T11" fmla="*/ 0 h 670"/>
                <a:gd name="T12" fmla="*/ 0 w 572"/>
                <a:gd name="T13" fmla="*/ 0 h 670"/>
                <a:gd name="T14" fmla="*/ 0 w 572"/>
                <a:gd name="T15" fmla="*/ 0 h 670"/>
                <a:gd name="T16" fmla="*/ 0 w 572"/>
                <a:gd name="T17" fmla="*/ 0 h 670"/>
                <a:gd name="T18" fmla="*/ 0 w 572"/>
                <a:gd name="T19" fmla="*/ 0 h 670"/>
                <a:gd name="T20" fmla="*/ 0 w 572"/>
                <a:gd name="T21" fmla="*/ 0 h 670"/>
                <a:gd name="T22" fmla="*/ 0 w 572"/>
                <a:gd name="T23" fmla="*/ 0 h 670"/>
                <a:gd name="T24" fmla="*/ 0 w 572"/>
                <a:gd name="T25" fmla="*/ 0 h 670"/>
                <a:gd name="T26" fmla="*/ 0 w 572"/>
                <a:gd name="T27" fmla="*/ 0 h 670"/>
                <a:gd name="T28" fmla="*/ 0 w 572"/>
                <a:gd name="T29" fmla="*/ 0 h 670"/>
                <a:gd name="T30" fmla="*/ 0 w 572"/>
                <a:gd name="T31" fmla="*/ 0 h 670"/>
                <a:gd name="T32" fmla="*/ 0 w 572"/>
                <a:gd name="T33" fmla="*/ 0 h 670"/>
                <a:gd name="T34" fmla="*/ 0 w 572"/>
                <a:gd name="T35" fmla="*/ 0 h 670"/>
                <a:gd name="T36" fmla="*/ 0 w 572"/>
                <a:gd name="T37" fmla="*/ 0 h 670"/>
                <a:gd name="T38" fmla="*/ 0 w 572"/>
                <a:gd name="T39" fmla="*/ 0 h 670"/>
                <a:gd name="T40" fmla="*/ 0 w 572"/>
                <a:gd name="T41" fmla="*/ 0 h 670"/>
                <a:gd name="T42" fmla="*/ 0 w 572"/>
                <a:gd name="T43" fmla="*/ 0 h 670"/>
                <a:gd name="T44" fmla="*/ 0 w 572"/>
                <a:gd name="T45" fmla="*/ 0 h 670"/>
                <a:gd name="T46" fmla="*/ 0 w 572"/>
                <a:gd name="T47" fmla="*/ 0 h 670"/>
                <a:gd name="T48" fmla="*/ 0 w 572"/>
                <a:gd name="T49" fmla="*/ 0 h 670"/>
                <a:gd name="T50" fmla="*/ 0 w 572"/>
                <a:gd name="T51" fmla="*/ 0 h 670"/>
                <a:gd name="T52" fmla="*/ 0 w 572"/>
                <a:gd name="T53" fmla="*/ 0 h 670"/>
                <a:gd name="T54" fmla="*/ 0 w 572"/>
                <a:gd name="T55" fmla="*/ 0 h 670"/>
                <a:gd name="T56" fmla="*/ 0 w 572"/>
                <a:gd name="T57" fmla="*/ 0 h 670"/>
                <a:gd name="T58" fmla="*/ 0 w 572"/>
                <a:gd name="T59" fmla="*/ 0 h 670"/>
                <a:gd name="T60" fmla="*/ 0 w 572"/>
                <a:gd name="T61" fmla="*/ 0 h 670"/>
                <a:gd name="T62" fmla="*/ 0 w 572"/>
                <a:gd name="T63" fmla="*/ 0 h 670"/>
                <a:gd name="T64" fmla="*/ 0 w 572"/>
                <a:gd name="T65" fmla="*/ 0 h 670"/>
                <a:gd name="T66" fmla="*/ 0 w 572"/>
                <a:gd name="T67" fmla="*/ 0 h 670"/>
                <a:gd name="T68" fmla="*/ 0 w 572"/>
                <a:gd name="T69" fmla="*/ 0 h 670"/>
                <a:gd name="T70" fmla="*/ 0 w 572"/>
                <a:gd name="T71" fmla="*/ 0 h 670"/>
                <a:gd name="T72" fmla="*/ 0 w 572"/>
                <a:gd name="T73" fmla="*/ 0 h 670"/>
                <a:gd name="T74" fmla="*/ 0 w 572"/>
                <a:gd name="T75" fmla="*/ 0 h 670"/>
                <a:gd name="T76" fmla="*/ 0 w 572"/>
                <a:gd name="T77" fmla="*/ 0 h 670"/>
                <a:gd name="T78" fmla="*/ 0 w 572"/>
                <a:gd name="T79" fmla="*/ 0 h 670"/>
                <a:gd name="T80" fmla="*/ 0 w 572"/>
                <a:gd name="T81" fmla="*/ 0 h 670"/>
                <a:gd name="T82" fmla="*/ 0 w 572"/>
                <a:gd name="T83" fmla="*/ 0 h 670"/>
                <a:gd name="T84" fmla="*/ 0 w 572"/>
                <a:gd name="T85" fmla="*/ 0 h 670"/>
                <a:gd name="T86" fmla="*/ 0 w 572"/>
                <a:gd name="T87" fmla="*/ 0 h 670"/>
                <a:gd name="T88" fmla="*/ 0 w 572"/>
                <a:gd name="T89" fmla="*/ 0 h 670"/>
                <a:gd name="T90" fmla="*/ 0 w 572"/>
                <a:gd name="T91" fmla="*/ 0 h 670"/>
                <a:gd name="T92" fmla="*/ 0 w 572"/>
                <a:gd name="T93" fmla="*/ 0 h 670"/>
                <a:gd name="T94" fmla="*/ 0 w 572"/>
                <a:gd name="T95" fmla="*/ 0 h 670"/>
                <a:gd name="T96" fmla="*/ 0 w 572"/>
                <a:gd name="T97" fmla="*/ 0 h 670"/>
                <a:gd name="T98" fmla="*/ 0 w 572"/>
                <a:gd name="T99" fmla="*/ 0 h 670"/>
                <a:gd name="T100" fmla="*/ 0 w 572"/>
                <a:gd name="T101" fmla="*/ 0 h 670"/>
                <a:gd name="T102" fmla="*/ 0 w 572"/>
                <a:gd name="T103" fmla="*/ 0 h 670"/>
                <a:gd name="T104" fmla="*/ 0 w 572"/>
                <a:gd name="T105" fmla="*/ 0 h 670"/>
                <a:gd name="T106" fmla="*/ 0 w 572"/>
                <a:gd name="T107" fmla="*/ 0 h 670"/>
                <a:gd name="T108" fmla="*/ 0 w 572"/>
                <a:gd name="T109" fmla="*/ 0 h 670"/>
                <a:gd name="T110" fmla="*/ 0 w 572"/>
                <a:gd name="T111" fmla="*/ 0 h 670"/>
                <a:gd name="T112" fmla="*/ 0 w 572"/>
                <a:gd name="T113" fmla="*/ 0 h 670"/>
                <a:gd name="T114" fmla="*/ 0 w 572"/>
                <a:gd name="T115" fmla="*/ 0 h 670"/>
                <a:gd name="T116" fmla="*/ 0 w 572"/>
                <a:gd name="T117" fmla="*/ 0 h 67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72"/>
                <a:gd name="T178" fmla="*/ 0 h 670"/>
                <a:gd name="T179" fmla="*/ 572 w 572"/>
                <a:gd name="T180" fmla="*/ 670 h 67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72" h="670">
                  <a:moveTo>
                    <a:pt x="0" y="332"/>
                  </a:moveTo>
                  <a:cubicBezTo>
                    <a:pt x="0" y="332"/>
                    <a:pt x="11" y="331"/>
                    <a:pt x="11" y="336"/>
                  </a:cubicBezTo>
                  <a:cubicBezTo>
                    <a:pt x="11" y="341"/>
                    <a:pt x="11" y="354"/>
                    <a:pt x="15" y="357"/>
                  </a:cubicBezTo>
                  <a:cubicBezTo>
                    <a:pt x="19" y="360"/>
                    <a:pt x="24" y="349"/>
                    <a:pt x="24" y="349"/>
                  </a:cubicBezTo>
                  <a:cubicBezTo>
                    <a:pt x="32" y="372"/>
                    <a:pt x="32" y="372"/>
                    <a:pt x="32" y="372"/>
                  </a:cubicBezTo>
                  <a:cubicBezTo>
                    <a:pt x="30" y="403"/>
                    <a:pt x="30" y="403"/>
                    <a:pt x="30" y="403"/>
                  </a:cubicBezTo>
                  <a:cubicBezTo>
                    <a:pt x="21" y="403"/>
                    <a:pt x="21" y="403"/>
                    <a:pt x="21" y="403"/>
                  </a:cubicBezTo>
                  <a:cubicBezTo>
                    <a:pt x="24" y="417"/>
                    <a:pt x="24" y="417"/>
                    <a:pt x="24" y="417"/>
                  </a:cubicBezTo>
                  <a:cubicBezTo>
                    <a:pt x="16" y="423"/>
                    <a:pt x="16" y="423"/>
                    <a:pt x="16" y="423"/>
                  </a:cubicBezTo>
                  <a:cubicBezTo>
                    <a:pt x="16" y="423"/>
                    <a:pt x="39" y="452"/>
                    <a:pt x="39" y="470"/>
                  </a:cubicBezTo>
                  <a:cubicBezTo>
                    <a:pt x="39" y="488"/>
                    <a:pt x="33" y="509"/>
                    <a:pt x="33" y="509"/>
                  </a:cubicBezTo>
                  <a:cubicBezTo>
                    <a:pt x="31" y="538"/>
                    <a:pt x="31" y="538"/>
                    <a:pt x="31" y="538"/>
                  </a:cubicBezTo>
                  <a:cubicBezTo>
                    <a:pt x="31" y="538"/>
                    <a:pt x="15" y="555"/>
                    <a:pt x="12" y="570"/>
                  </a:cubicBezTo>
                  <a:cubicBezTo>
                    <a:pt x="10" y="579"/>
                    <a:pt x="10" y="594"/>
                    <a:pt x="10" y="605"/>
                  </a:cubicBezTo>
                  <a:cubicBezTo>
                    <a:pt x="22" y="603"/>
                    <a:pt x="19" y="579"/>
                    <a:pt x="28" y="573"/>
                  </a:cubicBezTo>
                  <a:cubicBezTo>
                    <a:pt x="37" y="567"/>
                    <a:pt x="47" y="575"/>
                    <a:pt x="47" y="575"/>
                  </a:cubicBezTo>
                  <a:cubicBezTo>
                    <a:pt x="55" y="571"/>
                    <a:pt x="55" y="571"/>
                    <a:pt x="55" y="571"/>
                  </a:cubicBezTo>
                  <a:cubicBezTo>
                    <a:pt x="78" y="572"/>
                    <a:pt x="78" y="572"/>
                    <a:pt x="78" y="572"/>
                  </a:cubicBezTo>
                  <a:cubicBezTo>
                    <a:pt x="78" y="562"/>
                    <a:pt x="78" y="562"/>
                    <a:pt x="78" y="562"/>
                  </a:cubicBezTo>
                  <a:cubicBezTo>
                    <a:pt x="91" y="569"/>
                    <a:pt x="91" y="569"/>
                    <a:pt x="91" y="569"/>
                  </a:cubicBezTo>
                  <a:cubicBezTo>
                    <a:pt x="91" y="569"/>
                    <a:pt x="105" y="570"/>
                    <a:pt x="115" y="572"/>
                  </a:cubicBezTo>
                  <a:cubicBezTo>
                    <a:pt x="125" y="574"/>
                    <a:pt x="136" y="596"/>
                    <a:pt x="136" y="596"/>
                  </a:cubicBezTo>
                  <a:cubicBezTo>
                    <a:pt x="136" y="596"/>
                    <a:pt x="150" y="592"/>
                    <a:pt x="157" y="593"/>
                  </a:cubicBezTo>
                  <a:cubicBezTo>
                    <a:pt x="164" y="594"/>
                    <a:pt x="165" y="630"/>
                    <a:pt x="165" y="630"/>
                  </a:cubicBezTo>
                  <a:cubicBezTo>
                    <a:pt x="165" y="630"/>
                    <a:pt x="176" y="631"/>
                    <a:pt x="179" y="632"/>
                  </a:cubicBezTo>
                  <a:cubicBezTo>
                    <a:pt x="182" y="633"/>
                    <a:pt x="182" y="648"/>
                    <a:pt x="182" y="648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8" y="668"/>
                    <a:pt x="208" y="668"/>
                    <a:pt x="208" y="668"/>
                  </a:cubicBezTo>
                  <a:cubicBezTo>
                    <a:pt x="208" y="668"/>
                    <a:pt x="220" y="670"/>
                    <a:pt x="228" y="667"/>
                  </a:cubicBezTo>
                  <a:cubicBezTo>
                    <a:pt x="236" y="664"/>
                    <a:pt x="233" y="654"/>
                    <a:pt x="232" y="653"/>
                  </a:cubicBezTo>
                  <a:cubicBezTo>
                    <a:pt x="232" y="634"/>
                    <a:pt x="234" y="625"/>
                    <a:pt x="247" y="625"/>
                  </a:cubicBezTo>
                  <a:cubicBezTo>
                    <a:pt x="260" y="625"/>
                    <a:pt x="272" y="650"/>
                    <a:pt x="272" y="650"/>
                  </a:cubicBezTo>
                  <a:cubicBezTo>
                    <a:pt x="282" y="633"/>
                    <a:pt x="282" y="633"/>
                    <a:pt x="282" y="633"/>
                  </a:cubicBezTo>
                  <a:cubicBezTo>
                    <a:pt x="304" y="633"/>
                    <a:pt x="304" y="633"/>
                    <a:pt x="304" y="633"/>
                  </a:cubicBezTo>
                  <a:cubicBezTo>
                    <a:pt x="310" y="639"/>
                    <a:pt x="310" y="639"/>
                    <a:pt x="310" y="639"/>
                  </a:cubicBezTo>
                  <a:cubicBezTo>
                    <a:pt x="310" y="639"/>
                    <a:pt x="327" y="636"/>
                    <a:pt x="335" y="635"/>
                  </a:cubicBezTo>
                  <a:cubicBezTo>
                    <a:pt x="343" y="634"/>
                    <a:pt x="341" y="622"/>
                    <a:pt x="345" y="621"/>
                  </a:cubicBezTo>
                  <a:cubicBezTo>
                    <a:pt x="349" y="620"/>
                    <a:pt x="349" y="631"/>
                    <a:pt x="349" y="631"/>
                  </a:cubicBezTo>
                  <a:cubicBezTo>
                    <a:pt x="526" y="628"/>
                    <a:pt x="526" y="628"/>
                    <a:pt x="526" y="628"/>
                  </a:cubicBezTo>
                  <a:cubicBezTo>
                    <a:pt x="531" y="601"/>
                    <a:pt x="531" y="601"/>
                    <a:pt x="531" y="601"/>
                  </a:cubicBezTo>
                  <a:cubicBezTo>
                    <a:pt x="531" y="601"/>
                    <a:pt x="537" y="597"/>
                    <a:pt x="536" y="590"/>
                  </a:cubicBezTo>
                  <a:cubicBezTo>
                    <a:pt x="535" y="583"/>
                    <a:pt x="522" y="577"/>
                    <a:pt x="522" y="577"/>
                  </a:cubicBezTo>
                  <a:cubicBezTo>
                    <a:pt x="491" y="118"/>
                    <a:pt x="491" y="118"/>
                    <a:pt x="491" y="118"/>
                  </a:cubicBezTo>
                  <a:cubicBezTo>
                    <a:pt x="572" y="121"/>
                    <a:pt x="572" y="121"/>
                    <a:pt x="572" y="121"/>
                  </a:cubicBezTo>
                  <a:cubicBezTo>
                    <a:pt x="399" y="0"/>
                    <a:pt x="399" y="0"/>
                    <a:pt x="399" y="0"/>
                  </a:cubicBezTo>
                  <a:cubicBezTo>
                    <a:pt x="397" y="34"/>
                    <a:pt x="397" y="34"/>
                    <a:pt x="397" y="34"/>
                  </a:cubicBezTo>
                  <a:cubicBezTo>
                    <a:pt x="392" y="38"/>
                    <a:pt x="392" y="38"/>
                    <a:pt x="392" y="38"/>
                  </a:cubicBezTo>
                  <a:cubicBezTo>
                    <a:pt x="391" y="63"/>
                    <a:pt x="391" y="63"/>
                    <a:pt x="391" y="63"/>
                  </a:cubicBezTo>
                  <a:cubicBezTo>
                    <a:pt x="243" y="64"/>
                    <a:pt x="243" y="64"/>
                    <a:pt x="243" y="64"/>
                  </a:cubicBezTo>
                  <a:cubicBezTo>
                    <a:pt x="243" y="74"/>
                    <a:pt x="243" y="74"/>
                    <a:pt x="243" y="74"/>
                  </a:cubicBezTo>
                  <a:cubicBezTo>
                    <a:pt x="238" y="77"/>
                    <a:pt x="238" y="77"/>
                    <a:pt x="238" y="77"/>
                  </a:cubicBezTo>
                  <a:cubicBezTo>
                    <a:pt x="238" y="77"/>
                    <a:pt x="237" y="201"/>
                    <a:pt x="235" y="207"/>
                  </a:cubicBezTo>
                  <a:cubicBezTo>
                    <a:pt x="233" y="213"/>
                    <a:pt x="208" y="212"/>
                    <a:pt x="208" y="212"/>
                  </a:cubicBezTo>
                  <a:cubicBezTo>
                    <a:pt x="208" y="212"/>
                    <a:pt x="200" y="213"/>
                    <a:pt x="189" y="223"/>
                  </a:cubicBezTo>
                  <a:cubicBezTo>
                    <a:pt x="178" y="233"/>
                    <a:pt x="187" y="248"/>
                    <a:pt x="187" y="248"/>
                  </a:cubicBezTo>
                  <a:cubicBezTo>
                    <a:pt x="186" y="317"/>
                    <a:pt x="186" y="317"/>
                    <a:pt x="186" y="317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26"/>
                    <a:pt x="0" y="332"/>
                    <a:pt x="0" y="332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05" name="Freeform 121"/>
            <p:cNvSpPr>
              <a:spLocks/>
            </p:cNvSpPr>
            <p:nvPr/>
          </p:nvSpPr>
          <p:spPr bwMode="auto">
            <a:xfrm>
              <a:off x="2573" y="2446"/>
              <a:ext cx="145" cy="114"/>
            </a:xfrm>
            <a:custGeom>
              <a:avLst/>
              <a:gdLst>
                <a:gd name="T0" fmla="*/ 0 w 382"/>
                <a:gd name="T1" fmla="*/ 0 h 300"/>
                <a:gd name="T2" fmla="*/ 0 w 382"/>
                <a:gd name="T3" fmla="*/ 0 h 300"/>
                <a:gd name="T4" fmla="*/ 0 w 382"/>
                <a:gd name="T5" fmla="*/ 0 h 300"/>
                <a:gd name="T6" fmla="*/ 0 w 382"/>
                <a:gd name="T7" fmla="*/ 0 h 300"/>
                <a:gd name="T8" fmla="*/ 0 w 382"/>
                <a:gd name="T9" fmla="*/ 0 h 300"/>
                <a:gd name="T10" fmla="*/ 0 w 382"/>
                <a:gd name="T11" fmla="*/ 0 h 300"/>
                <a:gd name="T12" fmla="*/ 0 w 382"/>
                <a:gd name="T13" fmla="*/ 0 h 300"/>
                <a:gd name="T14" fmla="*/ 0 w 382"/>
                <a:gd name="T15" fmla="*/ 0 h 300"/>
                <a:gd name="T16" fmla="*/ 0 w 382"/>
                <a:gd name="T17" fmla="*/ 0 h 300"/>
                <a:gd name="T18" fmla="*/ 0 w 382"/>
                <a:gd name="T19" fmla="*/ 0 h 300"/>
                <a:gd name="T20" fmla="*/ 0 w 382"/>
                <a:gd name="T21" fmla="*/ 0 h 300"/>
                <a:gd name="T22" fmla="*/ 0 w 382"/>
                <a:gd name="T23" fmla="*/ 0 h 300"/>
                <a:gd name="T24" fmla="*/ 0 w 382"/>
                <a:gd name="T25" fmla="*/ 0 h 300"/>
                <a:gd name="T26" fmla="*/ 0 w 382"/>
                <a:gd name="T27" fmla="*/ 0 h 300"/>
                <a:gd name="T28" fmla="*/ 0 w 382"/>
                <a:gd name="T29" fmla="*/ 0 h 300"/>
                <a:gd name="T30" fmla="*/ 0 w 382"/>
                <a:gd name="T31" fmla="*/ 0 h 300"/>
                <a:gd name="T32" fmla="*/ 0 w 382"/>
                <a:gd name="T33" fmla="*/ 0 h 300"/>
                <a:gd name="T34" fmla="*/ 0 w 382"/>
                <a:gd name="T35" fmla="*/ 0 h 300"/>
                <a:gd name="T36" fmla="*/ 0 w 382"/>
                <a:gd name="T37" fmla="*/ 0 h 300"/>
                <a:gd name="T38" fmla="*/ 0 w 382"/>
                <a:gd name="T39" fmla="*/ 0 h 300"/>
                <a:gd name="T40" fmla="*/ 0 w 382"/>
                <a:gd name="T41" fmla="*/ 0 h 300"/>
                <a:gd name="T42" fmla="*/ 0 w 382"/>
                <a:gd name="T43" fmla="*/ 0 h 300"/>
                <a:gd name="T44" fmla="*/ 0 w 382"/>
                <a:gd name="T45" fmla="*/ 0 h 300"/>
                <a:gd name="T46" fmla="*/ 0 w 382"/>
                <a:gd name="T47" fmla="*/ 0 h 300"/>
                <a:gd name="T48" fmla="*/ 0 w 382"/>
                <a:gd name="T49" fmla="*/ 0 h 300"/>
                <a:gd name="T50" fmla="*/ 0 w 382"/>
                <a:gd name="T51" fmla="*/ 0 h 300"/>
                <a:gd name="T52" fmla="*/ 0 w 382"/>
                <a:gd name="T53" fmla="*/ 0 h 300"/>
                <a:gd name="T54" fmla="*/ 0 w 382"/>
                <a:gd name="T55" fmla="*/ 0 h 300"/>
                <a:gd name="T56" fmla="*/ 0 w 382"/>
                <a:gd name="T57" fmla="*/ 0 h 300"/>
                <a:gd name="T58" fmla="*/ 0 w 382"/>
                <a:gd name="T59" fmla="*/ 0 h 300"/>
                <a:gd name="T60" fmla="*/ 0 w 382"/>
                <a:gd name="T61" fmla="*/ 0 h 300"/>
                <a:gd name="T62" fmla="*/ 0 w 382"/>
                <a:gd name="T63" fmla="*/ 0 h 300"/>
                <a:gd name="T64" fmla="*/ 0 w 382"/>
                <a:gd name="T65" fmla="*/ 0 h 300"/>
                <a:gd name="T66" fmla="*/ 0 w 382"/>
                <a:gd name="T67" fmla="*/ 0 h 3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82"/>
                <a:gd name="T103" fmla="*/ 0 h 300"/>
                <a:gd name="T104" fmla="*/ 382 w 382"/>
                <a:gd name="T105" fmla="*/ 300 h 30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82" h="300">
                  <a:moveTo>
                    <a:pt x="0" y="209"/>
                  </a:moveTo>
                  <a:cubicBezTo>
                    <a:pt x="3" y="246"/>
                    <a:pt x="3" y="246"/>
                    <a:pt x="3" y="246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19" y="256"/>
                    <a:pt x="19" y="256"/>
                    <a:pt x="19" y="256"/>
                  </a:cubicBezTo>
                  <a:cubicBezTo>
                    <a:pt x="19" y="256"/>
                    <a:pt x="29" y="287"/>
                    <a:pt x="39" y="288"/>
                  </a:cubicBezTo>
                  <a:cubicBezTo>
                    <a:pt x="49" y="289"/>
                    <a:pt x="59" y="293"/>
                    <a:pt x="59" y="293"/>
                  </a:cubicBezTo>
                  <a:cubicBezTo>
                    <a:pt x="59" y="293"/>
                    <a:pt x="70" y="271"/>
                    <a:pt x="100" y="275"/>
                  </a:cubicBezTo>
                  <a:cubicBezTo>
                    <a:pt x="130" y="279"/>
                    <a:pt x="124" y="300"/>
                    <a:pt x="124" y="300"/>
                  </a:cubicBezTo>
                  <a:cubicBezTo>
                    <a:pt x="136" y="298"/>
                    <a:pt x="136" y="298"/>
                    <a:pt x="136" y="298"/>
                  </a:cubicBezTo>
                  <a:cubicBezTo>
                    <a:pt x="132" y="299"/>
                    <a:pt x="132" y="299"/>
                    <a:pt x="132" y="299"/>
                  </a:cubicBezTo>
                  <a:cubicBezTo>
                    <a:pt x="131" y="263"/>
                    <a:pt x="131" y="263"/>
                    <a:pt x="131" y="263"/>
                  </a:cubicBezTo>
                  <a:cubicBezTo>
                    <a:pt x="130" y="245"/>
                    <a:pt x="130" y="245"/>
                    <a:pt x="130" y="245"/>
                  </a:cubicBezTo>
                  <a:cubicBezTo>
                    <a:pt x="130" y="245"/>
                    <a:pt x="124" y="244"/>
                    <a:pt x="124" y="236"/>
                  </a:cubicBezTo>
                  <a:cubicBezTo>
                    <a:pt x="124" y="228"/>
                    <a:pt x="132" y="219"/>
                    <a:pt x="132" y="219"/>
                  </a:cubicBezTo>
                  <a:cubicBezTo>
                    <a:pt x="187" y="222"/>
                    <a:pt x="187" y="222"/>
                    <a:pt x="187" y="222"/>
                  </a:cubicBezTo>
                  <a:cubicBezTo>
                    <a:pt x="192" y="219"/>
                    <a:pt x="192" y="219"/>
                    <a:pt x="192" y="219"/>
                  </a:cubicBezTo>
                  <a:cubicBezTo>
                    <a:pt x="204" y="222"/>
                    <a:pt x="204" y="222"/>
                    <a:pt x="204" y="222"/>
                  </a:cubicBezTo>
                  <a:cubicBezTo>
                    <a:pt x="215" y="219"/>
                    <a:pt x="215" y="219"/>
                    <a:pt x="215" y="219"/>
                  </a:cubicBezTo>
                  <a:cubicBezTo>
                    <a:pt x="235" y="222"/>
                    <a:pt x="235" y="222"/>
                    <a:pt x="235" y="222"/>
                  </a:cubicBezTo>
                  <a:cubicBezTo>
                    <a:pt x="251" y="212"/>
                    <a:pt x="251" y="212"/>
                    <a:pt x="251" y="212"/>
                  </a:cubicBezTo>
                  <a:cubicBezTo>
                    <a:pt x="265" y="216"/>
                    <a:pt x="265" y="216"/>
                    <a:pt x="265" y="216"/>
                  </a:cubicBezTo>
                  <a:cubicBezTo>
                    <a:pt x="276" y="215"/>
                    <a:pt x="276" y="215"/>
                    <a:pt x="276" y="215"/>
                  </a:cubicBezTo>
                  <a:cubicBezTo>
                    <a:pt x="291" y="222"/>
                    <a:pt x="291" y="222"/>
                    <a:pt x="291" y="222"/>
                  </a:cubicBezTo>
                  <a:cubicBezTo>
                    <a:pt x="305" y="221"/>
                    <a:pt x="305" y="221"/>
                    <a:pt x="305" y="221"/>
                  </a:cubicBezTo>
                  <a:cubicBezTo>
                    <a:pt x="310" y="214"/>
                    <a:pt x="310" y="214"/>
                    <a:pt x="310" y="214"/>
                  </a:cubicBezTo>
                  <a:cubicBezTo>
                    <a:pt x="318" y="214"/>
                    <a:pt x="318" y="214"/>
                    <a:pt x="318" y="214"/>
                  </a:cubicBezTo>
                  <a:cubicBezTo>
                    <a:pt x="318" y="214"/>
                    <a:pt x="320" y="200"/>
                    <a:pt x="331" y="195"/>
                  </a:cubicBezTo>
                  <a:cubicBezTo>
                    <a:pt x="331" y="196"/>
                    <a:pt x="357" y="197"/>
                    <a:pt x="357" y="197"/>
                  </a:cubicBezTo>
                  <a:cubicBezTo>
                    <a:pt x="357" y="197"/>
                    <a:pt x="358" y="190"/>
                    <a:pt x="362" y="187"/>
                  </a:cubicBezTo>
                  <a:cubicBezTo>
                    <a:pt x="366" y="184"/>
                    <a:pt x="373" y="183"/>
                    <a:pt x="373" y="183"/>
                  </a:cubicBezTo>
                  <a:cubicBezTo>
                    <a:pt x="376" y="172"/>
                    <a:pt x="376" y="172"/>
                    <a:pt x="376" y="172"/>
                  </a:cubicBezTo>
                  <a:cubicBezTo>
                    <a:pt x="382" y="170"/>
                    <a:pt x="382" y="170"/>
                    <a:pt x="382" y="170"/>
                  </a:cubicBezTo>
                  <a:cubicBezTo>
                    <a:pt x="375" y="167"/>
                    <a:pt x="375" y="167"/>
                    <a:pt x="375" y="167"/>
                  </a:cubicBezTo>
                  <a:cubicBezTo>
                    <a:pt x="360" y="145"/>
                    <a:pt x="360" y="145"/>
                    <a:pt x="360" y="145"/>
                  </a:cubicBezTo>
                  <a:cubicBezTo>
                    <a:pt x="375" y="140"/>
                    <a:pt x="375" y="140"/>
                    <a:pt x="375" y="140"/>
                  </a:cubicBezTo>
                  <a:cubicBezTo>
                    <a:pt x="375" y="140"/>
                    <a:pt x="373" y="130"/>
                    <a:pt x="364" y="126"/>
                  </a:cubicBezTo>
                  <a:cubicBezTo>
                    <a:pt x="355" y="122"/>
                    <a:pt x="356" y="131"/>
                    <a:pt x="344" y="131"/>
                  </a:cubicBezTo>
                  <a:cubicBezTo>
                    <a:pt x="332" y="131"/>
                    <a:pt x="313" y="109"/>
                    <a:pt x="310" y="104"/>
                  </a:cubicBezTo>
                  <a:cubicBezTo>
                    <a:pt x="307" y="99"/>
                    <a:pt x="322" y="88"/>
                    <a:pt x="322" y="88"/>
                  </a:cubicBezTo>
                  <a:cubicBezTo>
                    <a:pt x="312" y="87"/>
                    <a:pt x="312" y="87"/>
                    <a:pt x="312" y="87"/>
                  </a:cubicBezTo>
                  <a:cubicBezTo>
                    <a:pt x="311" y="78"/>
                    <a:pt x="311" y="78"/>
                    <a:pt x="311" y="78"/>
                  </a:cubicBezTo>
                  <a:cubicBezTo>
                    <a:pt x="311" y="78"/>
                    <a:pt x="299" y="79"/>
                    <a:pt x="289" y="72"/>
                  </a:cubicBezTo>
                  <a:cubicBezTo>
                    <a:pt x="279" y="65"/>
                    <a:pt x="280" y="41"/>
                    <a:pt x="280" y="41"/>
                  </a:cubicBezTo>
                  <a:cubicBezTo>
                    <a:pt x="277" y="32"/>
                    <a:pt x="277" y="32"/>
                    <a:pt x="277" y="32"/>
                  </a:cubicBezTo>
                  <a:cubicBezTo>
                    <a:pt x="276" y="9"/>
                    <a:pt x="276" y="9"/>
                    <a:pt x="276" y="9"/>
                  </a:cubicBezTo>
                  <a:cubicBezTo>
                    <a:pt x="260" y="2"/>
                    <a:pt x="260" y="2"/>
                    <a:pt x="260" y="2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27" y="0"/>
                    <a:pt x="225" y="8"/>
                    <a:pt x="215" y="12"/>
                  </a:cubicBezTo>
                  <a:cubicBezTo>
                    <a:pt x="205" y="16"/>
                    <a:pt x="201" y="14"/>
                    <a:pt x="201" y="14"/>
                  </a:cubicBezTo>
                  <a:cubicBezTo>
                    <a:pt x="190" y="28"/>
                    <a:pt x="190" y="28"/>
                    <a:pt x="190" y="28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173" y="28"/>
                    <a:pt x="172" y="49"/>
                    <a:pt x="169" y="50"/>
                  </a:cubicBezTo>
                  <a:cubicBezTo>
                    <a:pt x="166" y="51"/>
                    <a:pt x="154" y="39"/>
                    <a:pt x="148" y="41"/>
                  </a:cubicBezTo>
                  <a:cubicBezTo>
                    <a:pt x="142" y="43"/>
                    <a:pt x="125" y="72"/>
                    <a:pt x="125" y="72"/>
                  </a:cubicBezTo>
                  <a:cubicBezTo>
                    <a:pt x="112" y="72"/>
                    <a:pt x="112" y="72"/>
                    <a:pt x="112" y="72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97" y="101"/>
                    <a:pt x="97" y="101"/>
                    <a:pt x="97" y="101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63" y="102"/>
                    <a:pt x="63" y="102"/>
                    <a:pt x="63" y="102"/>
                  </a:cubicBezTo>
                  <a:cubicBezTo>
                    <a:pt x="63" y="102"/>
                    <a:pt x="71" y="116"/>
                    <a:pt x="69" y="121"/>
                  </a:cubicBezTo>
                  <a:cubicBezTo>
                    <a:pt x="67" y="126"/>
                    <a:pt x="55" y="124"/>
                    <a:pt x="55" y="124"/>
                  </a:cubicBezTo>
                  <a:cubicBezTo>
                    <a:pt x="55" y="124"/>
                    <a:pt x="60" y="141"/>
                    <a:pt x="57" y="145"/>
                  </a:cubicBezTo>
                  <a:cubicBezTo>
                    <a:pt x="54" y="149"/>
                    <a:pt x="47" y="150"/>
                    <a:pt x="47" y="150"/>
                  </a:cubicBezTo>
                  <a:cubicBezTo>
                    <a:pt x="47" y="150"/>
                    <a:pt x="60" y="160"/>
                    <a:pt x="48" y="161"/>
                  </a:cubicBezTo>
                  <a:cubicBezTo>
                    <a:pt x="36" y="162"/>
                    <a:pt x="21" y="165"/>
                    <a:pt x="21" y="16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23" y="194"/>
                    <a:pt x="23" y="194"/>
                    <a:pt x="23" y="194"/>
                  </a:cubicBezTo>
                  <a:cubicBezTo>
                    <a:pt x="15" y="209"/>
                    <a:pt x="15" y="209"/>
                    <a:pt x="15" y="209"/>
                  </a:cubicBezTo>
                  <a:lnTo>
                    <a:pt x="0" y="209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06" name="Freeform 122"/>
            <p:cNvSpPr>
              <a:spLocks/>
            </p:cNvSpPr>
            <p:nvPr/>
          </p:nvSpPr>
          <p:spPr bwMode="auto">
            <a:xfrm>
              <a:off x="2517" y="2535"/>
              <a:ext cx="111" cy="130"/>
            </a:xfrm>
            <a:custGeom>
              <a:avLst/>
              <a:gdLst>
                <a:gd name="T0" fmla="*/ 0 w 291"/>
                <a:gd name="T1" fmla="*/ 0 h 343"/>
                <a:gd name="T2" fmla="*/ 0 w 291"/>
                <a:gd name="T3" fmla="*/ 0 h 343"/>
                <a:gd name="T4" fmla="*/ 0 w 291"/>
                <a:gd name="T5" fmla="*/ 0 h 343"/>
                <a:gd name="T6" fmla="*/ 0 w 291"/>
                <a:gd name="T7" fmla="*/ 0 h 343"/>
                <a:gd name="T8" fmla="*/ 0 w 291"/>
                <a:gd name="T9" fmla="*/ 0 h 343"/>
                <a:gd name="T10" fmla="*/ 0 w 291"/>
                <a:gd name="T11" fmla="*/ 0 h 343"/>
                <a:gd name="T12" fmla="*/ 0 w 291"/>
                <a:gd name="T13" fmla="*/ 0 h 343"/>
                <a:gd name="T14" fmla="*/ 0 w 291"/>
                <a:gd name="T15" fmla="*/ 0 h 343"/>
                <a:gd name="T16" fmla="*/ 0 w 291"/>
                <a:gd name="T17" fmla="*/ 0 h 343"/>
                <a:gd name="T18" fmla="*/ 0 w 291"/>
                <a:gd name="T19" fmla="*/ 0 h 343"/>
                <a:gd name="T20" fmla="*/ 0 w 291"/>
                <a:gd name="T21" fmla="*/ 0 h 343"/>
                <a:gd name="T22" fmla="*/ 0 w 291"/>
                <a:gd name="T23" fmla="*/ 0 h 343"/>
                <a:gd name="T24" fmla="*/ 0 w 291"/>
                <a:gd name="T25" fmla="*/ 0 h 343"/>
                <a:gd name="T26" fmla="*/ 0 w 291"/>
                <a:gd name="T27" fmla="*/ 0 h 343"/>
                <a:gd name="T28" fmla="*/ 0 w 291"/>
                <a:gd name="T29" fmla="*/ 0 h 343"/>
                <a:gd name="T30" fmla="*/ 0 w 291"/>
                <a:gd name="T31" fmla="*/ 0 h 343"/>
                <a:gd name="T32" fmla="*/ 0 w 291"/>
                <a:gd name="T33" fmla="*/ 0 h 343"/>
                <a:gd name="T34" fmla="*/ 0 w 291"/>
                <a:gd name="T35" fmla="*/ 0 h 343"/>
                <a:gd name="T36" fmla="*/ 0 w 291"/>
                <a:gd name="T37" fmla="*/ 0 h 343"/>
                <a:gd name="T38" fmla="*/ 0 w 291"/>
                <a:gd name="T39" fmla="*/ 0 h 343"/>
                <a:gd name="T40" fmla="*/ 0 w 291"/>
                <a:gd name="T41" fmla="*/ 0 h 343"/>
                <a:gd name="T42" fmla="*/ 0 w 291"/>
                <a:gd name="T43" fmla="*/ 0 h 343"/>
                <a:gd name="T44" fmla="*/ 0 w 291"/>
                <a:gd name="T45" fmla="*/ 0 h 343"/>
                <a:gd name="T46" fmla="*/ 0 w 291"/>
                <a:gd name="T47" fmla="*/ 0 h 343"/>
                <a:gd name="T48" fmla="*/ 0 w 291"/>
                <a:gd name="T49" fmla="*/ 0 h 343"/>
                <a:gd name="T50" fmla="*/ 0 w 291"/>
                <a:gd name="T51" fmla="*/ 0 h 343"/>
                <a:gd name="T52" fmla="*/ 0 w 291"/>
                <a:gd name="T53" fmla="*/ 0 h 343"/>
                <a:gd name="T54" fmla="*/ 0 w 291"/>
                <a:gd name="T55" fmla="*/ 0 h 343"/>
                <a:gd name="T56" fmla="*/ 0 w 291"/>
                <a:gd name="T57" fmla="*/ 0 h 343"/>
                <a:gd name="T58" fmla="*/ 0 w 291"/>
                <a:gd name="T59" fmla="*/ 0 h 343"/>
                <a:gd name="T60" fmla="*/ 0 w 291"/>
                <a:gd name="T61" fmla="*/ 0 h 343"/>
                <a:gd name="T62" fmla="*/ 0 w 291"/>
                <a:gd name="T63" fmla="*/ 0 h 343"/>
                <a:gd name="T64" fmla="*/ 0 w 291"/>
                <a:gd name="T65" fmla="*/ 0 h 343"/>
                <a:gd name="T66" fmla="*/ 0 w 291"/>
                <a:gd name="T67" fmla="*/ 0 h 343"/>
                <a:gd name="T68" fmla="*/ 0 w 291"/>
                <a:gd name="T69" fmla="*/ 0 h 343"/>
                <a:gd name="T70" fmla="*/ 0 w 291"/>
                <a:gd name="T71" fmla="*/ 0 h 343"/>
                <a:gd name="T72" fmla="*/ 0 w 291"/>
                <a:gd name="T73" fmla="*/ 0 h 343"/>
                <a:gd name="T74" fmla="*/ 0 w 291"/>
                <a:gd name="T75" fmla="*/ 0 h 343"/>
                <a:gd name="T76" fmla="*/ 0 w 291"/>
                <a:gd name="T77" fmla="*/ 0 h 343"/>
                <a:gd name="T78" fmla="*/ 0 w 291"/>
                <a:gd name="T79" fmla="*/ 0 h 343"/>
                <a:gd name="T80" fmla="*/ 0 w 291"/>
                <a:gd name="T81" fmla="*/ 0 h 343"/>
                <a:gd name="T82" fmla="*/ 0 w 291"/>
                <a:gd name="T83" fmla="*/ 0 h 343"/>
                <a:gd name="T84" fmla="*/ 0 w 291"/>
                <a:gd name="T85" fmla="*/ 0 h 343"/>
                <a:gd name="T86" fmla="*/ 0 w 291"/>
                <a:gd name="T87" fmla="*/ 0 h 343"/>
                <a:gd name="T88" fmla="*/ 0 w 291"/>
                <a:gd name="T89" fmla="*/ 0 h 343"/>
                <a:gd name="T90" fmla="*/ 0 w 291"/>
                <a:gd name="T91" fmla="*/ 0 h 343"/>
                <a:gd name="T92" fmla="*/ 0 w 291"/>
                <a:gd name="T93" fmla="*/ 0 h 343"/>
                <a:gd name="T94" fmla="*/ 0 w 291"/>
                <a:gd name="T95" fmla="*/ 0 h 343"/>
                <a:gd name="T96" fmla="*/ 0 w 291"/>
                <a:gd name="T97" fmla="*/ 0 h 343"/>
                <a:gd name="T98" fmla="*/ 0 w 291"/>
                <a:gd name="T99" fmla="*/ 0 h 343"/>
                <a:gd name="T100" fmla="*/ 0 w 291"/>
                <a:gd name="T101" fmla="*/ 0 h 343"/>
                <a:gd name="T102" fmla="*/ 0 w 291"/>
                <a:gd name="T103" fmla="*/ 0 h 343"/>
                <a:gd name="T104" fmla="*/ 0 w 291"/>
                <a:gd name="T105" fmla="*/ 0 h 343"/>
                <a:gd name="T106" fmla="*/ 0 w 291"/>
                <a:gd name="T107" fmla="*/ 0 h 343"/>
                <a:gd name="T108" fmla="*/ 0 w 291"/>
                <a:gd name="T109" fmla="*/ 0 h 343"/>
                <a:gd name="T110" fmla="*/ 0 w 291"/>
                <a:gd name="T111" fmla="*/ 0 h 343"/>
                <a:gd name="T112" fmla="*/ 0 w 291"/>
                <a:gd name="T113" fmla="*/ 0 h 343"/>
                <a:gd name="T114" fmla="*/ 0 w 291"/>
                <a:gd name="T115" fmla="*/ 0 h 343"/>
                <a:gd name="T116" fmla="*/ 0 w 291"/>
                <a:gd name="T117" fmla="*/ 0 h 343"/>
                <a:gd name="T118" fmla="*/ 0 w 291"/>
                <a:gd name="T119" fmla="*/ 0 h 34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1"/>
                <a:gd name="T181" fmla="*/ 0 h 343"/>
                <a:gd name="T182" fmla="*/ 291 w 291"/>
                <a:gd name="T183" fmla="*/ 343 h 34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1" h="343">
                  <a:moveTo>
                    <a:pt x="266" y="269"/>
                  </a:moveTo>
                  <a:cubicBezTo>
                    <a:pt x="266" y="269"/>
                    <a:pt x="253" y="233"/>
                    <a:pt x="253" y="219"/>
                  </a:cubicBezTo>
                  <a:cubicBezTo>
                    <a:pt x="253" y="205"/>
                    <a:pt x="273" y="187"/>
                    <a:pt x="273" y="187"/>
                  </a:cubicBezTo>
                  <a:cubicBezTo>
                    <a:pt x="273" y="187"/>
                    <a:pt x="274" y="165"/>
                    <a:pt x="274" y="157"/>
                  </a:cubicBezTo>
                  <a:cubicBezTo>
                    <a:pt x="274" y="149"/>
                    <a:pt x="291" y="142"/>
                    <a:pt x="291" y="130"/>
                  </a:cubicBezTo>
                  <a:cubicBezTo>
                    <a:pt x="291" y="118"/>
                    <a:pt x="279" y="84"/>
                    <a:pt x="279" y="84"/>
                  </a:cubicBezTo>
                  <a:cubicBezTo>
                    <a:pt x="287" y="83"/>
                    <a:pt x="287" y="83"/>
                    <a:pt x="287" y="83"/>
                  </a:cubicBezTo>
                  <a:cubicBezTo>
                    <a:pt x="283" y="64"/>
                    <a:pt x="283" y="64"/>
                    <a:pt x="283" y="64"/>
                  </a:cubicBezTo>
                  <a:cubicBezTo>
                    <a:pt x="271" y="66"/>
                    <a:pt x="271" y="66"/>
                    <a:pt x="271" y="66"/>
                  </a:cubicBezTo>
                  <a:cubicBezTo>
                    <a:pt x="271" y="66"/>
                    <a:pt x="277" y="45"/>
                    <a:pt x="247" y="41"/>
                  </a:cubicBezTo>
                  <a:cubicBezTo>
                    <a:pt x="217" y="37"/>
                    <a:pt x="206" y="59"/>
                    <a:pt x="206" y="59"/>
                  </a:cubicBezTo>
                  <a:cubicBezTo>
                    <a:pt x="206" y="59"/>
                    <a:pt x="196" y="55"/>
                    <a:pt x="186" y="54"/>
                  </a:cubicBezTo>
                  <a:cubicBezTo>
                    <a:pt x="176" y="53"/>
                    <a:pt x="166" y="22"/>
                    <a:pt x="166" y="22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35" y="12"/>
                    <a:pt x="131" y="26"/>
                    <a:pt x="131" y="26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71" y="17"/>
                    <a:pt x="55" y="15"/>
                  </a:cubicBezTo>
                  <a:cubicBezTo>
                    <a:pt x="39" y="13"/>
                    <a:pt x="42" y="30"/>
                    <a:pt x="42" y="30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3" y="86"/>
                    <a:pt x="33" y="95"/>
                    <a:pt x="34" y="103"/>
                  </a:cubicBezTo>
                  <a:cubicBezTo>
                    <a:pt x="35" y="111"/>
                    <a:pt x="50" y="106"/>
                    <a:pt x="50" y="113"/>
                  </a:cubicBezTo>
                  <a:cubicBezTo>
                    <a:pt x="50" y="120"/>
                    <a:pt x="49" y="126"/>
                    <a:pt x="49" y="126"/>
                  </a:cubicBezTo>
                  <a:cubicBezTo>
                    <a:pt x="49" y="126"/>
                    <a:pt x="19" y="112"/>
                    <a:pt x="19" y="122"/>
                  </a:cubicBezTo>
                  <a:cubicBezTo>
                    <a:pt x="19" y="132"/>
                    <a:pt x="37" y="145"/>
                    <a:pt x="37" y="145"/>
                  </a:cubicBezTo>
                  <a:cubicBezTo>
                    <a:pt x="25" y="148"/>
                    <a:pt x="25" y="148"/>
                    <a:pt x="25" y="148"/>
                  </a:cubicBezTo>
                  <a:cubicBezTo>
                    <a:pt x="25" y="148"/>
                    <a:pt x="32" y="166"/>
                    <a:pt x="25" y="169"/>
                  </a:cubicBezTo>
                  <a:cubicBezTo>
                    <a:pt x="19" y="171"/>
                    <a:pt x="9" y="164"/>
                    <a:pt x="2" y="162"/>
                  </a:cubicBezTo>
                  <a:cubicBezTo>
                    <a:pt x="7" y="172"/>
                    <a:pt x="15" y="186"/>
                    <a:pt x="15" y="196"/>
                  </a:cubicBezTo>
                  <a:cubicBezTo>
                    <a:pt x="15" y="211"/>
                    <a:pt x="0" y="225"/>
                    <a:pt x="1" y="228"/>
                  </a:cubicBezTo>
                  <a:cubicBezTo>
                    <a:pt x="2" y="231"/>
                    <a:pt x="14" y="230"/>
                    <a:pt x="14" y="230"/>
                  </a:cubicBezTo>
                  <a:cubicBezTo>
                    <a:pt x="14" y="240"/>
                    <a:pt x="14" y="240"/>
                    <a:pt x="14" y="240"/>
                  </a:cubicBezTo>
                  <a:cubicBezTo>
                    <a:pt x="38" y="236"/>
                    <a:pt x="38" y="236"/>
                    <a:pt x="38" y="236"/>
                  </a:cubicBezTo>
                  <a:cubicBezTo>
                    <a:pt x="39" y="253"/>
                    <a:pt x="39" y="253"/>
                    <a:pt x="39" y="253"/>
                  </a:cubicBezTo>
                  <a:cubicBezTo>
                    <a:pt x="39" y="253"/>
                    <a:pt x="60" y="269"/>
                    <a:pt x="60" y="282"/>
                  </a:cubicBezTo>
                  <a:cubicBezTo>
                    <a:pt x="60" y="295"/>
                    <a:pt x="50" y="316"/>
                    <a:pt x="50" y="316"/>
                  </a:cubicBezTo>
                  <a:cubicBezTo>
                    <a:pt x="51" y="343"/>
                    <a:pt x="51" y="343"/>
                    <a:pt x="51" y="343"/>
                  </a:cubicBezTo>
                  <a:cubicBezTo>
                    <a:pt x="63" y="341"/>
                    <a:pt x="66" y="331"/>
                    <a:pt x="66" y="331"/>
                  </a:cubicBezTo>
                  <a:cubicBezTo>
                    <a:pt x="75" y="331"/>
                    <a:pt x="75" y="331"/>
                    <a:pt x="75" y="331"/>
                  </a:cubicBezTo>
                  <a:cubicBezTo>
                    <a:pt x="85" y="323"/>
                    <a:pt x="85" y="323"/>
                    <a:pt x="85" y="323"/>
                  </a:cubicBezTo>
                  <a:cubicBezTo>
                    <a:pt x="85" y="323"/>
                    <a:pt x="131" y="298"/>
                    <a:pt x="151" y="300"/>
                  </a:cubicBezTo>
                  <a:cubicBezTo>
                    <a:pt x="171" y="302"/>
                    <a:pt x="178" y="296"/>
                    <a:pt x="178" y="296"/>
                  </a:cubicBezTo>
                  <a:cubicBezTo>
                    <a:pt x="178" y="296"/>
                    <a:pt x="209" y="285"/>
                    <a:pt x="218" y="290"/>
                  </a:cubicBezTo>
                  <a:cubicBezTo>
                    <a:pt x="227" y="295"/>
                    <a:pt x="229" y="300"/>
                    <a:pt x="236" y="299"/>
                  </a:cubicBezTo>
                  <a:cubicBezTo>
                    <a:pt x="243" y="298"/>
                    <a:pt x="256" y="289"/>
                    <a:pt x="256" y="289"/>
                  </a:cubicBezTo>
                  <a:cubicBezTo>
                    <a:pt x="256" y="289"/>
                    <a:pt x="257" y="299"/>
                    <a:pt x="273" y="306"/>
                  </a:cubicBezTo>
                  <a:cubicBezTo>
                    <a:pt x="277" y="308"/>
                    <a:pt x="281" y="309"/>
                    <a:pt x="285" y="310"/>
                  </a:cubicBezTo>
                  <a:cubicBezTo>
                    <a:pt x="284" y="275"/>
                    <a:pt x="284" y="275"/>
                    <a:pt x="284" y="275"/>
                  </a:cubicBezTo>
                  <a:lnTo>
                    <a:pt x="266" y="269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07" name="Freeform 123"/>
            <p:cNvSpPr>
              <a:spLocks/>
            </p:cNvSpPr>
            <p:nvPr/>
          </p:nvSpPr>
          <p:spPr bwMode="auto">
            <a:xfrm>
              <a:off x="2678" y="2274"/>
              <a:ext cx="281" cy="239"/>
            </a:xfrm>
            <a:custGeom>
              <a:avLst/>
              <a:gdLst>
                <a:gd name="T0" fmla="*/ 0 w 741"/>
                <a:gd name="T1" fmla="*/ 0 h 628"/>
                <a:gd name="T2" fmla="*/ 0 w 741"/>
                <a:gd name="T3" fmla="*/ 0 h 628"/>
                <a:gd name="T4" fmla="*/ 0 w 741"/>
                <a:gd name="T5" fmla="*/ 0 h 628"/>
                <a:gd name="T6" fmla="*/ 0 w 741"/>
                <a:gd name="T7" fmla="*/ 0 h 628"/>
                <a:gd name="T8" fmla="*/ 0 w 741"/>
                <a:gd name="T9" fmla="*/ 0 h 628"/>
                <a:gd name="T10" fmla="*/ 0 w 741"/>
                <a:gd name="T11" fmla="*/ 0 h 628"/>
                <a:gd name="T12" fmla="*/ 0 w 741"/>
                <a:gd name="T13" fmla="*/ 0 h 628"/>
                <a:gd name="T14" fmla="*/ 0 w 741"/>
                <a:gd name="T15" fmla="*/ 0 h 628"/>
                <a:gd name="T16" fmla="*/ 0 w 741"/>
                <a:gd name="T17" fmla="*/ 0 h 628"/>
                <a:gd name="T18" fmla="*/ 0 w 741"/>
                <a:gd name="T19" fmla="*/ 0 h 628"/>
                <a:gd name="T20" fmla="*/ 0 w 741"/>
                <a:gd name="T21" fmla="*/ 0 h 628"/>
                <a:gd name="T22" fmla="*/ 0 w 741"/>
                <a:gd name="T23" fmla="*/ 0 h 628"/>
                <a:gd name="T24" fmla="*/ 0 w 741"/>
                <a:gd name="T25" fmla="*/ 0 h 628"/>
                <a:gd name="T26" fmla="*/ 0 w 741"/>
                <a:gd name="T27" fmla="*/ 0 h 628"/>
                <a:gd name="T28" fmla="*/ 0 w 741"/>
                <a:gd name="T29" fmla="*/ 0 h 628"/>
                <a:gd name="T30" fmla="*/ 0 w 741"/>
                <a:gd name="T31" fmla="*/ 0 h 628"/>
                <a:gd name="T32" fmla="*/ 0 w 741"/>
                <a:gd name="T33" fmla="*/ 0 h 628"/>
                <a:gd name="T34" fmla="*/ 0 w 741"/>
                <a:gd name="T35" fmla="*/ 0 h 628"/>
                <a:gd name="T36" fmla="*/ 0 w 741"/>
                <a:gd name="T37" fmla="*/ 0 h 628"/>
                <a:gd name="T38" fmla="*/ 0 w 741"/>
                <a:gd name="T39" fmla="*/ 0 h 628"/>
                <a:gd name="T40" fmla="*/ 0 w 741"/>
                <a:gd name="T41" fmla="*/ 0 h 628"/>
                <a:gd name="T42" fmla="*/ 0 w 741"/>
                <a:gd name="T43" fmla="*/ 0 h 628"/>
                <a:gd name="T44" fmla="*/ 0 w 741"/>
                <a:gd name="T45" fmla="*/ 0 h 628"/>
                <a:gd name="T46" fmla="*/ 0 w 741"/>
                <a:gd name="T47" fmla="*/ 0 h 628"/>
                <a:gd name="T48" fmla="*/ 0 w 741"/>
                <a:gd name="T49" fmla="*/ 0 h 628"/>
                <a:gd name="T50" fmla="*/ 0 w 741"/>
                <a:gd name="T51" fmla="*/ 0 h 628"/>
                <a:gd name="T52" fmla="*/ 0 w 741"/>
                <a:gd name="T53" fmla="*/ 0 h 628"/>
                <a:gd name="T54" fmla="*/ 0 w 741"/>
                <a:gd name="T55" fmla="*/ 0 h 628"/>
                <a:gd name="T56" fmla="*/ 0 w 741"/>
                <a:gd name="T57" fmla="*/ 0 h 628"/>
                <a:gd name="T58" fmla="*/ 0 w 741"/>
                <a:gd name="T59" fmla="*/ 0 h 628"/>
                <a:gd name="T60" fmla="*/ 0 w 741"/>
                <a:gd name="T61" fmla="*/ 0 h 628"/>
                <a:gd name="T62" fmla="*/ 0 w 741"/>
                <a:gd name="T63" fmla="*/ 0 h 62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41"/>
                <a:gd name="T97" fmla="*/ 0 h 628"/>
                <a:gd name="T98" fmla="*/ 741 w 741"/>
                <a:gd name="T99" fmla="*/ 628 h 62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41" h="628">
                  <a:moveTo>
                    <a:pt x="35" y="531"/>
                  </a:moveTo>
                  <a:cubicBezTo>
                    <a:pt x="36" y="540"/>
                    <a:pt x="36" y="540"/>
                    <a:pt x="36" y="540"/>
                  </a:cubicBezTo>
                  <a:cubicBezTo>
                    <a:pt x="46" y="541"/>
                    <a:pt x="46" y="541"/>
                    <a:pt x="46" y="541"/>
                  </a:cubicBezTo>
                  <a:cubicBezTo>
                    <a:pt x="46" y="541"/>
                    <a:pt x="31" y="552"/>
                    <a:pt x="34" y="557"/>
                  </a:cubicBezTo>
                  <a:cubicBezTo>
                    <a:pt x="37" y="562"/>
                    <a:pt x="56" y="584"/>
                    <a:pt x="68" y="584"/>
                  </a:cubicBezTo>
                  <a:cubicBezTo>
                    <a:pt x="80" y="584"/>
                    <a:pt x="79" y="575"/>
                    <a:pt x="88" y="579"/>
                  </a:cubicBezTo>
                  <a:cubicBezTo>
                    <a:pt x="97" y="583"/>
                    <a:pt x="99" y="593"/>
                    <a:pt x="99" y="593"/>
                  </a:cubicBezTo>
                  <a:cubicBezTo>
                    <a:pt x="84" y="598"/>
                    <a:pt x="84" y="598"/>
                    <a:pt x="84" y="598"/>
                  </a:cubicBezTo>
                  <a:cubicBezTo>
                    <a:pt x="99" y="620"/>
                    <a:pt x="99" y="620"/>
                    <a:pt x="99" y="620"/>
                  </a:cubicBezTo>
                  <a:cubicBezTo>
                    <a:pt x="102" y="604"/>
                    <a:pt x="102" y="604"/>
                    <a:pt x="102" y="604"/>
                  </a:cubicBezTo>
                  <a:cubicBezTo>
                    <a:pt x="119" y="597"/>
                    <a:pt x="119" y="597"/>
                    <a:pt x="119" y="597"/>
                  </a:cubicBezTo>
                  <a:cubicBezTo>
                    <a:pt x="119" y="597"/>
                    <a:pt x="136" y="616"/>
                    <a:pt x="141" y="619"/>
                  </a:cubicBezTo>
                  <a:cubicBezTo>
                    <a:pt x="146" y="622"/>
                    <a:pt x="162" y="628"/>
                    <a:pt x="162" y="628"/>
                  </a:cubicBezTo>
                  <a:cubicBezTo>
                    <a:pt x="159" y="594"/>
                    <a:pt x="159" y="594"/>
                    <a:pt x="159" y="594"/>
                  </a:cubicBezTo>
                  <a:cubicBezTo>
                    <a:pt x="159" y="594"/>
                    <a:pt x="181" y="583"/>
                    <a:pt x="182" y="568"/>
                  </a:cubicBezTo>
                  <a:cubicBezTo>
                    <a:pt x="183" y="553"/>
                    <a:pt x="183" y="542"/>
                    <a:pt x="183" y="542"/>
                  </a:cubicBezTo>
                  <a:cubicBezTo>
                    <a:pt x="202" y="525"/>
                    <a:pt x="202" y="525"/>
                    <a:pt x="202" y="525"/>
                  </a:cubicBezTo>
                  <a:cubicBezTo>
                    <a:pt x="236" y="526"/>
                    <a:pt x="236" y="526"/>
                    <a:pt x="236" y="526"/>
                  </a:cubicBezTo>
                  <a:cubicBezTo>
                    <a:pt x="236" y="526"/>
                    <a:pt x="235" y="520"/>
                    <a:pt x="249" y="519"/>
                  </a:cubicBezTo>
                  <a:cubicBezTo>
                    <a:pt x="263" y="518"/>
                    <a:pt x="262" y="528"/>
                    <a:pt x="269" y="529"/>
                  </a:cubicBezTo>
                  <a:cubicBezTo>
                    <a:pt x="276" y="530"/>
                    <a:pt x="288" y="530"/>
                    <a:pt x="288" y="530"/>
                  </a:cubicBezTo>
                  <a:cubicBezTo>
                    <a:pt x="305" y="544"/>
                    <a:pt x="305" y="544"/>
                    <a:pt x="305" y="544"/>
                  </a:cubicBezTo>
                  <a:cubicBezTo>
                    <a:pt x="305" y="544"/>
                    <a:pt x="310" y="566"/>
                    <a:pt x="319" y="565"/>
                  </a:cubicBezTo>
                  <a:cubicBezTo>
                    <a:pt x="328" y="564"/>
                    <a:pt x="352" y="544"/>
                    <a:pt x="364" y="544"/>
                  </a:cubicBezTo>
                  <a:cubicBezTo>
                    <a:pt x="376" y="544"/>
                    <a:pt x="388" y="572"/>
                    <a:pt x="407" y="573"/>
                  </a:cubicBezTo>
                  <a:cubicBezTo>
                    <a:pt x="426" y="574"/>
                    <a:pt x="442" y="578"/>
                    <a:pt x="442" y="578"/>
                  </a:cubicBezTo>
                  <a:cubicBezTo>
                    <a:pt x="442" y="578"/>
                    <a:pt x="454" y="543"/>
                    <a:pt x="496" y="543"/>
                  </a:cubicBezTo>
                  <a:cubicBezTo>
                    <a:pt x="538" y="543"/>
                    <a:pt x="554" y="557"/>
                    <a:pt x="554" y="557"/>
                  </a:cubicBezTo>
                  <a:cubicBezTo>
                    <a:pt x="572" y="558"/>
                    <a:pt x="572" y="558"/>
                    <a:pt x="572" y="558"/>
                  </a:cubicBezTo>
                  <a:cubicBezTo>
                    <a:pt x="572" y="558"/>
                    <a:pt x="590" y="545"/>
                    <a:pt x="597" y="541"/>
                  </a:cubicBezTo>
                  <a:cubicBezTo>
                    <a:pt x="604" y="537"/>
                    <a:pt x="613" y="540"/>
                    <a:pt x="613" y="540"/>
                  </a:cubicBezTo>
                  <a:cubicBezTo>
                    <a:pt x="613" y="540"/>
                    <a:pt x="617" y="526"/>
                    <a:pt x="621" y="526"/>
                  </a:cubicBezTo>
                  <a:cubicBezTo>
                    <a:pt x="622" y="526"/>
                    <a:pt x="623" y="526"/>
                    <a:pt x="624" y="526"/>
                  </a:cubicBezTo>
                  <a:cubicBezTo>
                    <a:pt x="621" y="484"/>
                    <a:pt x="621" y="484"/>
                    <a:pt x="621" y="484"/>
                  </a:cubicBezTo>
                  <a:cubicBezTo>
                    <a:pt x="634" y="479"/>
                    <a:pt x="634" y="479"/>
                    <a:pt x="634" y="479"/>
                  </a:cubicBezTo>
                  <a:cubicBezTo>
                    <a:pt x="634" y="479"/>
                    <a:pt x="644" y="442"/>
                    <a:pt x="656" y="426"/>
                  </a:cubicBezTo>
                  <a:cubicBezTo>
                    <a:pt x="667" y="409"/>
                    <a:pt x="717" y="356"/>
                    <a:pt x="717" y="356"/>
                  </a:cubicBezTo>
                  <a:cubicBezTo>
                    <a:pt x="727" y="194"/>
                    <a:pt x="727" y="194"/>
                    <a:pt x="727" y="194"/>
                  </a:cubicBezTo>
                  <a:cubicBezTo>
                    <a:pt x="741" y="169"/>
                    <a:pt x="741" y="169"/>
                    <a:pt x="741" y="169"/>
                  </a:cubicBezTo>
                  <a:cubicBezTo>
                    <a:pt x="721" y="145"/>
                    <a:pt x="721" y="145"/>
                    <a:pt x="721" y="145"/>
                  </a:cubicBezTo>
                  <a:cubicBezTo>
                    <a:pt x="716" y="129"/>
                    <a:pt x="716" y="129"/>
                    <a:pt x="716" y="129"/>
                  </a:cubicBezTo>
                  <a:cubicBezTo>
                    <a:pt x="697" y="105"/>
                    <a:pt x="697" y="105"/>
                    <a:pt x="697" y="105"/>
                  </a:cubicBezTo>
                  <a:cubicBezTo>
                    <a:pt x="704" y="72"/>
                    <a:pt x="704" y="72"/>
                    <a:pt x="704" y="72"/>
                  </a:cubicBezTo>
                  <a:cubicBezTo>
                    <a:pt x="692" y="28"/>
                    <a:pt x="692" y="28"/>
                    <a:pt x="692" y="28"/>
                  </a:cubicBezTo>
                  <a:cubicBezTo>
                    <a:pt x="676" y="37"/>
                    <a:pt x="661" y="44"/>
                    <a:pt x="657" y="45"/>
                  </a:cubicBezTo>
                  <a:cubicBezTo>
                    <a:pt x="646" y="46"/>
                    <a:pt x="630" y="18"/>
                    <a:pt x="623" y="16"/>
                  </a:cubicBezTo>
                  <a:cubicBezTo>
                    <a:pt x="616" y="14"/>
                    <a:pt x="576" y="6"/>
                    <a:pt x="576" y="6"/>
                  </a:cubicBezTo>
                  <a:cubicBezTo>
                    <a:pt x="551" y="0"/>
                    <a:pt x="551" y="0"/>
                    <a:pt x="551" y="0"/>
                  </a:cubicBezTo>
                  <a:cubicBezTo>
                    <a:pt x="551" y="0"/>
                    <a:pt x="364" y="136"/>
                    <a:pt x="342" y="151"/>
                  </a:cubicBezTo>
                  <a:cubicBezTo>
                    <a:pt x="320" y="166"/>
                    <a:pt x="275" y="219"/>
                    <a:pt x="261" y="221"/>
                  </a:cubicBezTo>
                  <a:cubicBezTo>
                    <a:pt x="251" y="222"/>
                    <a:pt x="210" y="231"/>
                    <a:pt x="190" y="235"/>
                  </a:cubicBezTo>
                  <a:cubicBezTo>
                    <a:pt x="190" y="372"/>
                    <a:pt x="190" y="372"/>
                    <a:pt x="190" y="372"/>
                  </a:cubicBezTo>
                  <a:cubicBezTo>
                    <a:pt x="175" y="387"/>
                    <a:pt x="175" y="387"/>
                    <a:pt x="175" y="387"/>
                  </a:cubicBezTo>
                  <a:cubicBezTo>
                    <a:pt x="175" y="387"/>
                    <a:pt x="175" y="420"/>
                    <a:pt x="160" y="427"/>
                  </a:cubicBezTo>
                  <a:cubicBezTo>
                    <a:pt x="138" y="438"/>
                    <a:pt x="131" y="432"/>
                    <a:pt x="131" y="432"/>
                  </a:cubicBezTo>
                  <a:cubicBezTo>
                    <a:pt x="124" y="437"/>
                    <a:pt x="124" y="437"/>
                    <a:pt x="124" y="437"/>
                  </a:cubicBezTo>
                  <a:cubicBezTo>
                    <a:pt x="93" y="435"/>
                    <a:pt x="93" y="435"/>
                    <a:pt x="93" y="435"/>
                  </a:cubicBezTo>
                  <a:cubicBezTo>
                    <a:pt x="92" y="444"/>
                    <a:pt x="92" y="444"/>
                    <a:pt x="92" y="444"/>
                  </a:cubicBezTo>
                  <a:cubicBezTo>
                    <a:pt x="50" y="443"/>
                    <a:pt x="50" y="443"/>
                    <a:pt x="50" y="443"/>
                  </a:cubicBezTo>
                  <a:cubicBezTo>
                    <a:pt x="32" y="455"/>
                    <a:pt x="32" y="455"/>
                    <a:pt x="32" y="455"/>
                  </a:cubicBezTo>
                  <a:cubicBezTo>
                    <a:pt x="0" y="462"/>
                    <a:pt x="0" y="462"/>
                    <a:pt x="0" y="462"/>
                  </a:cubicBezTo>
                  <a:cubicBezTo>
                    <a:pt x="1" y="485"/>
                    <a:pt x="1" y="485"/>
                    <a:pt x="1" y="485"/>
                  </a:cubicBezTo>
                  <a:cubicBezTo>
                    <a:pt x="4" y="494"/>
                    <a:pt x="4" y="494"/>
                    <a:pt x="4" y="494"/>
                  </a:cubicBezTo>
                  <a:cubicBezTo>
                    <a:pt x="4" y="494"/>
                    <a:pt x="3" y="518"/>
                    <a:pt x="13" y="525"/>
                  </a:cubicBezTo>
                  <a:cubicBezTo>
                    <a:pt x="23" y="532"/>
                    <a:pt x="35" y="531"/>
                    <a:pt x="35" y="53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08" name="Freeform 124"/>
            <p:cNvSpPr>
              <a:spLocks/>
            </p:cNvSpPr>
            <p:nvPr/>
          </p:nvSpPr>
          <p:spPr bwMode="auto">
            <a:xfrm>
              <a:off x="2514" y="1996"/>
              <a:ext cx="373" cy="372"/>
            </a:xfrm>
            <a:custGeom>
              <a:avLst/>
              <a:gdLst>
                <a:gd name="T0" fmla="*/ 0 w 983"/>
                <a:gd name="T1" fmla="*/ 0 h 981"/>
                <a:gd name="T2" fmla="*/ 0 w 983"/>
                <a:gd name="T3" fmla="*/ 0 h 981"/>
                <a:gd name="T4" fmla="*/ 0 w 983"/>
                <a:gd name="T5" fmla="*/ 0 h 981"/>
                <a:gd name="T6" fmla="*/ 0 w 983"/>
                <a:gd name="T7" fmla="*/ 0 h 981"/>
                <a:gd name="T8" fmla="*/ 0 w 983"/>
                <a:gd name="T9" fmla="*/ 0 h 981"/>
                <a:gd name="T10" fmla="*/ 0 w 983"/>
                <a:gd name="T11" fmla="*/ 0 h 981"/>
                <a:gd name="T12" fmla="*/ 0 w 983"/>
                <a:gd name="T13" fmla="*/ 0 h 981"/>
                <a:gd name="T14" fmla="*/ 0 w 983"/>
                <a:gd name="T15" fmla="*/ 0 h 981"/>
                <a:gd name="T16" fmla="*/ 0 w 983"/>
                <a:gd name="T17" fmla="*/ 0 h 981"/>
                <a:gd name="T18" fmla="*/ 0 w 983"/>
                <a:gd name="T19" fmla="*/ 0 h 981"/>
                <a:gd name="T20" fmla="*/ 0 w 983"/>
                <a:gd name="T21" fmla="*/ 0 h 981"/>
                <a:gd name="T22" fmla="*/ 0 w 983"/>
                <a:gd name="T23" fmla="*/ 0 h 981"/>
                <a:gd name="T24" fmla="*/ 0 w 983"/>
                <a:gd name="T25" fmla="*/ 0 h 981"/>
                <a:gd name="T26" fmla="*/ 0 w 983"/>
                <a:gd name="T27" fmla="*/ 0 h 981"/>
                <a:gd name="T28" fmla="*/ 0 w 983"/>
                <a:gd name="T29" fmla="*/ 0 h 981"/>
                <a:gd name="T30" fmla="*/ 0 w 983"/>
                <a:gd name="T31" fmla="*/ 0 h 981"/>
                <a:gd name="T32" fmla="*/ 0 w 983"/>
                <a:gd name="T33" fmla="*/ 0 h 981"/>
                <a:gd name="T34" fmla="*/ 0 w 983"/>
                <a:gd name="T35" fmla="*/ 0 h 981"/>
                <a:gd name="T36" fmla="*/ 0 w 983"/>
                <a:gd name="T37" fmla="*/ 0 h 981"/>
                <a:gd name="T38" fmla="*/ 0 w 983"/>
                <a:gd name="T39" fmla="*/ 0 h 981"/>
                <a:gd name="T40" fmla="*/ 0 w 983"/>
                <a:gd name="T41" fmla="*/ 0 h 981"/>
                <a:gd name="T42" fmla="*/ 0 w 983"/>
                <a:gd name="T43" fmla="*/ 0 h 981"/>
                <a:gd name="T44" fmla="*/ 0 w 983"/>
                <a:gd name="T45" fmla="*/ 0 h 981"/>
                <a:gd name="T46" fmla="*/ 0 w 983"/>
                <a:gd name="T47" fmla="*/ 0 h 981"/>
                <a:gd name="T48" fmla="*/ 0 w 983"/>
                <a:gd name="T49" fmla="*/ 0 h 981"/>
                <a:gd name="T50" fmla="*/ 0 w 983"/>
                <a:gd name="T51" fmla="*/ 0 h 981"/>
                <a:gd name="T52" fmla="*/ 0 w 983"/>
                <a:gd name="T53" fmla="*/ 0 h 981"/>
                <a:gd name="T54" fmla="*/ 0 w 983"/>
                <a:gd name="T55" fmla="*/ 0 h 981"/>
                <a:gd name="T56" fmla="*/ 0 w 983"/>
                <a:gd name="T57" fmla="*/ 0 h 981"/>
                <a:gd name="T58" fmla="*/ 0 w 983"/>
                <a:gd name="T59" fmla="*/ 0 h 981"/>
                <a:gd name="T60" fmla="*/ 0 w 983"/>
                <a:gd name="T61" fmla="*/ 0 h 981"/>
                <a:gd name="T62" fmla="*/ 0 w 983"/>
                <a:gd name="T63" fmla="*/ 0 h 981"/>
                <a:gd name="T64" fmla="*/ 0 w 983"/>
                <a:gd name="T65" fmla="*/ 0 h 981"/>
                <a:gd name="T66" fmla="*/ 0 w 983"/>
                <a:gd name="T67" fmla="*/ 0 h 981"/>
                <a:gd name="T68" fmla="*/ 0 w 983"/>
                <a:gd name="T69" fmla="*/ 0 h 981"/>
                <a:gd name="T70" fmla="*/ 0 w 983"/>
                <a:gd name="T71" fmla="*/ 0 h 981"/>
                <a:gd name="T72" fmla="*/ 0 w 983"/>
                <a:gd name="T73" fmla="*/ 0 h 981"/>
                <a:gd name="T74" fmla="*/ 0 w 983"/>
                <a:gd name="T75" fmla="*/ 0 h 981"/>
                <a:gd name="T76" fmla="*/ 0 w 983"/>
                <a:gd name="T77" fmla="*/ 0 h 981"/>
                <a:gd name="T78" fmla="*/ 0 w 983"/>
                <a:gd name="T79" fmla="*/ 0 h 981"/>
                <a:gd name="T80" fmla="*/ 0 w 983"/>
                <a:gd name="T81" fmla="*/ 0 h 981"/>
                <a:gd name="T82" fmla="*/ 0 w 983"/>
                <a:gd name="T83" fmla="*/ 0 h 981"/>
                <a:gd name="T84" fmla="*/ 0 w 983"/>
                <a:gd name="T85" fmla="*/ 0 h 981"/>
                <a:gd name="T86" fmla="*/ 0 w 983"/>
                <a:gd name="T87" fmla="*/ 0 h 981"/>
                <a:gd name="T88" fmla="*/ 0 w 983"/>
                <a:gd name="T89" fmla="*/ 0 h 981"/>
                <a:gd name="T90" fmla="*/ 0 w 983"/>
                <a:gd name="T91" fmla="*/ 0 h 981"/>
                <a:gd name="T92" fmla="*/ 0 w 983"/>
                <a:gd name="T93" fmla="*/ 0 h 981"/>
                <a:gd name="T94" fmla="*/ 0 w 983"/>
                <a:gd name="T95" fmla="*/ 0 h 981"/>
                <a:gd name="T96" fmla="*/ 0 w 983"/>
                <a:gd name="T97" fmla="*/ 0 h 981"/>
                <a:gd name="T98" fmla="*/ 0 w 983"/>
                <a:gd name="T99" fmla="*/ 0 h 981"/>
                <a:gd name="T100" fmla="*/ 0 w 983"/>
                <a:gd name="T101" fmla="*/ 0 h 98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83"/>
                <a:gd name="T154" fmla="*/ 0 h 981"/>
                <a:gd name="T155" fmla="*/ 983 w 983"/>
                <a:gd name="T156" fmla="*/ 981 h 98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83" h="981">
                  <a:moveTo>
                    <a:pt x="242" y="356"/>
                  </a:moveTo>
                  <a:cubicBezTo>
                    <a:pt x="236" y="356"/>
                    <a:pt x="212" y="357"/>
                    <a:pt x="212" y="357"/>
                  </a:cubicBezTo>
                  <a:cubicBezTo>
                    <a:pt x="212" y="357"/>
                    <a:pt x="197" y="388"/>
                    <a:pt x="189" y="391"/>
                  </a:cubicBezTo>
                  <a:cubicBezTo>
                    <a:pt x="181" y="394"/>
                    <a:pt x="155" y="390"/>
                    <a:pt x="155" y="390"/>
                  </a:cubicBezTo>
                  <a:cubicBezTo>
                    <a:pt x="154" y="398"/>
                    <a:pt x="154" y="398"/>
                    <a:pt x="154" y="398"/>
                  </a:cubicBezTo>
                  <a:cubicBezTo>
                    <a:pt x="136" y="399"/>
                    <a:pt x="136" y="399"/>
                    <a:pt x="136" y="399"/>
                  </a:cubicBezTo>
                  <a:cubicBezTo>
                    <a:pt x="136" y="399"/>
                    <a:pt x="136" y="411"/>
                    <a:pt x="130" y="412"/>
                  </a:cubicBezTo>
                  <a:cubicBezTo>
                    <a:pt x="124" y="413"/>
                    <a:pt x="111" y="404"/>
                    <a:pt x="111" y="404"/>
                  </a:cubicBezTo>
                  <a:cubicBezTo>
                    <a:pt x="93" y="418"/>
                    <a:pt x="93" y="418"/>
                    <a:pt x="93" y="418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81" y="417"/>
                    <a:pt x="67" y="437"/>
                    <a:pt x="60" y="442"/>
                  </a:cubicBezTo>
                  <a:cubicBezTo>
                    <a:pt x="53" y="447"/>
                    <a:pt x="40" y="454"/>
                    <a:pt x="40" y="454"/>
                  </a:cubicBezTo>
                  <a:cubicBezTo>
                    <a:pt x="37" y="472"/>
                    <a:pt x="37" y="472"/>
                    <a:pt x="37" y="472"/>
                  </a:cubicBezTo>
                  <a:cubicBezTo>
                    <a:pt x="35" y="511"/>
                    <a:pt x="35" y="511"/>
                    <a:pt x="35" y="511"/>
                  </a:cubicBezTo>
                  <a:cubicBezTo>
                    <a:pt x="0" y="511"/>
                    <a:pt x="0" y="511"/>
                    <a:pt x="0" y="511"/>
                  </a:cubicBezTo>
                  <a:cubicBezTo>
                    <a:pt x="37" y="513"/>
                    <a:pt x="37" y="513"/>
                    <a:pt x="37" y="513"/>
                  </a:cubicBezTo>
                  <a:cubicBezTo>
                    <a:pt x="35" y="535"/>
                    <a:pt x="35" y="535"/>
                    <a:pt x="35" y="535"/>
                  </a:cubicBezTo>
                  <a:cubicBezTo>
                    <a:pt x="208" y="656"/>
                    <a:pt x="208" y="656"/>
                    <a:pt x="208" y="656"/>
                  </a:cubicBezTo>
                  <a:cubicBezTo>
                    <a:pt x="482" y="865"/>
                    <a:pt x="482" y="865"/>
                    <a:pt x="482" y="865"/>
                  </a:cubicBezTo>
                  <a:cubicBezTo>
                    <a:pt x="481" y="882"/>
                    <a:pt x="481" y="882"/>
                    <a:pt x="481" y="882"/>
                  </a:cubicBezTo>
                  <a:cubicBezTo>
                    <a:pt x="481" y="882"/>
                    <a:pt x="498" y="878"/>
                    <a:pt x="500" y="886"/>
                  </a:cubicBezTo>
                  <a:cubicBezTo>
                    <a:pt x="502" y="894"/>
                    <a:pt x="500" y="901"/>
                    <a:pt x="510" y="904"/>
                  </a:cubicBezTo>
                  <a:cubicBezTo>
                    <a:pt x="520" y="907"/>
                    <a:pt x="533" y="905"/>
                    <a:pt x="533" y="905"/>
                  </a:cubicBezTo>
                  <a:cubicBezTo>
                    <a:pt x="538" y="923"/>
                    <a:pt x="538" y="923"/>
                    <a:pt x="538" y="923"/>
                  </a:cubicBezTo>
                  <a:cubicBezTo>
                    <a:pt x="538" y="923"/>
                    <a:pt x="561" y="917"/>
                    <a:pt x="571" y="925"/>
                  </a:cubicBezTo>
                  <a:cubicBezTo>
                    <a:pt x="581" y="933"/>
                    <a:pt x="582" y="953"/>
                    <a:pt x="582" y="953"/>
                  </a:cubicBezTo>
                  <a:cubicBezTo>
                    <a:pt x="582" y="953"/>
                    <a:pt x="558" y="967"/>
                    <a:pt x="573" y="974"/>
                  </a:cubicBezTo>
                  <a:cubicBezTo>
                    <a:pt x="588" y="981"/>
                    <a:pt x="610" y="973"/>
                    <a:pt x="610" y="973"/>
                  </a:cubicBezTo>
                  <a:cubicBezTo>
                    <a:pt x="610" y="973"/>
                    <a:pt x="679" y="958"/>
                    <a:pt x="693" y="956"/>
                  </a:cubicBezTo>
                  <a:cubicBezTo>
                    <a:pt x="707" y="954"/>
                    <a:pt x="752" y="901"/>
                    <a:pt x="774" y="886"/>
                  </a:cubicBezTo>
                  <a:cubicBezTo>
                    <a:pt x="796" y="871"/>
                    <a:pt x="983" y="735"/>
                    <a:pt x="983" y="735"/>
                  </a:cubicBezTo>
                  <a:cubicBezTo>
                    <a:pt x="983" y="735"/>
                    <a:pt x="968" y="694"/>
                    <a:pt x="963" y="691"/>
                  </a:cubicBezTo>
                  <a:cubicBezTo>
                    <a:pt x="958" y="688"/>
                    <a:pt x="930" y="675"/>
                    <a:pt x="924" y="678"/>
                  </a:cubicBezTo>
                  <a:cubicBezTo>
                    <a:pt x="918" y="681"/>
                    <a:pt x="913" y="686"/>
                    <a:pt x="909" y="684"/>
                  </a:cubicBezTo>
                  <a:cubicBezTo>
                    <a:pt x="905" y="682"/>
                    <a:pt x="893" y="671"/>
                    <a:pt x="893" y="664"/>
                  </a:cubicBezTo>
                  <a:cubicBezTo>
                    <a:pt x="893" y="657"/>
                    <a:pt x="898" y="647"/>
                    <a:pt x="893" y="639"/>
                  </a:cubicBezTo>
                  <a:cubicBezTo>
                    <a:pt x="888" y="631"/>
                    <a:pt x="861" y="595"/>
                    <a:pt x="862" y="589"/>
                  </a:cubicBezTo>
                  <a:cubicBezTo>
                    <a:pt x="863" y="583"/>
                    <a:pt x="889" y="581"/>
                    <a:pt x="889" y="569"/>
                  </a:cubicBezTo>
                  <a:cubicBezTo>
                    <a:pt x="889" y="557"/>
                    <a:pt x="885" y="551"/>
                    <a:pt x="885" y="551"/>
                  </a:cubicBezTo>
                  <a:cubicBezTo>
                    <a:pt x="880" y="515"/>
                    <a:pt x="880" y="515"/>
                    <a:pt x="880" y="515"/>
                  </a:cubicBezTo>
                  <a:cubicBezTo>
                    <a:pt x="889" y="502"/>
                    <a:pt x="889" y="502"/>
                    <a:pt x="889" y="502"/>
                  </a:cubicBezTo>
                  <a:cubicBezTo>
                    <a:pt x="883" y="488"/>
                    <a:pt x="883" y="488"/>
                    <a:pt x="883" y="488"/>
                  </a:cubicBezTo>
                  <a:cubicBezTo>
                    <a:pt x="883" y="488"/>
                    <a:pt x="892" y="458"/>
                    <a:pt x="891" y="448"/>
                  </a:cubicBezTo>
                  <a:cubicBezTo>
                    <a:pt x="890" y="438"/>
                    <a:pt x="863" y="387"/>
                    <a:pt x="862" y="381"/>
                  </a:cubicBezTo>
                  <a:cubicBezTo>
                    <a:pt x="862" y="378"/>
                    <a:pt x="866" y="376"/>
                    <a:pt x="870" y="373"/>
                  </a:cubicBezTo>
                  <a:cubicBezTo>
                    <a:pt x="870" y="373"/>
                    <a:pt x="870" y="373"/>
                    <a:pt x="870" y="373"/>
                  </a:cubicBezTo>
                  <a:cubicBezTo>
                    <a:pt x="864" y="350"/>
                    <a:pt x="849" y="288"/>
                    <a:pt x="849" y="277"/>
                  </a:cubicBezTo>
                  <a:cubicBezTo>
                    <a:pt x="849" y="264"/>
                    <a:pt x="817" y="252"/>
                    <a:pt x="817" y="252"/>
                  </a:cubicBezTo>
                  <a:cubicBezTo>
                    <a:pt x="817" y="252"/>
                    <a:pt x="817" y="234"/>
                    <a:pt x="816" y="226"/>
                  </a:cubicBezTo>
                  <a:cubicBezTo>
                    <a:pt x="815" y="218"/>
                    <a:pt x="789" y="213"/>
                    <a:pt x="789" y="213"/>
                  </a:cubicBezTo>
                  <a:cubicBezTo>
                    <a:pt x="789" y="194"/>
                    <a:pt x="789" y="194"/>
                    <a:pt x="789" y="194"/>
                  </a:cubicBezTo>
                  <a:cubicBezTo>
                    <a:pt x="782" y="194"/>
                    <a:pt x="782" y="194"/>
                    <a:pt x="782" y="194"/>
                  </a:cubicBezTo>
                  <a:cubicBezTo>
                    <a:pt x="782" y="194"/>
                    <a:pt x="782" y="181"/>
                    <a:pt x="782" y="171"/>
                  </a:cubicBezTo>
                  <a:cubicBezTo>
                    <a:pt x="782" y="161"/>
                    <a:pt x="798" y="148"/>
                    <a:pt x="798" y="148"/>
                  </a:cubicBezTo>
                  <a:cubicBezTo>
                    <a:pt x="812" y="137"/>
                    <a:pt x="812" y="137"/>
                    <a:pt x="812" y="137"/>
                  </a:cubicBezTo>
                  <a:cubicBezTo>
                    <a:pt x="812" y="137"/>
                    <a:pt x="819" y="115"/>
                    <a:pt x="820" y="105"/>
                  </a:cubicBezTo>
                  <a:cubicBezTo>
                    <a:pt x="821" y="95"/>
                    <a:pt x="819" y="83"/>
                    <a:pt x="815" y="76"/>
                  </a:cubicBezTo>
                  <a:cubicBezTo>
                    <a:pt x="811" y="69"/>
                    <a:pt x="820" y="38"/>
                    <a:pt x="820" y="38"/>
                  </a:cubicBezTo>
                  <a:cubicBezTo>
                    <a:pt x="807" y="34"/>
                    <a:pt x="807" y="34"/>
                    <a:pt x="807" y="34"/>
                  </a:cubicBezTo>
                  <a:cubicBezTo>
                    <a:pt x="835" y="21"/>
                    <a:pt x="835" y="21"/>
                    <a:pt x="835" y="21"/>
                  </a:cubicBezTo>
                  <a:cubicBezTo>
                    <a:pt x="835" y="11"/>
                    <a:pt x="835" y="11"/>
                    <a:pt x="835" y="11"/>
                  </a:cubicBezTo>
                  <a:cubicBezTo>
                    <a:pt x="826" y="11"/>
                    <a:pt x="815" y="10"/>
                    <a:pt x="815" y="10"/>
                  </a:cubicBezTo>
                  <a:cubicBezTo>
                    <a:pt x="806" y="15"/>
                    <a:pt x="806" y="15"/>
                    <a:pt x="806" y="15"/>
                  </a:cubicBezTo>
                  <a:cubicBezTo>
                    <a:pt x="779" y="3"/>
                    <a:pt x="779" y="3"/>
                    <a:pt x="779" y="3"/>
                  </a:cubicBezTo>
                  <a:cubicBezTo>
                    <a:pt x="769" y="5"/>
                    <a:pt x="769" y="5"/>
                    <a:pt x="769" y="5"/>
                  </a:cubicBezTo>
                  <a:cubicBezTo>
                    <a:pt x="769" y="14"/>
                    <a:pt x="769" y="14"/>
                    <a:pt x="769" y="14"/>
                  </a:cubicBezTo>
                  <a:cubicBezTo>
                    <a:pt x="744" y="12"/>
                    <a:pt x="744" y="12"/>
                    <a:pt x="744" y="12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724" y="19"/>
                    <a:pt x="724" y="19"/>
                    <a:pt x="724" y="19"/>
                  </a:cubicBezTo>
                  <a:cubicBezTo>
                    <a:pt x="704" y="14"/>
                    <a:pt x="704" y="14"/>
                    <a:pt x="704" y="14"/>
                  </a:cubicBezTo>
                  <a:cubicBezTo>
                    <a:pt x="686" y="29"/>
                    <a:pt x="686" y="29"/>
                    <a:pt x="686" y="29"/>
                  </a:cubicBezTo>
                  <a:cubicBezTo>
                    <a:pt x="686" y="29"/>
                    <a:pt x="662" y="17"/>
                    <a:pt x="631" y="18"/>
                  </a:cubicBezTo>
                  <a:cubicBezTo>
                    <a:pt x="600" y="19"/>
                    <a:pt x="599" y="26"/>
                    <a:pt x="585" y="27"/>
                  </a:cubicBezTo>
                  <a:cubicBezTo>
                    <a:pt x="571" y="28"/>
                    <a:pt x="545" y="27"/>
                    <a:pt x="545" y="27"/>
                  </a:cubicBezTo>
                  <a:cubicBezTo>
                    <a:pt x="542" y="34"/>
                    <a:pt x="542" y="34"/>
                    <a:pt x="542" y="34"/>
                  </a:cubicBezTo>
                  <a:cubicBezTo>
                    <a:pt x="503" y="33"/>
                    <a:pt x="503" y="33"/>
                    <a:pt x="503" y="33"/>
                  </a:cubicBezTo>
                  <a:cubicBezTo>
                    <a:pt x="503" y="33"/>
                    <a:pt x="456" y="43"/>
                    <a:pt x="455" y="51"/>
                  </a:cubicBezTo>
                  <a:cubicBezTo>
                    <a:pt x="454" y="59"/>
                    <a:pt x="446" y="72"/>
                    <a:pt x="446" y="72"/>
                  </a:cubicBezTo>
                  <a:cubicBezTo>
                    <a:pt x="446" y="72"/>
                    <a:pt x="396" y="74"/>
                    <a:pt x="394" y="83"/>
                  </a:cubicBezTo>
                  <a:cubicBezTo>
                    <a:pt x="392" y="92"/>
                    <a:pt x="370" y="113"/>
                    <a:pt x="355" y="113"/>
                  </a:cubicBezTo>
                  <a:cubicBezTo>
                    <a:pt x="353" y="113"/>
                    <a:pt x="351" y="113"/>
                    <a:pt x="349" y="112"/>
                  </a:cubicBezTo>
                  <a:cubicBezTo>
                    <a:pt x="349" y="112"/>
                    <a:pt x="349" y="112"/>
                    <a:pt x="349" y="112"/>
                  </a:cubicBezTo>
                  <a:cubicBezTo>
                    <a:pt x="350" y="116"/>
                    <a:pt x="354" y="125"/>
                    <a:pt x="364" y="129"/>
                  </a:cubicBezTo>
                  <a:cubicBezTo>
                    <a:pt x="364" y="130"/>
                    <a:pt x="360" y="141"/>
                    <a:pt x="360" y="141"/>
                  </a:cubicBezTo>
                  <a:cubicBezTo>
                    <a:pt x="368" y="141"/>
                    <a:pt x="368" y="141"/>
                    <a:pt x="368" y="141"/>
                  </a:cubicBezTo>
                  <a:cubicBezTo>
                    <a:pt x="365" y="186"/>
                    <a:pt x="365" y="186"/>
                    <a:pt x="365" y="186"/>
                  </a:cubicBezTo>
                  <a:cubicBezTo>
                    <a:pt x="371" y="197"/>
                    <a:pt x="371" y="197"/>
                    <a:pt x="371" y="197"/>
                  </a:cubicBezTo>
                  <a:cubicBezTo>
                    <a:pt x="364" y="218"/>
                    <a:pt x="364" y="218"/>
                    <a:pt x="364" y="218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5" y="238"/>
                    <a:pt x="375" y="238"/>
                    <a:pt x="375" y="238"/>
                  </a:cubicBezTo>
                  <a:cubicBezTo>
                    <a:pt x="393" y="250"/>
                    <a:pt x="393" y="250"/>
                    <a:pt x="393" y="250"/>
                  </a:cubicBezTo>
                  <a:cubicBezTo>
                    <a:pt x="393" y="250"/>
                    <a:pt x="384" y="256"/>
                    <a:pt x="382" y="259"/>
                  </a:cubicBezTo>
                  <a:cubicBezTo>
                    <a:pt x="380" y="262"/>
                    <a:pt x="381" y="269"/>
                    <a:pt x="381" y="269"/>
                  </a:cubicBezTo>
                  <a:cubicBezTo>
                    <a:pt x="343" y="274"/>
                    <a:pt x="343" y="274"/>
                    <a:pt x="343" y="274"/>
                  </a:cubicBezTo>
                  <a:cubicBezTo>
                    <a:pt x="343" y="274"/>
                    <a:pt x="333" y="268"/>
                    <a:pt x="329" y="268"/>
                  </a:cubicBezTo>
                  <a:cubicBezTo>
                    <a:pt x="325" y="268"/>
                    <a:pt x="321" y="275"/>
                    <a:pt x="321" y="275"/>
                  </a:cubicBezTo>
                  <a:cubicBezTo>
                    <a:pt x="321" y="275"/>
                    <a:pt x="313" y="270"/>
                    <a:pt x="308" y="273"/>
                  </a:cubicBezTo>
                  <a:cubicBezTo>
                    <a:pt x="303" y="276"/>
                    <a:pt x="310" y="283"/>
                    <a:pt x="303" y="288"/>
                  </a:cubicBezTo>
                  <a:cubicBezTo>
                    <a:pt x="296" y="293"/>
                    <a:pt x="274" y="287"/>
                    <a:pt x="266" y="294"/>
                  </a:cubicBezTo>
                  <a:cubicBezTo>
                    <a:pt x="258" y="301"/>
                    <a:pt x="267" y="318"/>
                    <a:pt x="267" y="318"/>
                  </a:cubicBezTo>
                  <a:cubicBezTo>
                    <a:pt x="277" y="330"/>
                    <a:pt x="277" y="330"/>
                    <a:pt x="277" y="330"/>
                  </a:cubicBezTo>
                  <a:cubicBezTo>
                    <a:pt x="260" y="337"/>
                    <a:pt x="260" y="337"/>
                    <a:pt x="260" y="337"/>
                  </a:cubicBezTo>
                  <a:cubicBezTo>
                    <a:pt x="260" y="337"/>
                    <a:pt x="248" y="356"/>
                    <a:pt x="242" y="356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09" name="Freeform 125"/>
            <p:cNvSpPr>
              <a:spLocks/>
            </p:cNvSpPr>
            <p:nvPr/>
          </p:nvSpPr>
          <p:spPr bwMode="auto">
            <a:xfrm>
              <a:off x="2841" y="2077"/>
              <a:ext cx="277" cy="279"/>
            </a:xfrm>
            <a:custGeom>
              <a:avLst/>
              <a:gdLst>
                <a:gd name="T0" fmla="*/ 0 w 731"/>
                <a:gd name="T1" fmla="*/ 0 h 737"/>
                <a:gd name="T2" fmla="*/ 0 w 731"/>
                <a:gd name="T3" fmla="*/ 0 h 737"/>
                <a:gd name="T4" fmla="*/ 0 w 731"/>
                <a:gd name="T5" fmla="*/ 0 h 737"/>
                <a:gd name="T6" fmla="*/ 0 w 731"/>
                <a:gd name="T7" fmla="*/ 0 h 737"/>
                <a:gd name="T8" fmla="*/ 0 w 731"/>
                <a:gd name="T9" fmla="*/ 0 h 737"/>
                <a:gd name="T10" fmla="*/ 0 w 731"/>
                <a:gd name="T11" fmla="*/ 0 h 737"/>
                <a:gd name="T12" fmla="*/ 0 w 731"/>
                <a:gd name="T13" fmla="*/ 0 h 737"/>
                <a:gd name="T14" fmla="*/ 0 w 731"/>
                <a:gd name="T15" fmla="*/ 0 h 737"/>
                <a:gd name="T16" fmla="*/ 0 w 731"/>
                <a:gd name="T17" fmla="*/ 0 h 737"/>
                <a:gd name="T18" fmla="*/ 0 w 731"/>
                <a:gd name="T19" fmla="*/ 0 h 737"/>
                <a:gd name="T20" fmla="*/ 0 w 731"/>
                <a:gd name="T21" fmla="*/ 0 h 737"/>
                <a:gd name="T22" fmla="*/ 0 w 731"/>
                <a:gd name="T23" fmla="*/ 0 h 737"/>
                <a:gd name="T24" fmla="*/ 0 w 731"/>
                <a:gd name="T25" fmla="*/ 0 h 737"/>
                <a:gd name="T26" fmla="*/ 0 w 731"/>
                <a:gd name="T27" fmla="*/ 0 h 737"/>
                <a:gd name="T28" fmla="*/ 0 w 731"/>
                <a:gd name="T29" fmla="*/ 0 h 737"/>
                <a:gd name="T30" fmla="*/ 0 w 731"/>
                <a:gd name="T31" fmla="*/ 0 h 737"/>
                <a:gd name="T32" fmla="*/ 0 w 731"/>
                <a:gd name="T33" fmla="*/ 0 h 737"/>
                <a:gd name="T34" fmla="*/ 0 w 731"/>
                <a:gd name="T35" fmla="*/ 0 h 737"/>
                <a:gd name="T36" fmla="*/ 0 w 731"/>
                <a:gd name="T37" fmla="*/ 0 h 737"/>
                <a:gd name="T38" fmla="*/ 0 w 731"/>
                <a:gd name="T39" fmla="*/ 0 h 737"/>
                <a:gd name="T40" fmla="*/ 0 w 731"/>
                <a:gd name="T41" fmla="*/ 0 h 737"/>
                <a:gd name="T42" fmla="*/ 0 w 731"/>
                <a:gd name="T43" fmla="*/ 0 h 737"/>
                <a:gd name="T44" fmla="*/ 0 w 731"/>
                <a:gd name="T45" fmla="*/ 0 h 737"/>
                <a:gd name="T46" fmla="*/ 0 w 731"/>
                <a:gd name="T47" fmla="*/ 0 h 737"/>
                <a:gd name="T48" fmla="*/ 0 w 731"/>
                <a:gd name="T49" fmla="*/ 0 h 737"/>
                <a:gd name="T50" fmla="*/ 0 w 731"/>
                <a:gd name="T51" fmla="*/ 0 h 737"/>
                <a:gd name="T52" fmla="*/ 0 w 731"/>
                <a:gd name="T53" fmla="*/ 0 h 737"/>
                <a:gd name="T54" fmla="*/ 0 w 731"/>
                <a:gd name="T55" fmla="*/ 0 h 737"/>
                <a:gd name="T56" fmla="*/ 0 w 731"/>
                <a:gd name="T57" fmla="*/ 0 h 737"/>
                <a:gd name="T58" fmla="*/ 0 w 731"/>
                <a:gd name="T59" fmla="*/ 0 h 737"/>
                <a:gd name="T60" fmla="*/ 0 w 731"/>
                <a:gd name="T61" fmla="*/ 0 h 737"/>
                <a:gd name="T62" fmla="*/ 0 w 731"/>
                <a:gd name="T63" fmla="*/ 0 h 737"/>
                <a:gd name="T64" fmla="*/ 0 w 731"/>
                <a:gd name="T65" fmla="*/ 0 h 737"/>
                <a:gd name="T66" fmla="*/ 0 w 731"/>
                <a:gd name="T67" fmla="*/ 0 h 737"/>
                <a:gd name="T68" fmla="*/ 0 w 731"/>
                <a:gd name="T69" fmla="*/ 0 h 737"/>
                <a:gd name="T70" fmla="*/ 0 w 731"/>
                <a:gd name="T71" fmla="*/ 0 h 737"/>
                <a:gd name="T72" fmla="*/ 0 w 731"/>
                <a:gd name="T73" fmla="*/ 0 h 737"/>
                <a:gd name="T74" fmla="*/ 0 w 731"/>
                <a:gd name="T75" fmla="*/ 0 h 737"/>
                <a:gd name="T76" fmla="*/ 0 w 731"/>
                <a:gd name="T77" fmla="*/ 0 h 737"/>
                <a:gd name="T78" fmla="*/ 0 w 731"/>
                <a:gd name="T79" fmla="*/ 0 h 737"/>
                <a:gd name="T80" fmla="*/ 0 w 731"/>
                <a:gd name="T81" fmla="*/ 0 h 737"/>
                <a:gd name="T82" fmla="*/ 0 w 731"/>
                <a:gd name="T83" fmla="*/ 0 h 737"/>
                <a:gd name="T84" fmla="*/ 0 w 731"/>
                <a:gd name="T85" fmla="*/ 0 h 737"/>
                <a:gd name="T86" fmla="*/ 0 w 731"/>
                <a:gd name="T87" fmla="*/ 0 h 737"/>
                <a:gd name="T88" fmla="*/ 0 w 731"/>
                <a:gd name="T89" fmla="*/ 0 h 737"/>
                <a:gd name="T90" fmla="*/ 0 w 731"/>
                <a:gd name="T91" fmla="*/ 0 h 737"/>
                <a:gd name="T92" fmla="*/ 0 w 731"/>
                <a:gd name="T93" fmla="*/ 0 h 737"/>
                <a:gd name="T94" fmla="*/ 0 w 731"/>
                <a:gd name="T95" fmla="*/ 0 h 737"/>
                <a:gd name="T96" fmla="*/ 0 w 731"/>
                <a:gd name="T97" fmla="*/ 0 h 737"/>
                <a:gd name="T98" fmla="*/ 0 w 731"/>
                <a:gd name="T99" fmla="*/ 0 h 737"/>
                <a:gd name="T100" fmla="*/ 0 w 731"/>
                <a:gd name="T101" fmla="*/ 0 h 737"/>
                <a:gd name="T102" fmla="*/ 0 w 731"/>
                <a:gd name="T103" fmla="*/ 0 h 737"/>
                <a:gd name="T104" fmla="*/ 0 w 731"/>
                <a:gd name="T105" fmla="*/ 0 h 737"/>
                <a:gd name="T106" fmla="*/ 0 w 731"/>
                <a:gd name="T107" fmla="*/ 0 h 737"/>
                <a:gd name="T108" fmla="*/ 0 w 731"/>
                <a:gd name="T109" fmla="*/ 0 h 737"/>
                <a:gd name="T110" fmla="*/ 0 w 731"/>
                <a:gd name="T111" fmla="*/ 0 h 737"/>
                <a:gd name="T112" fmla="*/ 0 w 731"/>
                <a:gd name="T113" fmla="*/ 0 h 737"/>
                <a:gd name="T114" fmla="*/ 0 w 731"/>
                <a:gd name="T115" fmla="*/ 0 h 737"/>
                <a:gd name="T116" fmla="*/ 0 w 731"/>
                <a:gd name="T117" fmla="*/ 0 h 737"/>
                <a:gd name="T118" fmla="*/ 0 w 731"/>
                <a:gd name="T119" fmla="*/ 0 h 73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31"/>
                <a:gd name="T181" fmla="*/ 0 h 737"/>
                <a:gd name="T182" fmla="*/ 731 w 731"/>
                <a:gd name="T183" fmla="*/ 737 h 73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31" h="737">
                  <a:moveTo>
                    <a:pt x="104" y="37"/>
                  </a:moveTo>
                  <a:cubicBezTo>
                    <a:pt x="100" y="45"/>
                    <a:pt x="75" y="49"/>
                    <a:pt x="69" y="55"/>
                  </a:cubicBezTo>
                  <a:cubicBezTo>
                    <a:pt x="63" y="61"/>
                    <a:pt x="50" y="78"/>
                    <a:pt x="50" y="78"/>
                  </a:cubicBezTo>
                  <a:cubicBezTo>
                    <a:pt x="50" y="78"/>
                    <a:pt x="37" y="83"/>
                    <a:pt x="35" y="89"/>
                  </a:cubicBezTo>
                  <a:cubicBezTo>
                    <a:pt x="33" y="95"/>
                    <a:pt x="43" y="115"/>
                    <a:pt x="44" y="127"/>
                  </a:cubicBezTo>
                  <a:cubicBezTo>
                    <a:pt x="45" y="139"/>
                    <a:pt x="25" y="153"/>
                    <a:pt x="25" y="153"/>
                  </a:cubicBezTo>
                  <a:cubicBezTo>
                    <a:pt x="25" y="153"/>
                    <a:pt x="0" y="161"/>
                    <a:pt x="1" y="167"/>
                  </a:cubicBezTo>
                  <a:cubicBezTo>
                    <a:pt x="2" y="173"/>
                    <a:pt x="29" y="224"/>
                    <a:pt x="30" y="234"/>
                  </a:cubicBezTo>
                  <a:cubicBezTo>
                    <a:pt x="31" y="244"/>
                    <a:pt x="22" y="274"/>
                    <a:pt x="22" y="274"/>
                  </a:cubicBezTo>
                  <a:cubicBezTo>
                    <a:pt x="28" y="288"/>
                    <a:pt x="28" y="288"/>
                    <a:pt x="28" y="288"/>
                  </a:cubicBezTo>
                  <a:cubicBezTo>
                    <a:pt x="19" y="301"/>
                    <a:pt x="19" y="301"/>
                    <a:pt x="19" y="301"/>
                  </a:cubicBezTo>
                  <a:cubicBezTo>
                    <a:pt x="24" y="337"/>
                    <a:pt x="24" y="337"/>
                    <a:pt x="24" y="337"/>
                  </a:cubicBezTo>
                  <a:cubicBezTo>
                    <a:pt x="24" y="337"/>
                    <a:pt x="28" y="343"/>
                    <a:pt x="28" y="355"/>
                  </a:cubicBezTo>
                  <a:cubicBezTo>
                    <a:pt x="28" y="367"/>
                    <a:pt x="2" y="369"/>
                    <a:pt x="1" y="375"/>
                  </a:cubicBezTo>
                  <a:cubicBezTo>
                    <a:pt x="0" y="381"/>
                    <a:pt x="27" y="417"/>
                    <a:pt x="32" y="425"/>
                  </a:cubicBezTo>
                  <a:cubicBezTo>
                    <a:pt x="37" y="433"/>
                    <a:pt x="32" y="443"/>
                    <a:pt x="32" y="450"/>
                  </a:cubicBezTo>
                  <a:cubicBezTo>
                    <a:pt x="32" y="457"/>
                    <a:pt x="44" y="468"/>
                    <a:pt x="48" y="470"/>
                  </a:cubicBezTo>
                  <a:cubicBezTo>
                    <a:pt x="52" y="472"/>
                    <a:pt x="57" y="467"/>
                    <a:pt x="63" y="464"/>
                  </a:cubicBezTo>
                  <a:cubicBezTo>
                    <a:pt x="69" y="461"/>
                    <a:pt x="97" y="474"/>
                    <a:pt x="102" y="477"/>
                  </a:cubicBezTo>
                  <a:cubicBezTo>
                    <a:pt x="107" y="480"/>
                    <a:pt x="122" y="521"/>
                    <a:pt x="122" y="521"/>
                  </a:cubicBezTo>
                  <a:cubicBezTo>
                    <a:pt x="147" y="527"/>
                    <a:pt x="147" y="527"/>
                    <a:pt x="147" y="527"/>
                  </a:cubicBezTo>
                  <a:cubicBezTo>
                    <a:pt x="147" y="527"/>
                    <a:pt x="187" y="535"/>
                    <a:pt x="194" y="537"/>
                  </a:cubicBezTo>
                  <a:cubicBezTo>
                    <a:pt x="201" y="539"/>
                    <a:pt x="217" y="567"/>
                    <a:pt x="228" y="566"/>
                  </a:cubicBezTo>
                  <a:cubicBezTo>
                    <a:pt x="239" y="565"/>
                    <a:pt x="311" y="521"/>
                    <a:pt x="311" y="521"/>
                  </a:cubicBezTo>
                  <a:cubicBezTo>
                    <a:pt x="684" y="737"/>
                    <a:pt x="684" y="737"/>
                    <a:pt x="684" y="737"/>
                  </a:cubicBezTo>
                  <a:cubicBezTo>
                    <a:pt x="683" y="708"/>
                    <a:pt x="683" y="708"/>
                    <a:pt x="683" y="708"/>
                  </a:cubicBezTo>
                  <a:cubicBezTo>
                    <a:pt x="731" y="707"/>
                    <a:pt x="731" y="707"/>
                    <a:pt x="731" y="707"/>
                  </a:cubicBezTo>
                  <a:cubicBezTo>
                    <a:pt x="730" y="599"/>
                    <a:pt x="730" y="599"/>
                    <a:pt x="730" y="599"/>
                  </a:cubicBezTo>
                  <a:cubicBezTo>
                    <a:pt x="730" y="599"/>
                    <a:pt x="717" y="214"/>
                    <a:pt x="717" y="201"/>
                  </a:cubicBezTo>
                  <a:cubicBezTo>
                    <a:pt x="717" y="188"/>
                    <a:pt x="702" y="170"/>
                    <a:pt x="699" y="163"/>
                  </a:cubicBezTo>
                  <a:cubicBezTo>
                    <a:pt x="696" y="156"/>
                    <a:pt x="710" y="144"/>
                    <a:pt x="713" y="135"/>
                  </a:cubicBezTo>
                  <a:cubicBezTo>
                    <a:pt x="716" y="126"/>
                    <a:pt x="704" y="119"/>
                    <a:pt x="703" y="115"/>
                  </a:cubicBezTo>
                  <a:cubicBezTo>
                    <a:pt x="702" y="111"/>
                    <a:pt x="702" y="97"/>
                    <a:pt x="707" y="94"/>
                  </a:cubicBezTo>
                  <a:cubicBezTo>
                    <a:pt x="711" y="92"/>
                    <a:pt x="717" y="85"/>
                    <a:pt x="720" y="81"/>
                  </a:cubicBezTo>
                  <a:cubicBezTo>
                    <a:pt x="714" y="72"/>
                    <a:pt x="716" y="63"/>
                    <a:pt x="716" y="63"/>
                  </a:cubicBezTo>
                  <a:cubicBezTo>
                    <a:pt x="701" y="68"/>
                    <a:pt x="701" y="68"/>
                    <a:pt x="701" y="68"/>
                  </a:cubicBezTo>
                  <a:cubicBezTo>
                    <a:pt x="694" y="59"/>
                    <a:pt x="694" y="59"/>
                    <a:pt x="694" y="59"/>
                  </a:cubicBezTo>
                  <a:cubicBezTo>
                    <a:pt x="694" y="59"/>
                    <a:pt x="689" y="67"/>
                    <a:pt x="682" y="67"/>
                  </a:cubicBezTo>
                  <a:cubicBezTo>
                    <a:pt x="675" y="67"/>
                    <a:pt x="667" y="50"/>
                    <a:pt x="658" y="50"/>
                  </a:cubicBezTo>
                  <a:cubicBezTo>
                    <a:pt x="649" y="50"/>
                    <a:pt x="639" y="57"/>
                    <a:pt x="628" y="49"/>
                  </a:cubicBezTo>
                  <a:cubicBezTo>
                    <a:pt x="617" y="41"/>
                    <a:pt x="626" y="32"/>
                    <a:pt x="617" y="28"/>
                  </a:cubicBezTo>
                  <a:cubicBezTo>
                    <a:pt x="608" y="24"/>
                    <a:pt x="590" y="23"/>
                    <a:pt x="590" y="23"/>
                  </a:cubicBezTo>
                  <a:cubicBezTo>
                    <a:pt x="590" y="23"/>
                    <a:pt x="569" y="15"/>
                    <a:pt x="561" y="15"/>
                  </a:cubicBezTo>
                  <a:cubicBezTo>
                    <a:pt x="553" y="15"/>
                    <a:pt x="553" y="23"/>
                    <a:pt x="553" y="23"/>
                  </a:cubicBezTo>
                  <a:cubicBezTo>
                    <a:pt x="553" y="23"/>
                    <a:pt x="523" y="21"/>
                    <a:pt x="510" y="31"/>
                  </a:cubicBezTo>
                  <a:cubicBezTo>
                    <a:pt x="497" y="41"/>
                    <a:pt x="480" y="54"/>
                    <a:pt x="480" y="70"/>
                  </a:cubicBezTo>
                  <a:cubicBezTo>
                    <a:pt x="480" y="86"/>
                    <a:pt x="496" y="105"/>
                    <a:pt x="496" y="114"/>
                  </a:cubicBezTo>
                  <a:cubicBezTo>
                    <a:pt x="496" y="123"/>
                    <a:pt x="475" y="152"/>
                    <a:pt x="463" y="154"/>
                  </a:cubicBezTo>
                  <a:cubicBezTo>
                    <a:pt x="451" y="156"/>
                    <a:pt x="433" y="159"/>
                    <a:pt x="419" y="144"/>
                  </a:cubicBezTo>
                  <a:cubicBezTo>
                    <a:pt x="405" y="129"/>
                    <a:pt x="366" y="106"/>
                    <a:pt x="351" y="105"/>
                  </a:cubicBezTo>
                  <a:cubicBezTo>
                    <a:pt x="336" y="104"/>
                    <a:pt x="302" y="113"/>
                    <a:pt x="289" y="97"/>
                  </a:cubicBezTo>
                  <a:cubicBezTo>
                    <a:pt x="276" y="81"/>
                    <a:pt x="280" y="69"/>
                    <a:pt x="271" y="53"/>
                  </a:cubicBezTo>
                  <a:cubicBezTo>
                    <a:pt x="262" y="37"/>
                    <a:pt x="244" y="40"/>
                    <a:pt x="244" y="40"/>
                  </a:cubicBezTo>
                  <a:cubicBezTo>
                    <a:pt x="244" y="40"/>
                    <a:pt x="220" y="22"/>
                    <a:pt x="212" y="21"/>
                  </a:cubicBezTo>
                  <a:cubicBezTo>
                    <a:pt x="204" y="20"/>
                    <a:pt x="180" y="19"/>
                    <a:pt x="173" y="20"/>
                  </a:cubicBezTo>
                  <a:cubicBezTo>
                    <a:pt x="166" y="21"/>
                    <a:pt x="154" y="28"/>
                    <a:pt x="143" y="24"/>
                  </a:cubicBezTo>
                  <a:cubicBezTo>
                    <a:pt x="132" y="20"/>
                    <a:pt x="112" y="4"/>
                    <a:pt x="107" y="3"/>
                  </a:cubicBezTo>
                  <a:cubicBezTo>
                    <a:pt x="104" y="2"/>
                    <a:pt x="100" y="1"/>
                    <a:pt x="96" y="0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7"/>
                    <a:pt x="108" y="29"/>
                    <a:pt x="104" y="37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10" name="Freeform 126"/>
            <p:cNvSpPr>
              <a:spLocks noEditPoints="1"/>
            </p:cNvSpPr>
            <p:nvPr/>
          </p:nvSpPr>
          <p:spPr bwMode="auto">
            <a:xfrm>
              <a:off x="2881" y="2841"/>
              <a:ext cx="226" cy="279"/>
            </a:xfrm>
            <a:custGeom>
              <a:avLst/>
              <a:gdLst>
                <a:gd name="T0" fmla="*/ 0 w 597"/>
                <a:gd name="T1" fmla="*/ 0 h 735"/>
                <a:gd name="T2" fmla="*/ 0 w 597"/>
                <a:gd name="T3" fmla="*/ 0 h 735"/>
                <a:gd name="T4" fmla="*/ 0 w 597"/>
                <a:gd name="T5" fmla="*/ 0 h 735"/>
                <a:gd name="T6" fmla="*/ 0 w 597"/>
                <a:gd name="T7" fmla="*/ 0 h 735"/>
                <a:gd name="T8" fmla="*/ 0 w 597"/>
                <a:gd name="T9" fmla="*/ 0 h 735"/>
                <a:gd name="T10" fmla="*/ 0 w 597"/>
                <a:gd name="T11" fmla="*/ 0 h 735"/>
                <a:gd name="T12" fmla="*/ 0 w 597"/>
                <a:gd name="T13" fmla="*/ 0 h 735"/>
                <a:gd name="T14" fmla="*/ 0 w 597"/>
                <a:gd name="T15" fmla="*/ 0 h 735"/>
                <a:gd name="T16" fmla="*/ 0 w 597"/>
                <a:gd name="T17" fmla="*/ 0 h 735"/>
                <a:gd name="T18" fmla="*/ 0 w 597"/>
                <a:gd name="T19" fmla="*/ 0 h 735"/>
                <a:gd name="T20" fmla="*/ 0 w 597"/>
                <a:gd name="T21" fmla="*/ 0 h 735"/>
                <a:gd name="T22" fmla="*/ 0 w 597"/>
                <a:gd name="T23" fmla="*/ 0 h 735"/>
                <a:gd name="T24" fmla="*/ 0 w 597"/>
                <a:gd name="T25" fmla="*/ 0 h 735"/>
                <a:gd name="T26" fmla="*/ 0 w 597"/>
                <a:gd name="T27" fmla="*/ 0 h 735"/>
                <a:gd name="T28" fmla="*/ 0 w 597"/>
                <a:gd name="T29" fmla="*/ 0 h 735"/>
                <a:gd name="T30" fmla="*/ 0 w 597"/>
                <a:gd name="T31" fmla="*/ 0 h 735"/>
                <a:gd name="T32" fmla="*/ 0 w 597"/>
                <a:gd name="T33" fmla="*/ 0 h 735"/>
                <a:gd name="T34" fmla="*/ 0 w 597"/>
                <a:gd name="T35" fmla="*/ 0 h 735"/>
                <a:gd name="T36" fmla="*/ 0 w 597"/>
                <a:gd name="T37" fmla="*/ 0 h 735"/>
                <a:gd name="T38" fmla="*/ 0 w 597"/>
                <a:gd name="T39" fmla="*/ 0 h 735"/>
                <a:gd name="T40" fmla="*/ 0 w 597"/>
                <a:gd name="T41" fmla="*/ 0 h 735"/>
                <a:gd name="T42" fmla="*/ 0 w 597"/>
                <a:gd name="T43" fmla="*/ 0 h 735"/>
                <a:gd name="T44" fmla="*/ 0 w 597"/>
                <a:gd name="T45" fmla="*/ 0 h 735"/>
                <a:gd name="T46" fmla="*/ 0 w 597"/>
                <a:gd name="T47" fmla="*/ 0 h 735"/>
                <a:gd name="T48" fmla="*/ 0 w 597"/>
                <a:gd name="T49" fmla="*/ 0 h 735"/>
                <a:gd name="T50" fmla="*/ 0 w 597"/>
                <a:gd name="T51" fmla="*/ 0 h 735"/>
                <a:gd name="T52" fmla="*/ 0 w 597"/>
                <a:gd name="T53" fmla="*/ 0 h 735"/>
                <a:gd name="T54" fmla="*/ 0 w 597"/>
                <a:gd name="T55" fmla="*/ 0 h 735"/>
                <a:gd name="T56" fmla="*/ 0 w 597"/>
                <a:gd name="T57" fmla="*/ 0 h 735"/>
                <a:gd name="T58" fmla="*/ 0 w 597"/>
                <a:gd name="T59" fmla="*/ 0 h 735"/>
                <a:gd name="T60" fmla="*/ 0 w 597"/>
                <a:gd name="T61" fmla="*/ 0 h 735"/>
                <a:gd name="T62" fmla="*/ 0 w 597"/>
                <a:gd name="T63" fmla="*/ 0 h 735"/>
                <a:gd name="T64" fmla="*/ 0 w 597"/>
                <a:gd name="T65" fmla="*/ 0 h 735"/>
                <a:gd name="T66" fmla="*/ 0 w 597"/>
                <a:gd name="T67" fmla="*/ 0 h 735"/>
                <a:gd name="T68" fmla="*/ 0 w 597"/>
                <a:gd name="T69" fmla="*/ 0 h 735"/>
                <a:gd name="T70" fmla="*/ 0 w 597"/>
                <a:gd name="T71" fmla="*/ 0 h 735"/>
                <a:gd name="T72" fmla="*/ 0 w 597"/>
                <a:gd name="T73" fmla="*/ 0 h 735"/>
                <a:gd name="T74" fmla="*/ 0 w 597"/>
                <a:gd name="T75" fmla="*/ 0 h 735"/>
                <a:gd name="T76" fmla="*/ 0 w 597"/>
                <a:gd name="T77" fmla="*/ 0 h 735"/>
                <a:gd name="T78" fmla="*/ 0 w 597"/>
                <a:gd name="T79" fmla="*/ 0 h 735"/>
                <a:gd name="T80" fmla="*/ 0 w 597"/>
                <a:gd name="T81" fmla="*/ 0 h 735"/>
                <a:gd name="T82" fmla="*/ 0 w 597"/>
                <a:gd name="T83" fmla="*/ 0 h 735"/>
                <a:gd name="T84" fmla="*/ 0 w 597"/>
                <a:gd name="T85" fmla="*/ 0 h 735"/>
                <a:gd name="T86" fmla="*/ 0 w 597"/>
                <a:gd name="T87" fmla="*/ 0 h 735"/>
                <a:gd name="T88" fmla="*/ 0 w 597"/>
                <a:gd name="T89" fmla="*/ 0 h 735"/>
                <a:gd name="T90" fmla="*/ 0 w 597"/>
                <a:gd name="T91" fmla="*/ 0 h 735"/>
                <a:gd name="T92" fmla="*/ 0 w 597"/>
                <a:gd name="T93" fmla="*/ 0 h 735"/>
                <a:gd name="T94" fmla="*/ 0 w 597"/>
                <a:gd name="T95" fmla="*/ 0 h 735"/>
                <a:gd name="T96" fmla="*/ 0 w 597"/>
                <a:gd name="T97" fmla="*/ 0 h 735"/>
                <a:gd name="T98" fmla="*/ 0 w 597"/>
                <a:gd name="T99" fmla="*/ 0 h 735"/>
                <a:gd name="T100" fmla="*/ 0 w 597"/>
                <a:gd name="T101" fmla="*/ 0 h 735"/>
                <a:gd name="T102" fmla="*/ 0 w 597"/>
                <a:gd name="T103" fmla="*/ 0 h 735"/>
                <a:gd name="T104" fmla="*/ 0 w 597"/>
                <a:gd name="T105" fmla="*/ 0 h 735"/>
                <a:gd name="T106" fmla="*/ 0 w 597"/>
                <a:gd name="T107" fmla="*/ 0 h 735"/>
                <a:gd name="T108" fmla="*/ 0 w 597"/>
                <a:gd name="T109" fmla="*/ 0 h 735"/>
                <a:gd name="T110" fmla="*/ 0 w 597"/>
                <a:gd name="T111" fmla="*/ 0 h 735"/>
                <a:gd name="T112" fmla="*/ 0 w 597"/>
                <a:gd name="T113" fmla="*/ 0 h 735"/>
                <a:gd name="T114" fmla="*/ 0 w 597"/>
                <a:gd name="T115" fmla="*/ 0 h 735"/>
                <a:gd name="T116" fmla="*/ 0 w 597"/>
                <a:gd name="T117" fmla="*/ 0 h 735"/>
                <a:gd name="T118" fmla="*/ 0 w 597"/>
                <a:gd name="T119" fmla="*/ 0 h 73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97"/>
                <a:gd name="T181" fmla="*/ 0 h 735"/>
                <a:gd name="T182" fmla="*/ 597 w 597"/>
                <a:gd name="T183" fmla="*/ 735 h 73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97" h="735">
                  <a:moveTo>
                    <a:pt x="30" y="77"/>
                  </a:moveTo>
                  <a:cubicBezTo>
                    <a:pt x="30" y="77"/>
                    <a:pt x="31" y="78"/>
                    <a:pt x="32" y="79"/>
                  </a:cubicBezTo>
                  <a:cubicBezTo>
                    <a:pt x="37" y="76"/>
                    <a:pt x="42" y="74"/>
                    <a:pt x="45" y="72"/>
                  </a:cubicBezTo>
                  <a:cubicBezTo>
                    <a:pt x="53" y="68"/>
                    <a:pt x="41" y="42"/>
                    <a:pt x="41" y="42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8" y="17"/>
                    <a:pt x="66" y="0"/>
                    <a:pt x="59" y="1"/>
                  </a:cubicBezTo>
                  <a:cubicBezTo>
                    <a:pt x="52" y="2"/>
                    <a:pt x="38" y="15"/>
                    <a:pt x="38" y="15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6" y="39"/>
                    <a:pt x="26" y="39"/>
                    <a:pt x="26" y="39"/>
                  </a:cubicBezTo>
                  <a:lnTo>
                    <a:pt x="30" y="77"/>
                  </a:lnTo>
                  <a:close/>
                  <a:moveTo>
                    <a:pt x="583" y="362"/>
                  </a:moveTo>
                  <a:cubicBezTo>
                    <a:pt x="569" y="364"/>
                    <a:pt x="569" y="364"/>
                    <a:pt x="569" y="364"/>
                  </a:cubicBezTo>
                  <a:cubicBezTo>
                    <a:pt x="569" y="364"/>
                    <a:pt x="565" y="357"/>
                    <a:pt x="558" y="357"/>
                  </a:cubicBezTo>
                  <a:cubicBezTo>
                    <a:pt x="551" y="357"/>
                    <a:pt x="551" y="362"/>
                    <a:pt x="551" y="362"/>
                  </a:cubicBezTo>
                  <a:cubicBezTo>
                    <a:pt x="535" y="367"/>
                    <a:pt x="535" y="367"/>
                    <a:pt x="535" y="367"/>
                  </a:cubicBezTo>
                  <a:cubicBezTo>
                    <a:pt x="517" y="363"/>
                    <a:pt x="517" y="363"/>
                    <a:pt x="517" y="363"/>
                  </a:cubicBezTo>
                  <a:cubicBezTo>
                    <a:pt x="511" y="375"/>
                    <a:pt x="511" y="375"/>
                    <a:pt x="511" y="375"/>
                  </a:cubicBezTo>
                  <a:cubicBezTo>
                    <a:pt x="511" y="375"/>
                    <a:pt x="503" y="373"/>
                    <a:pt x="500" y="369"/>
                  </a:cubicBezTo>
                  <a:cubicBezTo>
                    <a:pt x="497" y="365"/>
                    <a:pt x="500" y="353"/>
                    <a:pt x="503" y="346"/>
                  </a:cubicBezTo>
                  <a:cubicBezTo>
                    <a:pt x="506" y="339"/>
                    <a:pt x="507" y="324"/>
                    <a:pt x="507" y="324"/>
                  </a:cubicBezTo>
                  <a:cubicBezTo>
                    <a:pt x="507" y="324"/>
                    <a:pt x="503" y="306"/>
                    <a:pt x="496" y="299"/>
                  </a:cubicBezTo>
                  <a:cubicBezTo>
                    <a:pt x="489" y="292"/>
                    <a:pt x="483" y="284"/>
                    <a:pt x="483" y="276"/>
                  </a:cubicBezTo>
                  <a:cubicBezTo>
                    <a:pt x="483" y="268"/>
                    <a:pt x="488" y="256"/>
                    <a:pt x="488" y="256"/>
                  </a:cubicBezTo>
                  <a:cubicBezTo>
                    <a:pt x="485" y="240"/>
                    <a:pt x="485" y="240"/>
                    <a:pt x="485" y="240"/>
                  </a:cubicBezTo>
                  <a:cubicBezTo>
                    <a:pt x="485" y="240"/>
                    <a:pt x="493" y="231"/>
                    <a:pt x="493" y="224"/>
                  </a:cubicBezTo>
                  <a:cubicBezTo>
                    <a:pt x="493" y="217"/>
                    <a:pt x="480" y="204"/>
                    <a:pt x="480" y="204"/>
                  </a:cubicBezTo>
                  <a:cubicBezTo>
                    <a:pt x="477" y="190"/>
                    <a:pt x="477" y="190"/>
                    <a:pt x="477" y="190"/>
                  </a:cubicBezTo>
                  <a:cubicBezTo>
                    <a:pt x="484" y="180"/>
                    <a:pt x="484" y="180"/>
                    <a:pt x="484" y="180"/>
                  </a:cubicBezTo>
                  <a:cubicBezTo>
                    <a:pt x="484" y="162"/>
                    <a:pt x="484" y="162"/>
                    <a:pt x="484" y="162"/>
                  </a:cubicBezTo>
                  <a:cubicBezTo>
                    <a:pt x="424" y="163"/>
                    <a:pt x="424" y="163"/>
                    <a:pt x="424" y="163"/>
                  </a:cubicBezTo>
                  <a:cubicBezTo>
                    <a:pt x="423" y="155"/>
                    <a:pt x="423" y="155"/>
                    <a:pt x="423" y="155"/>
                  </a:cubicBezTo>
                  <a:cubicBezTo>
                    <a:pt x="423" y="155"/>
                    <a:pt x="427" y="146"/>
                    <a:pt x="418" y="143"/>
                  </a:cubicBezTo>
                  <a:cubicBezTo>
                    <a:pt x="409" y="140"/>
                    <a:pt x="409" y="148"/>
                    <a:pt x="409" y="148"/>
                  </a:cubicBezTo>
                  <a:cubicBezTo>
                    <a:pt x="409" y="148"/>
                    <a:pt x="380" y="145"/>
                    <a:pt x="375" y="149"/>
                  </a:cubicBezTo>
                  <a:cubicBezTo>
                    <a:pt x="370" y="153"/>
                    <a:pt x="381" y="165"/>
                    <a:pt x="381" y="170"/>
                  </a:cubicBezTo>
                  <a:cubicBezTo>
                    <a:pt x="381" y="175"/>
                    <a:pt x="374" y="175"/>
                    <a:pt x="371" y="179"/>
                  </a:cubicBezTo>
                  <a:cubicBezTo>
                    <a:pt x="368" y="183"/>
                    <a:pt x="369" y="197"/>
                    <a:pt x="369" y="197"/>
                  </a:cubicBezTo>
                  <a:cubicBezTo>
                    <a:pt x="339" y="200"/>
                    <a:pt x="339" y="200"/>
                    <a:pt x="339" y="200"/>
                  </a:cubicBezTo>
                  <a:cubicBezTo>
                    <a:pt x="335" y="195"/>
                    <a:pt x="335" y="195"/>
                    <a:pt x="335" y="195"/>
                  </a:cubicBezTo>
                  <a:cubicBezTo>
                    <a:pt x="328" y="201"/>
                    <a:pt x="328" y="201"/>
                    <a:pt x="328" y="201"/>
                  </a:cubicBezTo>
                  <a:cubicBezTo>
                    <a:pt x="313" y="201"/>
                    <a:pt x="313" y="201"/>
                    <a:pt x="313" y="201"/>
                  </a:cubicBezTo>
                  <a:cubicBezTo>
                    <a:pt x="309" y="208"/>
                    <a:pt x="309" y="208"/>
                    <a:pt x="309" y="208"/>
                  </a:cubicBezTo>
                  <a:cubicBezTo>
                    <a:pt x="302" y="203"/>
                    <a:pt x="302" y="203"/>
                    <a:pt x="302" y="203"/>
                  </a:cubicBezTo>
                  <a:cubicBezTo>
                    <a:pt x="281" y="204"/>
                    <a:pt x="281" y="204"/>
                    <a:pt x="281" y="204"/>
                  </a:cubicBezTo>
                  <a:cubicBezTo>
                    <a:pt x="278" y="194"/>
                    <a:pt x="278" y="194"/>
                    <a:pt x="278" y="194"/>
                  </a:cubicBezTo>
                  <a:cubicBezTo>
                    <a:pt x="272" y="186"/>
                    <a:pt x="272" y="186"/>
                    <a:pt x="272" y="186"/>
                  </a:cubicBezTo>
                  <a:cubicBezTo>
                    <a:pt x="272" y="186"/>
                    <a:pt x="270" y="178"/>
                    <a:pt x="265" y="172"/>
                  </a:cubicBezTo>
                  <a:cubicBezTo>
                    <a:pt x="260" y="166"/>
                    <a:pt x="254" y="163"/>
                    <a:pt x="254" y="163"/>
                  </a:cubicBezTo>
                  <a:cubicBezTo>
                    <a:pt x="254" y="163"/>
                    <a:pt x="256" y="147"/>
                    <a:pt x="255" y="141"/>
                  </a:cubicBezTo>
                  <a:cubicBezTo>
                    <a:pt x="254" y="135"/>
                    <a:pt x="244" y="128"/>
                    <a:pt x="244" y="128"/>
                  </a:cubicBezTo>
                  <a:cubicBezTo>
                    <a:pt x="243" y="98"/>
                    <a:pt x="243" y="98"/>
                    <a:pt x="243" y="98"/>
                  </a:cubicBezTo>
                  <a:cubicBezTo>
                    <a:pt x="243" y="98"/>
                    <a:pt x="237" y="94"/>
                    <a:pt x="232" y="85"/>
                  </a:cubicBezTo>
                  <a:cubicBezTo>
                    <a:pt x="227" y="76"/>
                    <a:pt x="209" y="84"/>
                    <a:pt x="209" y="84"/>
                  </a:cubicBezTo>
                  <a:cubicBezTo>
                    <a:pt x="195" y="83"/>
                    <a:pt x="195" y="83"/>
                    <a:pt x="195" y="83"/>
                  </a:cubicBezTo>
                  <a:cubicBezTo>
                    <a:pt x="185" y="86"/>
                    <a:pt x="185" y="86"/>
                    <a:pt x="185" y="86"/>
                  </a:cubicBezTo>
                  <a:cubicBezTo>
                    <a:pt x="185" y="86"/>
                    <a:pt x="178" y="86"/>
                    <a:pt x="173" y="86"/>
                  </a:cubicBezTo>
                  <a:cubicBezTo>
                    <a:pt x="168" y="86"/>
                    <a:pt x="155" y="84"/>
                    <a:pt x="155" y="84"/>
                  </a:cubicBezTo>
                  <a:cubicBezTo>
                    <a:pt x="155" y="84"/>
                    <a:pt x="137" y="87"/>
                    <a:pt x="130" y="88"/>
                  </a:cubicBezTo>
                  <a:cubicBezTo>
                    <a:pt x="123" y="89"/>
                    <a:pt x="112" y="82"/>
                    <a:pt x="112" y="82"/>
                  </a:cubicBezTo>
                  <a:cubicBezTo>
                    <a:pt x="97" y="86"/>
                    <a:pt x="97" y="86"/>
                    <a:pt x="97" y="86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84" y="86"/>
                    <a:pt x="84" y="86"/>
                    <a:pt x="84" y="86"/>
                  </a:cubicBezTo>
                  <a:cubicBezTo>
                    <a:pt x="67" y="84"/>
                    <a:pt x="67" y="84"/>
                    <a:pt x="67" y="84"/>
                  </a:cubicBezTo>
                  <a:cubicBezTo>
                    <a:pt x="44" y="94"/>
                    <a:pt x="44" y="94"/>
                    <a:pt x="44" y="94"/>
                  </a:cubicBezTo>
                  <a:cubicBezTo>
                    <a:pt x="44" y="95"/>
                    <a:pt x="44" y="96"/>
                    <a:pt x="43" y="97"/>
                  </a:cubicBezTo>
                  <a:cubicBezTo>
                    <a:pt x="37" y="101"/>
                    <a:pt x="32" y="102"/>
                    <a:pt x="32" y="102"/>
                  </a:cubicBezTo>
                  <a:cubicBezTo>
                    <a:pt x="32" y="102"/>
                    <a:pt x="45" y="121"/>
                    <a:pt x="48" y="128"/>
                  </a:cubicBezTo>
                  <a:cubicBezTo>
                    <a:pt x="51" y="135"/>
                    <a:pt x="60" y="138"/>
                    <a:pt x="60" y="138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157"/>
                    <a:pt x="88" y="194"/>
                    <a:pt x="85" y="221"/>
                  </a:cubicBezTo>
                  <a:cubicBezTo>
                    <a:pt x="82" y="248"/>
                    <a:pt x="69" y="254"/>
                    <a:pt x="69" y="254"/>
                  </a:cubicBezTo>
                  <a:cubicBezTo>
                    <a:pt x="68" y="271"/>
                    <a:pt x="68" y="271"/>
                    <a:pt x="68" y="271"/>
                  </a:cubicBezTo>
                  <a:cubicBezTo>
                    <a:pt x="75" y="270"/>
                    <a:pt x="75" y="270"/>
                    <a:pt x="75" y="270"/>
                  </a:cubicBezTo>
                  <a:cubicBezTo>
                    <a:pt x="75" y="270"/>
                    <a:pt x="71" y="293"/>
                    <a:pt x="85" y="314"/>
                  </a:cubicBezTo>
                  <a:cubicBezTo>
                    <a:pt x="99" y="335"/>
                    <a:pt x="111" y="373"/>
                    <a:pt x="108" y="388"/>
                  </a:cubicBezTo>
                  <a:cubicBezTo>
                    <a:pt x="105" y="403"/>
                    <a:pt x="94" y="420"/>
                    <a:pt x="94" y="420"/>
                  </a:cubicBezTo>
                  <a:cubicBezTo>
                    <a:pt x="94" y="420"/>
                    <a:pt x="101" y="436"/>
                    <a:pt x="93" y="442"/>
                  </a:cubicBezTo>
                  <a:cubicBezTo>
                    <a:pt x="85" y="448"/>
                    <a:pt x="72" y="446"/>
                    <a:pt x="72" y="446"/>
                  </a:cubicBezTo>
                  <a:cubicBezTo>
                    <a:pt x="66" y="460"/>
                    <a:pt x="66" y="460"/>
                    <a:pt x="66" y="460"/>
                  </a:cubicBezTo>
                  <a:cubicBezTo>
                    <a:pt x="68" y="475"/>
                    <a:pt x="68" y="475"/>
                    <a:pt x="68" y="475"/>
                  </a:cubicBezTo>
                  <a:cubicBezTo>
                    <a:pt x="68" y="475"/>
                    <a:pt x="43" y="472"/>
                    <a:pt x="44" y="484"/>
                  </a:cubicBezTo>
                  <a:cubicBezTo>
                    <a:pt x="45" y="496"/>
                    <a:pt x="41" y="514"/>
                    <a:pt x="41" y="514"/>
                  </a:cubicBezTo>
                  <a:cubicBezTo>
                    <a:pt x="34" y="524"/>
                    <a:pt x="34" y="524"/>
                    <a:pt x="34" y="524"/>
                  </a:cubicBezTo>
                  <a:cubicBezTo>
                    <a:pt x="34" y="524"/>
                    <a:pt x="38" y="556"/>
                    <a:pt x="35" y="566"/>
                  </a:cubicBezTo>
                  <a:cubicBezTo>
                    <a:pt x="32" y="576"/>
                    <a:pt x="21" y="579"/>
                    <a:pt x="21" y="579"/>
                  </a:cubicBezTo>
                  <a:cubicBezTo>
                    <a:pt x="21" y="606"/>
                    <a:pt x="21" y="606"/>
                    <a:pt x="21" y="606"/>
                  </a:cubicBezTo>
                  <a:cubicBezTo>
                    <a:pt x="6" y="618"/>
                    <a:pt x="6" y="618"/>
                    <a:pt x="6" y="618"/>
                  </a:cubicBezTo>
                  <a:cubicBezTo>
                    <a:pt x="6" y="645"/>
                    <a:pt x="6" y="645"/>
                    <a:pt x="6" y="645"/>
                  </a:cubicBezTo>
                  <a:cubicBezTo>
                    <a:pt x="13" y="654"/>
                    <a:pt x="13" y="654"/>
                    <a:pt x="13" y="654"/>
                  </a:cubicBezTo>
                  <a:cubicBezTo>
                    <a:pt x="0" y="669"/>
                    <a:pt x="0" y="669"/>
                    <a:pt x="0" y="669"/>
                  </a:cubicBezTo>
                  <a:cubicBezTo>
                    <a:pt x="3" y="696"/>
                    <a:pt x="3" y="696"/>
                    <a:pt x="3" y="696"/>
                  </a:cubicBezTo>
                  <a:cubicBezTo>
                    <a:pt x="13" y="695"/>
                    <a:pt x="13" y="695"/>
                    <a:pt x="13" y="695"/>
                  </a:cubicBezTo>
                  <a:cubicBezTo>
                    <a:pt x="24" y="691"/>
                    <a:pt x="24" y="691"/>
                    <a:pt x="24" y="691"/>
                  </a:cubicBezTo>
                  <a:cubicBezTo>
                    <a:pt x="31" y="696"/>
                    <a:pt x="31" y="696"/>
                    <a:pt x="31" y="696"/>
                  </a:cubicBezTo>
                  <a:cubicBezTo>
                    <a:pt x="31" y="696"/>
                    <a:pt x="43" y="696"/>
                    <a:pt x="50" y="695"/>
                  </a:cubicBezTo>
                  <a:cubicBezTo>
                    <a:pt x="57" y="694"/>
                    <a:pt x="61" y="680"/>
                    <a:pt x="61" y="680"/>
                  </a:cubicBezTo>
                  <a:cubicBezTo>
                    <a:pt x="61" y="680"/>
                    <a:pt x="82" y="682"/>
                    <a:pt x="81" y="681"/>
                  </a:cubicBezTo>
                  <a:cubicBezTo>
                    <a:pt x="85" y="692"/>
                    <a:pt x="119" y="705"/>
                    <a:pt x="119" y="705"/>
                  </a:cubicBezTo>
                  <a:cubicBezTo>
                    <a:pt x="322" y="703"/>
                    <a:pt x="322" y="703"/>
                    <a:pt x="322" y="703"/>
                  </a:cubicBezTo>
                  <a:cubicBezTo>
                    <a:pt x="322" y="703"/>
                    <a:pt x="331" y="722"/>
                    <a:pt x="338" y="724"/>
                  </a:cubicBezTo>
                  <a:cubicBezTo>
                    <a:pt x="345" y="726"/>
                    <a:pt x="361" y="724"/>
                    <a:pt x="361" y="724"/>
                  </a:cubicBezTo>
                  <a:cubicBezTo>
                    <a:pt x="365" y="730"/>
                    <a:pt x="365" y="730"/>
                    <a:pt x="365" y="730"/>
                  </a:cubicBezTo>
                  <a:cubicBezTo>
                    <a:pt x="411" y="729"/>
                    <a:pt x="411" y="729"/>
                    <a:pt x="411" y="729"/>
                  </a:cubicBezTo>
                  <a:cubicBezTo>
                    <a:pt x="417" y="735"/>
                    <a:pt x="417" y="735"/>
                    <a:pt x="417" y="735"/>
                  </a:cubicBezTo>
                  <a:cubicBezTo>
                    <a:pt x="417" y="735"/>
                    <a:pt x="435" y="735"/>
                    <a:pt x="463" y="735"/>
                  </a:cubicBezTo>
                  <a:cubicBezTo>
                    <a:pt x="491" y="735"/>
                    <a:pt x="551" y="715"/>
                    <a:pt x="551" y="715"/>
                  </a:cubicBezTo>
                  <a:cubicBezTo>
                    <a:pt x="493" y="657"/>
                    <a:pt x="493" y="657"/>
                    <a:pt x="493" y="657"/>
                  </a:cubicBezTo>
                  <a:cubicBezTo>
                    <a:pt x="493" y="645"/>
                    <a:pt x="493" y="645"/>
                    <a:pt x="493" y="645"/>
                  </a:cubicBezTo>
                  <a:cubicBezTo>
                    <a:pt x="487" y="635"/>
                    <a:pt x="487" y="635"/>
                    <a:pt x="487" y="635"/>
                  </a:cubicBezTo>
                  <a:cubicBezTo>
                    <a:pt x="488" y="468"/>
                    <a:pt x="488" y="468"/>
                    <a:pt x="488" y="468"/>
                  </a:cubicBezTo>
                  <a:cubicBezTo>
                    <a:pt x="571" y="470"/>
                    <a:pt x="571" y="470"/>
                    <a:pt x="571" y="470"/>
                  </a:cubicBezTo>
                  <a:cubicBezTo>
                    <a:pt x="571" y="470"/>
                    <a:pt x="582" y="470"/>
                    <a:pt x="584" y="463"/>
                  </a:cubicBezTo>
                  <a:cubicBezTo>
                    <a:pt x="586" y="456"/>
                    <a:pt x="580" y="440"/>
                    <a:pt x="580" y="440"/>
                  </a:cubicBezTo>
                  <a:cubicBezTo>
                    <a:pt x="593" y="437"/>
                    <a:pt x="593" y="437"/>
                    <a:pt x="593" y="437"/>
                  </a:cubicBezTo>
                  <a:cubicBezTo>
                    <a:pt x="585" y="426"/>
                    <a:pt x="585" y="426"/>
                    <a:pt x="585" y="426"/>
                  </a:cubicBezTo>
                  <a:cubicBezTo>
                    <a:pt x="583" y="391"/>
                    <a:pt x="583" y="391"/>
                    <a:pt x="583" y="391"/>
                  </a:cubicBezTo>
                  <a:cubicBezTo>
                    <a:pt x="583" y="391"/>
                    <a:pt x="591" y="389"/>
                    <a:pt x="594" y="386"/>
                  </a:cubicBezTo>
                  <a:cubicBezTo>
                    <a:pt x="597" y="383"/>
                    <a:pt x="583" y="362"/>
                    <a:pt x="583" y="362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11" name="Freeform 127"/>
            <p:cNvSpPr>
              <a:spLocks/>
            </p:cNvSpPr>
            <p:nvPr/>
          </p:nvSpPr>
          <p:spPr bwMode="auto">
            <a:xfrm>
              <a:off x="3190" y="2775"/>
              <a:ext cx="39" cy="37"/>
            </a:xfrm>
            <a:custGeom>
              <a:avLst/>
              <a:gdLst>
                <a:gd name="T0" fmla="*/ 0 w 104"/>
                <a:gd name="T1" fmla="*/ 0 h 98"/>
                <a:gd name="T2" fmla="*/ 0 w 104"/>
                <a:gd name="T3" fmla="*/ 0 h 98"/>
                <a:gd name="T4" fmla="*/ 0 w 104"/>
                <a:gd name="T5" fmla="*/ 0 h 98"/>
                <a:gd name="T6" fmla="*/ 0 w 104"/>
                <a:gd name="T7" fmla="*/ 0 h 98"/>
                <a:gd name="T8" fmla="*/ 0 w 104"/>
                <a:gd name="T9" fmla="*/ 0 h 98"/>
                <a:gd name="T10" fmla="*/ 0 w 104"/>
                <a:gd name="T11" fmla="*/ 0 h 98"/>
                <a:gd name="T12" fmla="*/ 0 w 104"/>
                <a:gd name="T13" fmla="*/ 0 h 98"/>
                <a:gd name="T14" fmla="*/ 0 w 104"/>
                <a:gd name="T15" fmla="*/ 0 h 98"/>
                <a:gd name="T16" fmla="*/ 0 w 104"/>
                <a:gd name="T17" fmla="*/ 0 h 98"/>
                <a:gd name="T18" fmla="*/ 0 w 104"/>
                <a:gd name="T19" fmla="*/ 0 h 98"/>
                <a:gd name="T20" fmla="*/ 0 w 104"/>
                <a:gd name="T21" fmla="*/ 0 h 98"/>
                <a:gd name="T22" fmla="*/ 0 w 104"/>
                <a:gd name="T23" fmla="*/ 0 h 98"/>
                <a:gd name="T24" fmla="*/ 0 w 104"/>
                <a:gd name="T25" fmla="*/ 0 h 98"/>
                <a:gd name="T26" fmla="*/ 0 w 104"/>
                <a:gd name="T27" fmla="*/ 0 h 98"/>
                <a:gd name="T28" fmla="*/ 0 w 104"/>
                <a:gd name="T29" fmla="*/ 0 h 98"/>
                <a:gd name="T30" fmla="*/ 0 w 104"/>
                <a:gd name="T31" fmla="*/ 0 h 98"/>
                <a:gd name="T32" fmla="*/ 0 w 104"/>
                <a:gd name="T33" fmla="*/ 0 h 98"/>
                <a:gd name="T34" fmla="*/ 0 w 104"/>
                <a:gd name="T35" fmla="*/ 0 h 98"/>
                <a:gd name="T36" fmla="*/ 0 w 104"/>
                <a:gd name="T37" fmla="*/ 0 h 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4"/>
                <a:gd name="T58" fmla="*/ 0 h 98"/>
                <a:gd name="T59" fmla="*/ 104 w 104"/>
                <a:gd name="T60" fmla="*/ 98 h 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4" h="98">
                  <a:moveTo>
                    <a:pt x="35" y="98"/>
                  </a:moveTo>
                  <a:cubicBezTo>
                    <a:pt x="39" y="98"/>
                    <a:pt x="52" y="91"/>
                    <a:pt x="52" y="91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87" y="74"/>
                    <a:pt x="87" y="74"/>
                    <a:pt x="87" y="74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96" y="73"/>
                    <a:pt x="104" y="71"/>
                    <a:pt x="104" y="64"/>
                  </a:cubicBezTo>
                  <a:cubicBezTo>
                    <a:pt x="104" y="52"/>
                    <a:pt x="98" y="44"/>
                    <a:pt x="98" y="44"/>
                  </a:cubicBezTo>
                  <a:cubicBezTo>
                    <a:pt x="98" y="44"/>
                    <a:pt x="104" y="39"/>
                    <a:pt x="100" y="31"/>
                  </a:cubicBezTo>
                  <a:cubicBezTo>
                    <a:pt x="96" y="23"/>
                    <a:pt x="86" y="13"/>
                    <a:pt x="86" y="1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1" y="17"/>
                    <a:pt x="64" y="25"/>
                  </a:cubicBezTo>
                  <a:cubicBezTo>
                    <a:pt x="58" y="32"/>
                    <a:pt x="52" y="17"/>
                    <a:pt x="5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18" y="28"/>
                    <a:pt x="17" y="36"/>
                  </a:cubicBezTo>
                  <a:cubicBezTo>
                    <a:pt x="15" y="44"/>
                    <a:pt x="25" y="55"/>
                    <a:pt x="24" y="58"/>
                  </a:cubicBezTo>
                  <a:cubicBezTo>
                    <a:pt x="22" y="62"/>
                    <a:pt x="0" y="72"/>
                    <a:pt x="4" y="80"/>
                  </a:cubicBezTo>
                  <a:cubicBezTo>
                    <a:pt x="8" y="88"/>
                    <a:pt x="22" y="85"/>
                    <a:pt x="22" y="85"/>
                  </a:cubicBezTo>
                  <a:cubicBezTo>
                    <a:pt x="22" y="85"/>
                    <a:pt x="31" y="98"/>
                    <a:pt x="35" y="98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12" name="Freeform 128"/>
            <p:cNvSpPr>
              <a:spLocks/>
            </p:cNvSpPr>
            <p:nvPr/>
          </p:nvSpPr>
          <p:spPr bwMode="auto">
            <a:xfrm>
              <a:off x="2931" y="2530"/>
              <a:ext cx="232" cy="177"/>
            </a:xfrm>
            <a:custGeom>
              <a:avLst/>
              <a:gdLst>
                <a:gd name="T0" fmla="*/ 0 w 614"/>
                <a:gd name="T1" fmla="*/ 0 h 467"/>
                <a:gd name="T2" fmla="*/ 0 w 614"/>
                <a:gd name="T3" fmla="*/ 0 h 467"/>
                <a:gd name="T4" fmla="*/ 0 w 614"/>
                <a:gd name="T5" fmla="*/ 0 h 467"/>
                <a:gd name="T6" fmla="*/ 0 w 614"/>
                <a:gd name="T7" fmla="*/ 0 h 467"/>
                <a:gd name="T8" fmla="*/ 0 w 614"/>
                <a:gd name="T9" fmla="*/ 0 h 467"/>
                <a:gd name="T10" fmla="*/ 0 w 614"/>
                <a:gd name="T11" fmla="*/ 0 h 467"/>
                <a:gd name="T12" fmla="*/ 0 w 614"/>
                <a:gd name="T13" fmla="*/ 0 h 467"/>
                <a:gd name="T14" fmla="*/ 0 w 614"/>
                <a:gd name="T15" fmla="*/ 0 h 467"/>
                <a:gd name="T16" fmla="*/ 0 w 614"/>
                <a:gd name="T17" fmla="*/ 0 h 467"/>
                <a:gd name="T18" fmla="*/ 0 w 614"/>
                <a:gd name="T19" fmla="*/ 0 h 467"/>
                <a:gd name="T20" fmla="*/ 0 w 614"/>
                <a:gd name="T21" fmla="*/ 0 h 467"/>
                <a:gd name="T22" fmla="*/ 0 w 614"/>
                <a:gd name="T23" fmla="*/ 0 h 467"/>
                <a:gd name="T24" fmla="*/ 0 w 614"/>
                <a:gd name="T25" fmla="*/ 0 h 467"/>
                <a:gd name="T26" fmla="*/ 0 w 614"/>
                <a:gd name="T27" fmla="*/ 0 h 467"/>
                <a:gd name="T28" fmla="*/ 0 w 614"/>
                <a:gd name="T29" fmla="*/ 0 h 467"/>
                <a:gd name="T30" fmla="*/ 0 w 614"/>
                <a:gd name="T31" fmla="*/ 0 h 467"/>
                <a:gd name="T32" fmla="*/ 0 w 614"/>
                <a:gd name="T33" fmla="*/ 0 h 467"/>
                <a:gd name="T34" fmla="*/ 0 w 614"/>
                <a:gd name="T35" fmla="*/ 0 h 467"/>
                <a:gd name="T36" fmla="*/ 0 w 614"/>
                <a:gd name="T37" fmla="*/ 0 h 467"/>
                <a:gd name="T38" fmla="*/ 0 w 614"/>
                <a:gd name="T39" fmla="*/ 0 h 467"/>
                <a:gd name="T40" fmla="*/ 0 w 614"/>
                <a:gd name="T41" fmla="*/ 0 h 467"/>
                <a:gd name="T42" fmla="*/ 0 w 614"/>
                <a:gd name="T43" fmla="*/ 0 h 467"/>
                <a:gd name="T44" fmla="*/ 0 w 614"/>
                <a:gd name="T45" fmla="*/ 0 h 467"/>
                <a:gd name="T46" fmla="*/ 0 w 614"/>
                <a:gd name="T47" fmla="*/ 0 h 467"/>
                <a:gd name="T48" fmla="*/ 0 w 614"/>
                <a:gd name="T49" fmla="*/ 0 h 467"/>
                <a:gd name="T50" fmla="*/ 0 w 614"/>
                <a:gd name="T51" fmla="*/ 0 h 467"/>
                <a:gd name="T52" fmla="*/ 0 w 614"/>
                <a:gd name="T53" fmla="*/ 0 h 467"/>
                <a:gd name="T54" fmla="*/ 0 w 614"/>
                <a:gd name="T55" fmla="*/ 0 h 467"/>
                <a:gd name="T56" fmla="*/ 0 w 614"/>
                <a:gd name="T57" fmla="*/ 0 h 467"/>
                <a:gd name="T58" fmla="*/ 0 w 614"/>
                <a:gd name="T59" fmla="*/ 0 h 467"/>
                <a:gd name="T60" fmla="*/ 0 w 614"/>
                <a:gd name="T61" fmla="*/ 0 h 467"/>
                <a:gd name="T62" fmla="*/ 0 w 614"/>
                <a:gd name="T63" fmla="*/ 0 h 467"/>
                <a:gd name="T64" fmla="*/ 0 w 614"/>
                <a:gd name="T65" fmla="*/ 0 h 467"/>
                <a:gd name="T66" fmla="*/ 0 w 614"/>
                <a:gd name="T67" fmla="*/ 0 h 467"/>
                <a:gd name="T68" fmla="*/ 0 w 614"/>
                <a:gd name="T69" fmla="*/ 0 h 467"/>
                <a:gd name="T70" fmla="*/ 0 w 614"/>
                <a:gd name="T71" fmla="*/ 0 h 467"/>
                <a:gd name="T72" fmla="*/ 0 w 614"/>
                <a:gd name="T73" fmla="*/ 0 h 467"/>
                <a:gd name="T74" fmla="*/ 0 w 614"/>
                <a:gd name="T75" fmla="*/ 0 h 467"/>
                <a:gd name="T76" fmla="*/ 0 w 614"/>
                <a:gd name="T77" fmla="*/ 0 h 467"/>
                <a:gd name="T78" fmla="*/ 0 w 614"/>
                <a:gd name="T79" fmla="*/ 0 h 467"/>
                <a:gd name="T80" fmla="*/ 0 w 614"/>
                <a:gd name="T81" fmla="*/ 0 h 467"/>
                <a:gd name="T82" fmla="*/ 0 w 614"/>
                <a:gd name="T83" fmla="*/ 0 h 467"/>
                <a:gd name="T84" fmla="*/ 0 w 614"/>
                <a:gd name="T85" fmla="*/ 0 h 46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4"/>
                <a:gd name="T130" fmla="*/ 0 h 467"/>
                <a:gd name="T131" fmla="*/ 614 w 614"/>
                <a:gd name="T132" fmla="*/ 467 h 46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4" h="467">
                  <a:moveTo>
                    <a:pt x="606" y="281"/>
                  </a:moveTo>
                  <a:cubicBezTo>
                    <a:pt x="598" y="273"/>
                    <a:pt x="589" y="267"/>
                    <a:pt x="589" y="267"/>
                  </a:cubicBezTo>
                  <a:cubicBezTo>
                    <a:pt x="574" y="266"/>
                    <a:pt x="574" y="266"/>
                    <a:pt x="574" y="266"/>
                  </a:cubicBezTo>
                  <a:cubicBezTo>
                    <a:pt x="575" y="253"/>
                    <a:pt x="575" y="253"/>
                    <a:pt x="575" y="253"/>
                  </a:cubicBezTo>
                  <a:cubicBezTo>
                    <a:pt x="575" y="253"/>
                    <a:pt x="568" y="250"/>
                    <a:pt x="567" y="244"/>
                  </a:cubicBezTo>
                  <a:cubicBezTo>
                    <a:pt x="566" y="238"/>
                    <a:pt x="573" y="244"/>
                    <a:pt x="573" y="236"/>
                  </a:cubicBezTo>
                  <a:cubicBezTo>
                    <a:pt x="573" y="228"/>
                    <a:pt x="558" y="227"/>
                    <a:pt x="558" y="227"/>
                  </a:cubicBezTo>
                  <a:cubicBezTo>
                    <a:pt x="558" y="227"/>
                    <a:pt x="549" y="204"/>
                    <a:pt x="542" y="203"/>
                  </a:cubicBezTo>
                  <a:cubicBezTo>
                    <a:pt x="535" y="202"/>
                    <a:pt x="521" y="200"/>
                    <a:pt x="515" y="190"/>
                  </a:cubicBezTo>
                  <a:cubicBezTo>
                    <a:pt x="509" y="180"/>
                    <a:pt x="524" y="186"/>
                    <a:pt x="521" y="175"/>
                  </a:cubicBezTo>
                  <a:cubicBezTo>
                    <a:pt x="518" y="164"/>
                    <a:pt x="502" y="165"/>
                    <a:pt x="502" y="165"/>
                  </a:cubicBezTo>
                  <a:cubicBezTo>
                    <a:pt x="502" y="152"/>
                    <a:pt x="502" y="152"/>
                    <a:pt x="502" y="152"/>
                  </a:cubicBezTo>
                  <a:cubicBezTo>
                    <a:pt x="502" y="152"/>
                    <a:pt x="472" y="154"/>
                    <a:pt x="466" y="146"/>
                  </a:cubicBezTo>
                  <a:cubicBezTo>
                    <a:pt x="460" y="138"/>
                    <a:pt x="467" y="130"/>
                    <a:pt x="467" y="130"/>
                  </a:cubicBezTo>
                  <a:cubicBezTo>
                    <a:pt x="467" y="123"/>
                    <a:pt x="467" y="123"/>
                    <a:pt x="467" y="123"/>
                  </a:cubicBezTo>
                  <a:cubicBezTo>
                    <a:pt x="433" y="120"/>
                    <a:pt x="433" y="120"/>
                    <a:pt x="433" y="120"/>
                  </a:cubicBezTo>
                  <a:cubicBezTo>
                    <a:pt x="439" y="109"/>
                    <a:pt x="439" y="109"/>
                    <a:pt x="439" y="109"/>
                  </a:cubicBezTo>
                  <a:cubicBezTo>
                    <a:pt x="439" y="109"/>
                    <a:pt x="430" y="112"/>
                    <a:pt x="431" y="102"/>
                  </a:cubicBezTo>
                  <a:cubicBezTo>
                    <a:pt x="432" y="92"/>
                    <a:pt x="447" y="85"/>
                    <a:pt x="443" y="63"/>
                  </a:cubicBezTo>
                  <a:cubicBezTo>
                    <a:pt x="439" y="41"/>
                    <a:pt x="402" y="8"/>
                    <a:pt x="402" y="8"/>
                  </a:cubicBezTo>
                  <a:cubicBezTo>
                    <a:pt x="401" y="1"/>
                    <a:pt x="401" y="1"/>
                    <a:pt x="401" y="1"/>
                  </a:cubicBezTo>
                  <a:cubicBezTo>
                    <a:pt x="385" y="0"/>
                    <a:pt x="385" y="0"/>
                    <a:pt x="385" y="0"/>
                  </a:cubicBezTo>
                  <a:cubicBezTo>
                    <a:pt x="348" y="18"/>
                    <a:pt x="348" y="18"/>
                    <a:pt x="348" y="18"/>
                  </a:cubicBezTo>
                  <a:cubicBezTo>
                    <a:pt x="345" y="38"/>
                    <a:pt x="345" y="38"/>
                    <a:pt x="345" y="38"/>
                  </a:cubicBezTo>
                  <a:cubicBezTo>
                    <a:pt x="333" y="50"/>
                    <a:pt x="333" y="50"/>
                    <a:pt x="333" y="50"/>
                  </a:cubicBezTo>
                  <a:cubicBezTo>
                    <a:pt x="320" y="55"/>
                    <a:pt x="320" y="55"/>
                    <a:pt x="320" y="55"/>
                  </a:cubicBezTo>
                  <a:cubicBezTo>
                    <a:pt x="320" y="55"/>
                    <a:pt x="325" y="77"/>
                    <a:pt x="293" y="92"/>
                  </a:cubicBezTo>
                  <a:cubicBezTo>
                    <a:pt x="262" y="107"/>
                    <a:pt x="222" y="107"/>
                    <a:pt x="222" y="107"/>
                  </a:cubicBezTo>
                  <a:cubicBezTo>
                    <a:pt x="208" y="115"/>
                    <a:pt x="208" y="115"/>
                    <a:pt x="208" y="115"/>
                  </a:cubicBezTo>
                  <a:cubicBezTo>
                    <a:pt x="208" y="115"/>
                    <a:pt x="228" y="125"/>
                    <a:pt x="223" y="132"/>
                  </a:cubicBezTo>
                  <a:cubicBezTo>
                    <a:pt x="218" y="138"/>
                    <a:pt x="203" y="160"/>
                    <a:pt x="203" y="160"/>
                  </a:cubicBezTo>
                  <a:cubicBezTo>
                    <a:pt x="203" y="160"/>
                    <a:pt x="170" y="160"/>
                    <a:pt x="151" y="160"/>
                  </a:cubicBezTo>
                  <a:cubicBezTo>
                    <a:pt x="133" y="160"/>
                    <a:pt x="138" y="180"/>
                    <a:pt x="120" y="185"/>
                  </a:cubicBezTo>
                  <a:cubicBezTo>
                    <a:pt x="101" y="190"/>
                    <a:pt x="108" y="165"/>
                    <a:pt x="108" y="165"/>
                  </a:cubicBezTo>
                  <a:cubicBezTo>
                    <a:pt x="108" y="165"/>
                    <a:pt x="88" y="180"/>
                    <a:pt x="78" y="187"/>
                  </a:cubicBezTo>
                  <a:cubicBezTo>
                    <a:pt x="68" y="193"/>
                    <a:pt x="56" y="186"/>
                    <a:pt x="56" y="186"/>
                  </a:cubicBezTo>
                  <a:cubicBezTo>
                    <a:pt x="56" y="186"/>
                    <a:pt x="38" y="196"/>
                    <a:pt x="37" y="204"/>
                  </a:cubicBezTo>
                  <a:cubicBezTo>
                    <a:pt x="36" y="212"/>
                    <a:pt x="35" y="224"/>
                    <a:pt x="35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24" y="249"/>
                    <a:pt x="24" y="249"/>
                    <a:pt x="24" y="249"/>
                  </a:cubicBezTo>
                  <a:cubicBezTo>
                    <a:pt x="24" y="249"/>
                    <a:pt x="2" y="256"/>
                    <a:pt x="1" y="264"/>
                  </a:cubicBezTo>
                  <a:cubicBezTo>
                    <a:pt x="0" y="272"/>
                    <a:pt x="15" y="273"/>
                    <a:pt x="15" y="273"/>
                  </a:cubicBezTo>
                  <a:cubicBezTo>
                    <a:pt x="14" y="298"/>
                    <a:pt x="14" y="298"/>
                    <a:pt x="14" y="298"/>
                  </a:cubicBezTo>
                  <a:cubicBezTo>
                    <a:pt x="7" y="306"/>
                    <a:pt x="7" y="306"/>
                    <a:pt x="7" y="306"/>
                  </a:cubicBezTo>
                  <a:cubicBezTo>
                    <a:pt x="19" y="313"/>
                    <a:pt x="19" y="313"/>
                    <a:pt x="19" y="313"/>
                  </a:cubicBezTo>
                  <a:cubicBezTo>
                    <a:pt x="19" y="344"/>
                    <a:pt x="19" y="344"/>
                    <a:pt x="19" y="344"/>
                  </a:cubicBezTo>
                  <a:cubicBezTo>
                    <a:pt x="19" y="344"/>
                    <a:pt x="36" y="355"/>
                    <a:pt x="38" y="358"/>
                  </a:cubicBezTo>
                  <a:cubicBezTo>
                    <a:pt x="40" y="361"/>
                    <a:pt x="36" y="381"/>
                    <a:pt x="36" y="381"/>
                  </a:cubicBezTo>
                  <a:cubicBezTo>
                    <a:pt x="36" y="381"/>
                    <a:pt x="47" y="404"/>
                    <a:pt x="57" y="412"/>
                  </a:cubicBezTo>
                  <a:cubicBezTo>
                    <a:pt x="67" y="420"/>
                    <a:pt x="79" y="428"/>
                    <a:pt x="79" y="428"/>
                  </a:cubicBezTo>
                  <a:cubicBezTo>
                    <a:pt x="83" y="442"/>
                    <a:pt x="83" y="442"/>
                    <a:pt x="83" y="442"/>
                  </a:cubicBezTo>
                  <a:cubicBezTo>
                    <a:pt x="83" y="461"/>
                    <a:pt x="83" y="461"/>
                    <a:pt x="83" y="461"/>
                  </a:cubicBezTo>
                  <a:cubicBezTo>
                    <a:pt x="88" y="467"/>
                    <a:pt x="88" y="467"/>
                    <a:pt x="88" y="467"/>
                  </a:cubicBezTo>
                  <a:cubicBezTo>
                    <a:pt x="88" y="467"/>
                    <a:pt x="104" y="448"/>
                    <a:pt x="106" y="441"/>
                  </a:cubicBezTo>
                  <a:cubicBezTo>
                    <a:pt x="108" y="434"/>
                    <a:pt x="98" y="421"/>
                    <a:pt x="98" y="421"/>
                  </a:cubicBezTo>
                  <a:cubicBezTo>
                    <a:pt x="108" y="400"/>
                    <a:pt x="108" y="400"/>
                    <a:pt x="108" y="400"/>
                  </a:cubicBezTo>
                  <a:cubicBezTo>
                    <a:pt x="128" y="401"/>
                    <a:pt x="128" y="401"/>
                    <a:pt x="128" y="401"/>
                  </a:cubicBezTo>
                  <a:cubicBezTo>
                    <a:pt x="128" y="401"/>
                    <a:pt x="141" y="390"/>
                    <a:pt x="147" y="390"/>
                  </a:cubicBezTo>
                  <a:cubicBezTo>
                    <a:pt x="153" y="390"/>
                    <a:pt x="167" y="398"/>
                    <a:pt x="178" y="399"/>
                  </a:cubicBezTo>
                  <a:cubicBezTo>
                    <a:pt x="189" y="400"/>
                    <a:pt x="193" y="394"/>
                    <a:pt x="193" y="394"/>
                  </a:cubicBezTo>
                  <a:cubicBezTo>
                    <a:pt x="203" y="380"/>
                    <a:pt x="203" y="380"/>
                    <a:pt x="203" y="380"/>
                  </a:cubicBezTo>
                  <a:cubicBezTo>
                    <a:pt x="203" y="370"/>
                    <a:pt x="203" y="370"/>
                    <a:pt x="203" y="370"/>
                  </a:cubicBezTo>
                  <a:cubicBezTo>
                    <a:pt x="203" y="370"/>
                    <a:pt x="193" y="367"/>
                    <a:pt x="201" y="357"/>
                  </a:cubicBezTo>
                  <a:cubicBezTo>
                    <a:pt x="209" y="347"/>
                    <a:pt x="208" y="358"/>
                    <a:pt x="218" y="344"/>
                  </a:cubicBezTo>
                  <a:cubicBezTo>
                    <a:pt x="228" y="330"/>
                    <a:pt x="218" y="311"/>
                    <a:pt x="247" y="313"/>
                  </a:cubicBezTo>
                  <a:cubicBezTo>
                    <a:pt x="276" y="315"/>
                    <a:pt x="273" y="330"/>
                    <a:pt x="273" y="330"/>
                  </a:cubicBezTo>
                  <a:cubicBezTo>
                    <a:pt x="273" y="330"/>
                    <a:pt x="286" y="328"/>
                    <a:pt x="289" y="332"/>
                  </a:cubicBezTo>
                  <a:cubicBezTo>
                    <a:pt x="292" y="336"/>
                    <a:pt x="280" y="351"/>
                    <a:pt x="295" y="351"/>
                  </a:cubicBezTo>
                  <a:cubicBezTo>
                    <a:pt x="310" y="351"/>
                    <a:pt x="319" y="351"/>
                    <a:pt x="319" y="351"/>
                  </a:cubicBezTo>
                  <a:cubicBezTo>
                    <a:pt x="319" y="351"/>
                    <a:pt x="325" y="363"/>
                    <a:pt x="335" y="362"/>
                  </a:cubicBezTo>
                  <a:cubicBezTo>
                    <a:pt x="345" y="361"/>
                    <a:pt x="363" y="361"/>
                    <a:pt x="363" y="361"/>
                  </a:cubicBezTo>
                  <a:cubicBezTo>
                    <a:pt x="363" y="361"/>
                    <a:pt x="376" y="375"/>
                    <a:pt x="385" y="368"/>
                  </a:cubicBezTo>
                  <a:cubicBezTo>
                    <a:pt x="394" y="361"/>
                    <a:pt x="389" y="347"/>
                    <a:pt x="396" y="344"/>
                  </a:cubicBezTo>
                  <a:cubicBezTo>
                    <a:pt x="403" y="341"/>
                    <a:pt x="410" y="328"/>
                    <a:pt x="410" y="328"/>
                  </a:cubicBezTo>
                  <a:cubicBezTo>
                    <a:pt x="410" y="328"/>
                    <a:pt x="424" y="349"/>
                    <a:pt x="430" y="344"/>
                  </a:cubicBezTo>
                  <a:cubicBezTo>
                    <a:pt x="436" y="339"/>
                    <a:pt x="449" y="330"/>
                    <a:pt x="449" y="330"/>
                  </a:cubicBezTo>
                  <a:cubicBezTo>
                    <a:pt x="461" y="330"/>
                    <a:pt x="461" y="330"/>
                    <a:pt x="461" y="330"/>
                  </a:cubicBezTo>
                  <a:cubicBezTo>
                    <a:pt x="477" y="316"/>
                    <a:pt x="477" y="316"/>
                    <a:pt x="477" y="316"/>
                  </a:cubicBezTo>
                  <a:cubicBezTo>
                    <a:pt x="477" y="316"/>
                    <a:pt x="486" y="326"/>
                    <a:pt x="490" y="326"/>
                  </a:cubicBezTo>
                  <a:cubicBezTo>
                    <a:pt x="494" y="326"/>
                    <a:pt x="512" y="321"/>
                    <a:pt x="512" y="321"/>
                  </a:cubicBezTo>
                  <a:cubicBezTo>
                    <a:pt x="512" y="321"/>
                    <a:pt x="517" y="300"/>
                    <a:pt x="524" y="299"/>
                  </a:cubicBezTo>
                  <a:cubicBezTo>
                    <a:pt x="531" y="298"/>
                    <a:pt x="539" y="311"/>
                    <a:pt x="539" y="311"/>
                  </a:cubicBezTo>
                  <a:cubicBezTo>
                    <a:pt x="560" y="308"/>
                    <a:pt x="560" y="308"/>
                    <a:pt x="560" y="308"/>
                  </a:cubicBezTo>
                  <a:cubicBezTo>
                    <a:pt x="560" y="308"/>
                    <a:pt x="566" y="324"/>
                    <a:pt x="586" y="319"/>
                  </a:cubicBezTo>
                  <a:cubicBezTo>
                    <a:pt x="606" y="314"/>
                    <a:pt x="610" y="303"/>
                    <a:pt x="610" y="303"/>
                  </a:cubicBezTo>
                  <a:cubicBezTo>
                    <a:pt x="610" y="303"/>
                    <a:pt x="614" y="289"/>
                    <a:pt x="606" y="28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13" name="Freeform 129"/>
            <p:cNvSpPr>
              <a:spLocks/>
            </p:cNvSpPr>
            <p:nvPr/>
          </p:nvSpPr>
          <p:spPr bwMode="auto">
            <a:xfrm>
              <a:off x="2872" y="2678"/>
              <a:ext cx="135" cy="176"/>
            </a:xfrm>
            <a:custGeom>
              <a:avLst/>
              <a:gdLst>
                <a:gd name="T0" fmla="*/ 0 w 356"/>
                <a:gd name="T1" fmla="*/ 0 h 466"/>
                <a:gd name="T2" fmla="*/ 0 w 356"/>
                <a:gd name="T3" fmla="*/ 0 h 466"/>
                <a:gd name="T4" fmla="*/ 0 w 356"/>
                <a:gd name="T5" fmla="*/ 0 h 466"/>
                <a:gd name="T6" fmla="*/ 0 w 356"/>
                <a:gd name="T7" fmla="*/ 0 h 466"/>
                <a:gd name="T8" fmla="*/ 0 w 356"/>
                <a:gd name="T9" fmla="*/ 0 h 466"/>
                <a:gd name="T10" fmla="*/ 0 w 356"/>
                <a:gd name="T11" fmla="*/ 0 h 466"/>
                <a:gd name="T12" fmla="*/ 0 w 356"/>
                <a:gd name="T13" fmla="*/ 0 h 466"/>
                <a:gd name="T14" fmla="*/ 0 w 356"/>
                <a:gd name="T15" fmla="*/ 0 h 466"/>
                <a:gd name="T16" fmla="*/ 0 w 356"/>
                <a:gd name="T17" fmla="*/ 0 h 466"/>
                <a:gd name="T18" fmla="*/ 0 w 356"/>
                <a:gd name="T19" fmla="*/ 0 h 466"/>
                <a:gd name="T20" fmla="*/ 0 w 356"/>
                <a:gd name="T21" fmla="*/ 0 h 466"/>
                <a:gd name="T22" fmla="*/ 0 w 356"/>
                <a:gd name="T23" fmla="*/ 0 h 466"/>
                <a:gd name="T24" fmla="*/ 0 w 356"/>
                <a:gd name="T25" fmla="*/ 0 h 466"/>
                <a:gd name="T26" fmla="*/ 0 w 356"/>
                <a:gd name="T27" fmla="*/ 0 h 466"/>
                <a:gd name="T28" fmla="*/ 0 w 356"/>
                <a:gd name="T29" fmla="*/ 0 h 466"/>
                <a:gd name="T30" fmla="*/ 0 w 356"/>
                <a:gd name="T31" fmla="*/ 0 h 466"/>
                <a:gd name="T32" fmla="*/ 0 w 356"/>
                <a:gd name="T33" fmla="*/ 0 h 466"/>
                <a:gd name="T34" fmla="*/ 0 w 356"/>
                <a:gd name="T35" fmla="*/ 0 h 466"/>
                <a:gd name="T36" fmla="*/ 0 w 356"/>
                <a:gd name="T37" fmla="*/ 0 h 466"/>
                <a:gd name="T38" fmla="*/ 0 w 356"/>
                <a:gd name="T39" fmla="*/ 0 h 466"/>
                <a:gd name="T40" fmla="*/ 0 w 356"/>
                <a:gd name="T41" fmla="*/ 0 h 466"/>
                <a:gd name="T42" fmla="*/ 0 w 356"/>
                <a:gd name="T43" fmla="*/ 0 h 466"/>
                <a:gd name="T44" fmla="*/ 0 w 356"/>
                <a:gd name="T45" fmla="*/ 0 h 466"/>
                <a:gd name="T46" fmla="*/ 0 w 356"/>
                <a:gd name="T47" fmla="*/ 0 h 466"/>
                <a:gd name="T48" fmla="*/ 0 w 356"/>
                <a:gd name="T49" fmla="*/ 0 h 466"/>
                <a:gd name="T50" fmla="*/ 0 w 356"/>
                <a:gd name="T51" fmla="*/ 0 h 466"/>
                <a:gd name="T52" fmla="*/ 0 w 356"/>
                <a:gd name="T53" fmla="*/ 0 h 466"/>
                <a:gd name="T54" fmla="*/ 0 w 356"/>
                <a:gd name="T55" fmla="*/ 0 h 466"/>
                <a:gd name="T56" fmla="*/ 0 w 356"/>
                <a:gd name="T57" fmla="*/ 0 h 466"/>
                <a:gd name="T58" fmla="*/ 0 w 356"/>
                <a:gd name="T59" fmla="*/ 0 h 466"/>
                <a:gd name="T60" fmla="*/ 0 w 356"/>
                <a:gd name="T61" fmla="*/ 0 h 466"/>
                <a:gd name="T62" fmla="*/ 0 w 356"/>
                <a:gd name="T63" fmla="*/ 0 h 466"/>
                <a:gd name="T64" fmla="*/ 0 w 356"/>
                <a:gd name="T65" fmla="*/ 0 h 466"/>
                <a:gd name="T66" fmla="*/ 0 w 356"/>
                <a:gd name="T67" fmla="*/ 0 h 466"/>
                <a:gd name="T68" fmla="*/ 0 w 356"/>
                <a:gd name="T69" fmla="*/ 0 h 466"/>
                <a:gd name="T70" fmla="*/ 0 w 356"/>
                <a:gd name="T71" fmla="*/ 0 h 466"/>
                <a:gd name="T72" fmla="*/ 0 w 356"/>
                <a:gd name="T73" fmla="*/ 0 h 466"/>
                <a:gd name="T74" fmla="*/ 0 w 356"/>
                <a:gd name="T75" fmla="*/ 0 h 466"/>
                <a:gd name="T76" fmla="*/ 0 w 356"/>
                <a:gd name="T77" fmla="*/ 0 h 466"/>
                <a:gd name="T78" fmla="*/ 0 w 356"/>
                <a:gd name="T79" fmla="*/ 0 h 466"/>
                <a:gd name="T80" fmla="*/ 0 w 356"/>
                <a:gd name="T81" fmla="*/ 0 h 4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56"/>
                <a:gd name="T124" fmla="*/ 0 h 466"/>
                <a:gd name="T125" fmla="*/ 356 w 356"/>
                <a:gd name="T126" fmla="*/ 466 h 46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56" h="466">
                  <a:moveTo>
                    <a:pt x="242" y="77"/>
                  </a:moveTo>
                  <a:cubicBezTo>
                    <a:pt x="238" y="83"/>
                    <a:pt x="238" y="83"/>
                    <a:pt x="238" y="83"/>
                  </a:cubicBezTo>
                  <a:cubicBezTo>
                    <a:pt x="237" y="110"/>
                    <a:pt x="237" y="110"/>
                    <a:pt x="237" y="110"/>
                  </a:cubicBezTo>
                  <a:cubicBezTo>
                    <a:pt x="219" y="95"/>
                    <a:pt x="219" y="95"/>
                    <a:pt x="219" y="95"/>
                  </a:cubicBezTo>
                  <a:cubicBezTo>
                    <a:pt x="199" y="96"/>
                    <a:pt x="199" y="96"/>
                    <a:pt x="199" y="96"/>
                  </a:cubicBezTo>
                  <a:cubicBezTo>
                    <a:pt x="199" y="96"/>
                    <a:pt x="171" y="83"/>
                    <a:pt x="166" y="83"/>
                  </a:cubicBezTo>
                  <a:cubicBezTo>
                    <a:pt x="161" y="83"/>
                    <a:pt x="106" y="86"/>
                    <a:pt x="106" y="8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98" y="129"/>
                    <a:pt x="106" y="134"/>
                    <a:pt x="115" y="134"/>
                  </a:cubicBezTo>
                  <a:cubicBezTo>
                    <a:pt x="124" y="134"/>
                    <a:pt x="124" y="119"/>
                    <a:pt x="129" y="119"/>
                  </a:cubicBezTo>
                  <a:cubicBezTo>
                    <a:pt x="134" y="119"/>
                    <a:pt x="146" y="124"/>
                    <a:pt x="149" y="128"/>
                  </a:cubicBezTo>
                  <a:cubicBezTo>
                    <a:pt x="152" y="132"/>
                    <a:pt x="153" y="142"/>
                    <a:pt x="153" y="142"/>
                  </a:cubicBezTo>
                  <a:cubicBezTo>
                    <a:pt x="159" y="146"/>
                    <a:pt x="159" y="146"/>
                    <a:pt x="159" y="146"/>
                  </a:cubicBezTo>
                  <a:cubicBezTo>
                    <a:pt x="159" y="146"/>
                    <a:pt x="159" y="159"/>
                    <a:pt x="153" y="166"/>
                  </a:cubicBezTo>
                  <a:cubicBezTo>
                    <a:pt x="147" y="173"/>
                    <a:pt x="140" y="172"/>
                    <a:pt x="140" y="172"/>
                  </a:cubicBezTo>
                  <a:cubicBezTo>
                    <a:pt x="131" y="188"/>
                    <a:pt x="131" y="188"/>
                    <a:pt x="131" y="188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7" y="225"/>
                    <a:pt x="147" y="225"/>
                    <a:pt x="147" y="225"/>
                  </a:cubicBezTo>
                  <a:cubicBezTo>
                    <a:pt x="147" y="225"/>
                    <a:pt x="163" y="226"/>
                    <a:pt x="165" y="232"/>
                  </a:cubicBezTo>
                  <a:cubicBezTo>
                    <a:pt x="167" y="238"/>
                    <a:pt x="158" y="243"/>
                    <a:pt x="158" y="243"/>
                  </a:cubicBezTo>
                  <a:cubicBezTo>
                    <a:pt x="159" y="273"/>
                    <a:pt x="159" y="273"/>
                    <a:pt x="159" y="273"/>
                  </a:cubicBezTo>
                  <a:cubicBezTo>
                    <a:pt x="155" y="284"/>
                    <a:pt x="155" y="284"/>
                    <a:pt x="155" y="284"/>
                  </a:cubicBezTo>
                  <a:cubicBezTo>
                    <a:pt x="159" y="298"/>
                    <a:pt x="159" y="298"/>
                    <a:pt x="159" y="298"/>
                  </a:cubicBezTo>
                  <a:cubicBezTo>
                    <a:pt x="159" y="298"/>
                    <a:pt x="146" y="302"/>
                    <a:pt x="146" y="316"/>
                  </a:cubicBezTo>
                  <a:cubicBezTo>
                    <a:pt x="146" y="330"/>
                    <a:pt x="144" y="336"/>
                    <a:pt x="134" y="336"/>
                  </a:cubicBezTo>
                  <a:cubicBezTo>
                    <a:pt x="124" y="336"/>
                    <a:pt x="131" y="314"/>
                    <a:pt x="127" y="311"/>
                  </a:cubicBezTo>
                  <a:cubicBezTo>
                    <a:pt x="123" y="308"/>
                    <a:pt x="120" y="324"/>
                    <a:pt x="112" y="326"/>
                  </a:cubicBezTo>
                  <a:cubicBezTo>
                    <a:pt x="104" y="328"/>
                    <a:pt x="90" y="327"/>
                    <a:pt x="90" y="327"/>
                  </a:cubicBezTo>
                  <a:cubicBezTo>
                    <a:pt x="81" y="298"/>
                    <a:pt x="81" y="298"/>
                    <a:pt x="81" y="298"/>
                  </a:cubicBezTo>
                  <a:cubicBezTo>
                    <a:pt x="81" y="298"/>
                    <a:pt x="70" y="296"/>
                    <a:pt x="64" y="297"/>
                  </a:cubicBezTo>
                  <a:cubicBezTo>
                    <a:pt x="58" y="298"/>
                    <a:pt x="71" y="316"/>
                    <a:pt x="71" y="316"/>
                  </a:cubicBezTo>
                  <a:cubicBezTo>
                    <a:pt x="71" y="316"/>
                    <a:pt x="62" y="324"/>
                    <a:pt x="58" y="329"/>
                  </a:cubicBezTo>
                  <a:cubicBezTo>
                    <a:pt x="54" y="334"/>
                    <a:pt x="30" y="325"/>
                    <a:pt x="24" y="323"/>
                  </a:cubicBezTo>
                  <a:cubicBezTo>
                    <a:pt x="18" y="321"/>
                    <a:pt x="25" y="346"/>
                    <a:pt x="25" y="346"/>
                  </a:cubicBezTo>
                  <a:cubicBezTo>
                    <a:pt x="18" y="346"/>
                    <a:pt x="18" y="346"/>
                    <a:pt x="18" y="346"/>
                  </a:cubicBezTo>
                  <a:cubicBezTo>
                    <a:pt x="35" y="359"/>
                    <a:pt x="35" y="359"/>
                    <a:pt x="35" y="359"/>
                  </a:cubicBezTo>
                  <a:cubicBezTo>
                    <a:pt x="26" y="368"/>
                    <a:pt x="26" y="368"/>
                    <a:pt x="26" y="368"/>
                  </a:cubicBezTo>
                  <a:cubicBezTo>
                    <a:pt x="38" y="376"/>
                    <a:pt x="38" y="376"/>
                    <a:pt x="38" y="376"/>
                  </a:cubicBezTo>
                  <a:cubicBezTo>
                    <a:pt x="38" y="376"/>
                    <a:pt x="42" y="389"/>
                    <a:pt x="38" y="398"/>
                  </a:cubicBezTo>
                  <a:cubicBezTo>
                    <a:pt x="34" y="407"/>
                    <a:pt x="19" y="389"/>
                    <a:pt x="19" y="389"/>
                  </a:cubicBezTo>
                  <a:cubicBezTo>
                    <a:pt x="5" y="398"/>
                    <a:pt x="5" y="398"/>
                    <a:pt x="5" y="398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36" y="442"/>
                    <a:pt x="36" y="442"/>
                    <a:pt x="36" y="442"/>
                  </a:cubicBezTo>
                  <a:cubicBezTo>
                    <a:pt x="37" y="454"/>
                    <a:pt x="37" y="454"/>
                    <a:pt x="37" y="454"/>
                  </a:cubicBezTo>
                  <a:cubicBezTo>
                    <a:pt x="46" y="466"/>
                    <a:pt x="46" y="466"/>
                    <a:pt x="46" y="466"/>
                  </a:cubicBezTo>
                  <a:cubicBezTo>
                    <a:pt x="50" y="460"/>
                    <a:pt x="50" y="460"/>
                    <a:pt x="50" y="460"/>
                  </a:cubicBezTo>
                  <a:cubicBezTo>
                    <a:pt x="61" y="460"/>
                    <a:pt x="61" y="460"/>
                    <a:pt x="61" y="460"/>
                  </a:cubicBezTo>
                  <a:cubicBezTo>
                    <a:pt x="61" y="446"/>
                    <a:pt x="61" y="446"/>
                    <a:pt x="61" y="446"/>
                  </a:cubicBezTo>
                  <a:cubicBezTo>
                    <a:pt x="61" y="446"/>
                    <a:pt x="75" y="433"/>
                    <a:pt x="82" y="432"/>
                  </a:cubicBezTo>
                  <a:cubicBezTo>
                    <a:pt x="89" y="431"/>
                    <a:pt x="91" y="448"/>
                    <a:pt x="91" y="448"/>
                  </a:cubicBezTo>
                  <a:cubicBezTo>
                    <a:pt x="98" y="445"/>
                    <a:pt x="98" y="445"/>
                    <a:pt x="98" y="445"/>
                  </a:cubicBezTo>
                  <a:cubicBezTo>
                    <a:pt x="98" y="445"/>
                    <a:pt x="102" y="466"/>
                    <a:pt x="114" y="461"/>
                  </a:cubicBezTo>
                  <a:cubicBezTo>
                    <a:pt x="126" y="456"/>
                    <a:pt x="125" y="440"/>
                    <a:pt x="125" y="440"/>
                  </a:cubicBezTo>
                  <a:cubicBezTo>
                    <a:pt x="138" y="441"/>
                    <a:pt x="138" y="441"/>
                    <a:pt x="138" y="441"/>
                  </a:cubicBezTo>
                  <a:cubicBezTo>
                    <a:pt x="138" y="441"/>
                    <a:pt x="148" y="425"/>
                    <a:pt x="155" y="432"/>
                  </a:cubicBezTo>
                  <a:cubicBezTo>
                    <a:pt x="162" y="439"/>
                    <a:pt x="144" y="462"/>
                    <a:pt x="159" y="462"/>
                  </a:cubicBezTo>
                  <a:cubicBezTo>
                    <a:pt x="174" y="462"/>
                    <a:pt x="177" y="457"/>
                    <a:pt x="184" y="448"/>
                  </a:cubicBezTo>
                  <a:cubicBezTo>
                    <a:pt x="191" y="439"/>
                    <a:pt x="203" y="418"/>
                    <a:pt x="209" y="418"/>
                  </a:cubicBezTo>
                  <a:cubicBezTo>
                    <a:pt x="215" y="418"/>
                    <a:pt x="225" y="415"/>
                    <a:pt x="225" y="415"/>
                  </a:cubicBezTo>
                  <a:cubicBezTo>
                    <a:pt x="242" y="385"/>
                    <a:pt x="242" y="385"/>
                    <a:pt x="242" y="385"/>
                  </a:cubicBezTo>
                  <a:cubicBezTo>
                    <a:pt x="241" y="318"/>
                    <a:pt x="241" y="318"/>
                    <a:pt x="241" y="318"/>
                  </a:cubicBezTo>
                  <a:cubicBezTo>
                    <a:pt x="241" y="318"/>
                    <a:pt x="259" y="311"/>
                    <a:pt x="260" y="302"/>
                  </a:cubicBezTo>
                  <a:cubicBezTo>
                    <a:pt x="261" y="293"/>
                    <a:pt x="261" y="270"/>
                    <a:pt x="268" y="267"/>
                  </a:cubicBezTo>
                  <a:cubicBezTo>
                    <a:pt x="275" y="264"/>
                    <a:pt x="288" y="258"/>
                    <a:pt x="298" y="251"/>
                  </a:cubicBezTo>
                  <a:cubicBezTo>
                    <a:pt x="308" y="244"/>
                    <a:pt x="314" y="229"/>
                    <a:pt x="314" y="229"/>
                  </a:cubicBezTo>
                  <a:cubicBezTo>
                    <a:pt x="317" y="197"/>
                    <a:pt x="317" y="197"/>
                    <a:pt x="317" y="197"/>
                  </a:cubicBezTo>
                  <a:cubicBezTo>
                    <a:pt x="317" y="197"/>
                    <a:pt x="327" y="189"/>
                    <a:pt x="327" y="178"/>
                  </a:cubicBezTo>
                  <a:cubicBezTo>
                    <a:pt x="327" y="167"/>
                    <a:pt x="318" y="160"/>
                    <a:pt x="320" y="152"/>
                  </a:cubicBezTo>
                  <a:cubicBezTo>
                    <a:pt x="322" y="144"/>
                    <a:pt x="332" y="136"/>
                    <a:pt x="331" y="125"/>
                  </a:cubicBezTo>
                  <a:cubicBezTo>
                    <a:pt x="330" y="114"/>
                    <a:pt x="323" y="87"/>
                    <a:pt x="332" y="77"/>
                  </a:cubicBezTo>
                  <a:cubicBezTo>
                    <a:pt x="341" y="67"/>
                    <a:pt x="356" y="38"/>
                    <a:pt x="356" y="30"/>
                  </a:cubicBezTo>
                  <a:cubicBezTo>
                    <a:pt x="356" y="22"/>
                    <a:pt x="356" y="11"/>
                    <a:pt x="356" y="11"/>
                  </a:cubicBezTo>
                  <a:cubicBezTo>
                    <a:pt x="347" y="4"/>
                    <a:pt x="347" y="4"/>
                    <a:pt x="347" y="4"/>
                  </a:cubicBezTo>
                  <a:cubicBezTo>
                    <a:pt x="347" y="4"/>
                    <a:pt x="343" y="10"/>
                    <a:pt x="332" y="9"/>
                  </a:cubicBezTo>
                  <a:cubicBezTo>
                    <a:pt x="321" y="8"/>
                    <a:pt x="307" y="0"/>
                    <a:pt x="301" y="0"/>
                  </a:cubicBezTo>
                  <a:cubicBezTo>
                    <a:pt x="295" y="0"/>
                    <a:pt x="282" y="11"/>
                    <a:pt x="282" y="11"/>
                  </a:cubicBezTo>
                  <a:cubicBezTo>
                    <a:pt x="262" y="10"/>
                    <a:pt x="262" y="10"/>
                    <a:pt x="262" y="10"/>
                  </a:cubicBezTo>
                  <a:cubicBezTo>
                    <a:pt x="252" y="31"/>
                    <a:pt x="252" y="31"/>
                    <a:pt x="252" y="31"/>
                  </a:cubicBezTo>
                  <a:cubicBezTo>
                    <a:pt x="252" y="31"/>
                    <a:pt x="262" y="44"/>
                    <a:pt x="260" y="51"/>
                  </a:cubicBezTo>
                  <a:cubicBezTo>
                    <a:pt x="258" y="58"/>
                    <a:pt x="242" y="77"/>
                    <a:pt x="242" y="77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14" name="Freeform 130"/>
            <p:cNvSpPr>
              <a:spLocks/>
            </p:cNvSpPr>
            <p:nvPr/>
          </p:nvSpPr>
          <p:spPr bwMode="auto">
            <a:xfrm>
              <a:off x="3063" y="2283"/>
              <a:ext cx="297" cy="400"/>
            </a:xfrm>
            <a:custGeom>
              <a:avLst/>
              <a:gdLst>
                <a:gd name="T0" fmla="*/ 0 w 781"/>
                <a:gd name="T1" fmla="*/ 0 h 1054"/>
                <a:gd name="T2" fmla="*/ 0 w 781"/>
                <a:gd name="T3" fmla="*/ 0 h 1054"/>
                <a:gd name="T4" fmla="*/ 0 w 781"/>
                <a:gd name="T5" fmla="*/ 0 h 1054"/>
                <a:gd name="T6" fmla="*/ 0 w 781"/>
                <a:gd name="T7" fmla="*/ 0 h 1054"/>
                <a:gd name="T8" fmla="*/ 0 w 781"/>
                <a:gd name="T9" fmla="*/ 0 h 1054"/>
                <a:gd name="T10" fmla="*/ 0 w 781"/>
                <a:gd name="T11" fmla="*/ 0 h 1054"/>
                <a:gd name="T12" fmla="*/ 0 w 781"/>
                <a:gd name="T13" fmla="*/ 0 h 1054"/>
                <a:gd name="T14" fmla="*/ 0 w 781"/>
                <a:gd name="T15" fmla="*/ 0 h 1054"/>
                <a:gd name="T16" fmla="*/ 0 w 781"/>
                <a:gd name="T17" fmla="*/ 0 h 1054"/>
                <a:gd name="T18" fmla="*/ 0 w 781"/>
                <a:gd name="T19" fmla="*/ 0 h 1054"/>
                <a:gd name="T20" fmla="*/ 0 w 781"/>
                <a:gd name="T21" fmla="*/ 0 h 1054"/>
                <a:gd name="T22" fmla="*/ 0 w 781"/>
                <a:gd name="T23" fmla="*/ 0 h 1054"/>
                <a:gd name="T24" fmla="*/ 0 w 781"/>
                <a:gd name="T25" fmla="*/ 0 h 1054"/>
                <a:gd name="T26" fmla="*/ 0 w 781"/>
                <a:gd name="T27" fmla="*/ 0 h 1054"/>
                <a:gd name="T28" fmla="*/ 0 w 781"/>
                <a:gd name="T29" fmla="*/ 0 h 1054"/>
                <a:gd name="T30" fmla="*/ 0 w 781"/>
                <a:gd name="T31" fmla="*/ 0 h 1054"/>
                <a:gd name="T32" fmla="*/ 0 w 781"/>
                <a:gd name="T33" fmla="*/ 0 h 1054"/>
                <a:gd name="T34" fmla="*/ 0 w 781"/>
                <a:gd name="T35" fmla="*/ 0 h 1054"/>
                <a:gd name="T36" fmla="*/ 0 w 781"/>
                <a:gd name="T37" fmla="*/ 0 h 1054"/>
                <a:gd name="T38" fmla="*/ 0 w 781"/>
                <a:gd name="T39" fmla="*/ 0 h 1054"/>
                <a:gd name="T40" fmla="*/ 0 w 781"/>
                <a:gd name="T41" fmla="*/ 0 h 1054"/>
                <a:gd name="T42" fmla="*/ 0 w 781"/>
                <a:gd name="T43" fmla="*/ 0 h 1054"/>
                <a:gd name="T44" fmla="*/ 0 w 781"/>
                <a:gd name="T45" fmla="*/ 0 h 1054"/>
                <a:gd name="T46" fmla="*/ 0 w 781"/>
                <a:gd name="T47" fmla="*/ 0 h 1054"/>
                <a:gd name="T48" fmla="*/ 0 w 781"/>
                <a:gd name="T49" fmla="*/ 0 h 1054"/>
                <a:gd name="T50" fmla="*/ 0 w 781"/>
                <a:gd name="T51" fmla="*/ 0 h 1054"/>
                <a:gd name="T52" fmla="*/ 0 w 781"/>
                <a:gd name="T53" fmla="*/ 0 h 1054"/>
                <a:gd name="T54" fmla="*/ 0 w 781"/>
                <a:gd name="T55" fmla="*/ 0 h 1054"/>
                <a:gd name="T56" fmla="*/ 0 w 781"/>
                <a:gd name="T57" fmla="*/ 0 h 1054"/>
                <a:gd name="T58" fmla="*/ 0 w 781"/>
                <a:gd name="T59" fmla="*/ 0 h 1054"/>
                <a:gd name="T60" fmla="*/ 0 w 781"/>
                <a:gd name="T61" fmla="*/ 0 h 1054"/>
                <a:gd name="T62" fmla="*/ 0 w 781"/>
                <a:gd name="T63" fmla="*/ 0 h 1054"/>
                <a:gd name="T64" fmla="*/ 0 w 781"/>
                <a:gd name="T65" fmla="*/ 0 h 1054"/>
                <a:gd name="T66" fmla="*/ 0 w 781"/>
                <a:gd name="T67" fmla="*/ 0 h 1054"/>
                <a:gd name="T68" fmla="*/ 0 w 781"/>
                <a:gd name="T69" fmla="*/ 0 h 1054"/>
                <a:gd name="T70" fmla="*/ 0 w 781"/>
                <a:gd name="T71" fmla="*/ 0 h 1054"/>
                <a:gd name="T72" fmla="*/ 0 w 781"/>
                <a:gd name="T73" fmla="*/ 0 h 1054"/>
                <a:gd name="T74" fmla="*/ 0 w 781"/>
                <a:gd name="T75" fmla="*/ 0 h 1054"/>
                <a:gd name="T76" fmla="*/ 0 w 781"/>
                <a:gd name="T77" fmla="*/ 0 h 1054"/>
                <a:gd name="T78" fmla="*/ 0 w 781"/>
                <a:gd name="T79" fmla="*/ 0 h 1054"/>
                <a:gd name="T80" fmla="*/ 0 w 781"/>
                <a:gd name="T81" fmla="*/ 0 h 1054"/>
                <a:gd name="T82" fmla="*/ 0 w 781"/>
                <a:gd name="T83" fmla="*/ 0 h 1054"/>
                <a:gd name="T84" fmla="*/ 0 w 781"/>
                <a:gd name="T85" fmla="*/ 0 h 1054"/>
                <a:gd name="T86" fmla="*/ 0 w 781"/>
                <a:gd name="T87" fmla="*/ 0 h 1054"/>
                <a:gd name="T88" fmla="*/ 0 w 781"/>
                <a:gd name="T89" fmla="*/ 0 h 1054"/>
                <a:gd name="T90" fmla="*/ 0 w 781"/>
                <a:gd name="T91" fmla="*/ 0 h 105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81"/>
                <a:gd name="T139" fmla="*/ 0 h 1054"/>
                <a:gd name="T140" fmla="*/ 781 w 781"/>
                <a:gd name="T141" fmla="*/ 1054 h 105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81" h="1054">
                  <a:moveTo>
                    <a:pt x="601" y="16"/>
                  </a:moveTo>
                  <a:cubicBezTo>
                    <a:pt x="601" y="16"/>
                    <a:pt x="601" y="39"/>
                    <a:pt x="591" y="43"/>
                  </a:cubicBezTo>
                  <a:cubicBezTo>
                    <a:pt x="581" y="47"/>
                    <a:pt x="579" y="43"/>
                    <a:pt x="569" y="46"/>
                  </a:cubicBezTo>
                  <a:cubicBezTo>
                    <a:pt x="559" y="49"/>
                    <a:pt x="560" y="70"/>
                    <a:pt x="547" y="77"/>
                  </a:cubicBezTo>
                  <a:cubicBezTo>
                    <a:pt x="534" y="84"/>
                    <a:pt x="522" y="59"/>
                    <a:pt x="522" y="59"/>
                  </a:cubicBezTo>
                  <a:cubicBezTo>
                    <a:pt x="443" y="56"/>
                    <a:pt x="443" y="56"/>
                    <a:pt x="443" y="56"/>
                  </a:cubicBezTo>
                  <a:cubicBezTo>
                    <a:pt x="443" y="56"/>
                    <a:pt x="445" y="46"/>
                    <a:pt x="438" y="48"/>
                  </a:cubicBezTo>
                  <a:cubicBezTo>
                    <a:pt x="431" y="50"/>
                    <a:pt x="429" y="60"/>
                    <a:pt x="429" y="60"/>
                  </a:cubicBezTo>
                  <a:cubicBezTo>
                    <a:pt x="143" y="56"/>
                    <a:pt x="143" y="56"/>
                    <a:pt x="143" y="56"/>
                  </a:cubicBezTo>
                  <a:cubicBezTo>
                    <a:pt x="144" y="164"/>
                    <a:pt x="144" y="164"/>
                    <a:pt x="144" y="164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101" y="398"/>
                    <a:pt x="101" y="398"/>
                    <a:pt x="101" y="398"/>
                  </a:cubicBezTo>
                  <a:cubicBezTo>
                    <a:pt x="101" y="398"/>
                    <a:pt x="69" y="393"/>
                    <a:pt x="56" y="397"/>
                  </a:cubicBezTo>
                  <a:cubicBezTo>
                    <a:pt x="43" y="401"/>
                    <a:pt x="52" y="412"/>
                    <a:pt x="54" y="420"/>
                  </a:cubicBezTo>
                  <a:cubicBezTo>
                    <a:pt x="56" y="428"/>
                    <a:pt x="47" y="428"/>
                    <a:pt x="41" y="434"/>
                  </a:cubicBezTo>
                  <a:cubicBezTo>
                    <a:pt x="35" y="440"/>
                    <a:pt x="37" y="452"/>
                    <a:pt x="37" y="452"/>
                  </a:cubicBezTo>
                  <a:cubicBezTo>
                    <a:pt x="27" y="452"/>
                    <a:pt x="27" y="452"/>
                    <a:pt x="27" y="452"/>
                  </a:cubicBezTo>
                  <a:cubicBezTo>
                    <a:pt x="30" y="468"/>
                    <a:pt x="30" y="468"/>
                    <a:pt x="30" y="468"/>
                  </a:cubicBezTo>
                  <a:cubicBezTo>
                    <a:pt x="35" y="479"/>
                    <a:pt x="35" y="479"/>
                    <a:pt x="35" y="479"/>
                  </a:cubicBezTo>
                  <a:cubicBezTo>
                    <a:pt x="24" y="486"/>
                    <a:pt x="24" y="486"/>
                    <a:pt x="24" y="486"/>
                  </a:cubicBezTo>
                  <a:cubicBezTo>
                    <a:pt x="24" y="486"/>
                    <a:pt x="9" y="494"/>
                    <a:pt x="15" y="504"/>
                  </a:cubicBezTo>
                  <a:cubicBezTo>
                    <a:pt x="21" y="514"/>
                    <a:pt x="24" y="518"/>
                    <a:pt x="22" y="527"/>
                  </a:cubicBezTo>
                  <a:cubicBezTo>
                    <a:pt x="20" y="536"/>
                    <a:pt x="6" y="536"/>
                    <a:pt x="3" y="547"/>
                  </a:cubicBezTo>
                  <a:cubicBezTo>
                    <a:pt x="0" y="558"/>
                    <a:pt x="6" y="563"/>
                    <a:pt x="11" y="565"/>
                  </a:cubicBezTo>
                  <a:cubicBezTo>
                    <a:pt x="16" y="567"/>
                    <a:pt x="21" y="557"/>
                    <a:pt x="28" y="560"/>
                  </a:cubicBezTo>
                  <a:cubicBezTo>
                    <a:pt x="35" y="563"/>
                    <a:pt x="33" y="590"/>
                    <a:pt x="33" y="590"/>
                  </a:cubicBezTo>
                  <a:cubicBezTo>
                    <a:pt x="42" y="598"/>
                    <a:pt x="42" y="598"/>
                    <a:pt x="42" y="598"/>
                  </a:cubicBezTo>
                  <a:cubicBezTo>
                    <a:pt x="31" y="603"/>
                    <a:pt x="31" y="603"/>
                    <a:pt x="31" y="603"/>
                  </a:cubicBezTo>
                  <a:cubicBezTo>
                    <a:pt x="35" y="620"/>
                    <a:pt x="35" y="620"/>
                    <a:pt x="35" y="620"/>
                  </a:cubicBezTo>
                  <a:cubicBezTo>
                    <a:pt x="35" y="620"/>
                    <a:pt x="44" y="621"/>
                    <a:pt x="56" y="634"/>
                  </a:cubicBezTo>
                  <a:cubicBezTo>
                    <a:pt x="68" y="647"/>
                    <a:pt x="50" y="643"/>
                    <a:pt x="50" y="643"/>
                  </a:cubicBezTo>
                  <a:cubicBezTo>
                    <a:pt x="52" y="659"/>
                    <a:pt x="52" y="659"/>
                    <a:pt x="52" y="659"/>
                  </a:cubicBezTo>
                  <a:cubicBezTo>
                    <a:pt x="52" y="659"/>
                    <a:pt x="89" y="692"/>
                    <a:pt x="93" y="714"/>
                  </a:cubicBezTo>
                  <a:cubicBezTo>
                    <a:pt x="97" y="736"/>
                    <a:pt x="82" y="743"/>
                    <a:pt x="81" y="753"/>
                  </a:cubicBezTo>
                  <a:cubicBezTo>
                    <a:pt x="80" y="763"/>
                    <a:pt x="89" y="760"/>
                    <a:pt x="89" y="760"/>
                  </a:cubicBezTo>
                  <a:cubicBezTo>
                    <a:pt x="83" y="771"/>
                    <a:pt x="83" y="771"/>
                    <a:pt x="83" y="771"/>
                  </a:cubicBezTo>
                  <a:cubicBezTo>
                    <a:pt x="117" y="774"/>
                    <a:pt x="117" y="774"/>
                    <a:pt x="117" y="774"/>
                  </a:cubicBezTo>
                  <a:cubicBezTo>
                    <a:pt x="117" y="781"/>
                    <a:pt x="117" y="781"/>
                    <a:pt x="117" y="781"/>
                  </a:cubicBezTo>
                  <a:cubicBezTo>
                    <a:pt x="117" y="781"/>
                    <a:pt x="110" y="789"/>
                    <a:pt x="116" y="797"/>
                  </a:cubicBezTo>
                  <a:cubicBezTo>
                    <a:pt x="122" y="805"/>
                    <a:pt x="152" y="803"/>
                    <a:pt x="152" y="803"/>
                  </a:cubicBezTo>
                  <a:cubicBezTo>
                    <a:pt x="152" y="816"/>
                    <a:pt x="152" y="816"/>
                    <a:pt x="152" y="816"/>
                  </a:cubicBezTo>
                  <a:cubicBezTo>
                    <a:pt x="152" y="816"/>
                    <a:pt x="168" y="815"/>
                    <a:pt x="171" y="826"/>
                  </a:cubicBezTo>
                  <a:cubicBezTo>
                    <a:pt x="174" y="837"/>
                    <a:pt x="159" y="831"/>
                    <a:pt x="165" y="841"/>
                  </a:cubicBezTo>
                  <a:cubicBezTo>
                    <a:pt x="171" y="851"/>
                    <a:pt x="185" y="853"/>
                    <a:pt x="192" y="854"/>
                  </a:cubicBezTo>
                  <a:cubicBezTo>
                    <a:pt x="199" y="855"/>
                    <a:pt x="208" y="878"/>
                    <a:pt x="208" y="878"/>
                  </a:cubicBezTo>
                  <a:cubicBezTo>
                    <a:pt x="208" y="878"/>
                    <a:pt x="223" y="879"/>
                    <a:pt x="223" y="887"/>
                  </a:cubicBezTo>
                  <a:cubicBezTo>
                    <a:pt x="223" y="895"/>
                    <a:pt x="216" y="889"/>
                    <a:pt x="217" y="895"/>
                  </a:cubicBezTo>
                  <a:cubicBezTo>
                    <a:pt x="218" y="901"/>
                    <a:pt x="225" y="904"/>
                    <a:pt x="225" y="904"/>
                  </a:cubicBezTo>
                  <a:cubicBezTo>
                    <a:pt x="224" y="917"/>
                    <a:pt x="224" y="917"/>
                    <a:pt x="224" y="917"/>
                  </a:cubicBezTo>
                  <a:cubicBezTo>
                    <a:pt x="239" y="918"/>
                    <a:pt x="239" y="918"/>
                    <a:pt x="239" y="918"/>
                  </a:cubicBezTo>
                  <a:cubicBezTo>
                    <a:pt x="239" y="918"/>
                    <a:pt x="248" y="924"/>
                    <a:pt x="256" y="932"/>
                  </a:cubicBezTo>
                  <a:cubicBezTo>
                    <a:pt x="264" y="940"/>
                    <a:pt x="260" y="954"/>
                    <a:pt x="260" y="954"/>
                  </a:cubicBezTo>
                  <a:cubicBezTo>
                    <a:pt x="264" y="962"/>
                    <a:pt x="264" y="962"/>
                    <a:pt x="264" y="962"/>
                  </a:cubicBezTo>
                  <a:cubicBezTo>
                    <a:pt x="285" y="981"/>
                    <a:pt x="285" y="981"/>
                    <a:pt x="285" y="981"/>
                  </a:cubicBezTo>
                  <a:cubicBezTo>
                    <a:pt x="285" y="995"/>
                    <a:pt x="285" y="995"/>
                    <a:pt x="285" y="995"/>
                  </a:cubicBezTo>
                  <a:cubicBezTo>
                    <a:pt x="316" y="1010"/>
                    <a:pt x="316" y="1010"/>
                    <a:pt x="316" y="1010"/>
                  </a:cubicBezTo>
                  <a:cubicBezTo>
                    <a:pt x="316" y="1010"/>
                    <a:pt x="324" y="994"/>
                    <a:pt x="333" y="994"/>
                  </a:cubicBezTo>
                  <a:cubicBezTo>
                    <a:pt x="342" y="994"/>
                    <a:pt x="343" y="1006"/>
                    <a:pt x="354" y="1006"/>
                  </a:cubicBezTo>
                  <a:cubicBezTo>
                    <a:pt x="365" y="1006"/>
                    <a:pt x="364" y="988"/>
                    <a:pt x="371" y="988"/>
                  </a:cubicBezTo>
                  <a:cubicBezTo>
                    <a:pt x="378" y="988"/>
                    <a:pt x="382" y="1005"/>
                    <a:pt x="390" y="1017"/>
                  </a:cubicBezTo>
                  <a:cubicBezTo>
                    <a:pt x="398" y="1029"/>
                    <a:pt x="417" y="1033"/>
                    <a:pt x="417" y="1033"/>
                  </a:cubicBezTo>
                  <a:cubicBezTo>
                    <a:pt x="420" y="1047"/>
                    <a:pt x="420" y="1047"/>
                    <a:pt x="420" y="1047"/>
                  </a:cubicBezTo>
                  <a:cubicBezTo>
                    <a:pt x="431" y="1049"/>
                    <a:pt x="431" y="1049"/>
                    <a:pt x="431" y="1049"/>
                  </a:cubicBezTo>
                  <a:cubicBezTo>
                    <a:pt x="431" y="1049"/>
                    <a:pt x="442" y="1036"/>
                    <a:pt x="447" y="1036"/>
                  </a:cubicBezTo>
                  <a:cubicBezTo>
                    <a:pt x="452" y="1036"/>
                    <a:pt x="461" y="1043"/>
                    <a:pt x="467" y="1044"/>
                  </a:cubicBezTo>
                  <a:cubicBezTo>
                    <a:pt x="473" y="1045"/>
                    <a:pt x="474" y="1037"/>
                    <a:pt x="474" y="1037"/>
                  </a:cubicBezTo>
                  <a:cubicBezTo>
                    <a:pt x="481" y="1036"/>
                    <a:pt x="481" y="1036"/>
                    <a:pt x="481" y="1036"/>
                  </a:cubicBezTo>
                  <a:cubicBezTo>
                    <a:pt x="495" y="1054"/>
                    <a:pt x="495" y="1054"/>
                    <a:pt x="495" y="1054"/>
                  </a:cubicBezTo>
                  <a:cubicBezTo>
                    <a:pt x="508" y="1039"/>
                    <a:pt x="508" y="1039"/>
                    <a:pt x="508" y="1039"/>
                  </a:cubicBezTo>
                  <a:cubicBezTo>
                    <a:pt x="524" y="1040"/>
                    <a:pt x="524" y="1040"/>
                    <a:pt x="524" y="1040"/>
                  </a:cubicBezTo>
                  <a:cubicBezTo>
                    <a:pt x="524" y="1040"/>
                    <a:pt x="531" y="1032"/>
                    <a:pt x="536" y="1032"/>
                  </a:cubicBezTo>
                  <a:cubicBezTo>
                    <a:pt x="541" y="1032"/>
                    <a:pt x="540" y="1038"/>
                    <a:pt x="553" y="1040"/>
                  </a:cubicBezTo>
                  <a:cubicBezTo>
                    <a:pt x="566" y="1042"/>
                    <a:pt x="575" y="1015"/>
                    <a:pt x="575" y="1015"/>
                  </a:cubicBezTo>
                  <a:cubicBezTo>
                    <a:pt x="583" y="1015"/>
                    <a:pt x="583" y="1015"/>
                    <a:pt x="583" y="1015"/>
                  </a:cubicBezTo>
                  <a:cubicBezTo>
                    <a:pt x="597" y="995"/>
                    <a:pt x="597" y="995"/>
                    <a:pt x="597" y="995"/>
                  </a:cubicBezTo>
                  <a:cubicBezTo>
                    <a:pt x="657" y="994"/>
                    <a:pt x="657" y="994"/>
                    <a:pt x="657" y="994"/>
                  </a:cubicBezTo>
                  <a:cubicBezTo>
                    <a:pt x="670" y="986"/>
                    <a:pt x="670" y="986"/>
                    <a:pt x="670" y="986"/>
                  </a:cubicBezTo>
                  <a:cubicBezTo>
                    <a:pt x="669" y="976"/>
                    <a:pt x="669" y="976"/>
                    <a:pt x="669" y="976"/>
                  </a:cubicBezTo>
                  <a:cubicBezTo>
                    <a:pt x="669" y="976"/>
                    <a:pt x="670" y="962"/>
                    <a:pt x="665" y="954"/>
                  </a:cubicBezTo>
                  <a:cubicBezTo>
                    <a:pt x="660" y="946"/>
                    <a:pt x="650" y="955"/>
                    <a:pt x="640" y="947"/>
                  </a:cubicBezTo>
                  <a:cubicBezTo>
                    <a:pt x="630" y="939"/>
                    <a:pt x="628" y="912"/>
                    <a:pt x="628" y="912"/>
                  </a:cubicBezTo>
                  <a:cubicBezTo>
                    <a:pt x="621" y="908"/>
                    <a:pt x="621" y="908"/>
                    <a:pt x="621" y="908"/>
                  </a:cubicBezTo>
                  <a:cubicBezTo>
                    <a:pt x="619" y="883"/>
                    <a:pt x="619" y="883"/>
                    <a:pt x="619" y="883"/>
                  </a:cubicBezTo>
                  <a:cubicBezTo>
                    <a:pt x="610" y="882"/>
                    <a:pt x="610" y="882"/>
                    <a:pt x="610" y="882"/>
                  </a:cubicBezTo>
                  <a:cubicBezTo>
                    <a:pt x="607" y="869"/>
                    <a:pt x="607" y="869"/>
                    <a:pt x="607" y="869"/>
                  </a:cubicBezTo>
                  <a:cubicBezTo>
                    <a:pt x="607" y="869"/>
                    <a:pt x="596" y="871"/>
                    <a:pt x="592" y="866"/>
                  </a:cubicBezTo>
                  <a:cubicBezTo>
                    <a:pt x="588" y="861"/>
                    <a:pt x="587" y="846"/>
                    <a:pt x="587" y="846"/>
                  </a:cubicBezTo>
                  <a:cubicBezTo>
                    <a:pt x="587" y="846"/>
                    <a:pt x="570" y="831"/>
                    <a:pt x="562" y="827"/>
                  </a:cubicBezTo>
                  <a:cubicBezTo>
                    <a:pt x="554" y="823"/>
                    <a:pt x="538" y="829"/>
                    <a:pt x="535" y="824"/>
                  </a:cubicBezTo>
                  <a:cubicBezTo>
                    <a:pt x="532" y="819"/>
                    <a:pt x="542" y="802"/>
                    <a:pt x="542" y="802"/>
                  </a:cubicBezTo>
                  <a:cubicBezTo>
                    <a:pt x="540" y="786"/>
                    <a:pt x="540" y="786"/>
                    <a:pt x="540" y="786"/>
                  </a:cubicBezTo>
                  <a:cubicBezTo>
                    <a:pt x="563" y="787"/>
                    <a:pt x="563" y="787"/>
                    <a:pt x="563" y="787"/>
                  </a:cubicBezTo>
                  <a:cubicBezTo>
                    <a:pt x="568" y="792"/>
                    <a:pt x="568" y="792"/>
                    <a:pt x="568" y="792"/>
                  </a:cubicBezTo>
                  <a:cubicBezTo>
                    <a:pt x="568" y="792"/>
                    <a:pt x="575" y="787"/>
                    <a:pt x="582" y="782"/>
                  </a:cubicBezTo>
                  <a:cubicBezTo>
                    <a:pt x="589" y="777"/>
                    <a:pt x="586" y="746"/>
                    <a:pt x="586" y="746"/>
                  </a:cubicBezTo>
                  <a:cubicBezTo>
                    <a:pt x="586" y="746"/>
                    <a:pt x="579" y="727"/>
                    <a:pt x="580" y="719"/>
                  </a:cubicBezTo>
                  <a:cubicBezTo>
                    <a:pt x="581" y="711"/>
                    <a:pt x="596" y="700"/>
                    <a:pt x="597" y="697"/>
                  </a:cubicBezTo>
                  <a:cubicBezTo>
                    <a:pt x="598" y="694"/>
                    <a:pt x="592" y="683"/>
                    <a:pt x="592" y="676"/>
                  </a:cubicBezTo>
                  <a:cubicBezTo>
                    <a:pt x="592" y="669"/>
                    <a:pt x="598" y="656"/>
                    <a:pt x="603" y="656"/>
                  </a:cubicBezTo>
                  <a:cubicBezTo>
                    <a:pt x="608" y="656"/>
                    <a:pt x="610" y="667"/>
                    <a:pt x="610" y="667"/>
                  </a:cubicBezTo>
                  <a:cubicBezTo>
                    <a:pt x="610" y="667"/>
                    <a:pt x="616" y="670"/>
                    <a:pt x="622" y="662"/>
                  </a:cubicBezTo>
                  <a:cubicBezTo>
                    <a:pt x="628" y="654"/>
                    <a:pt x="621" y="631"/>
                    <a:pt x="621" y="631"/>
                  </a:cubicBezTo>
                  <a:cubicBezTo>
                    <a:pt x="628" y="620"/>
                    <a:pt x="628" y="620"/>
                    <a:pt x="628" y="620"/>
                  </a:cubicBezTo>
                  <a:cubicBezTo>
                    <a:pt x="626" y="605"/>
                    <a:pt x="626" y="605"/>
                    <a:pt x="626" y="605"/>
                  </a:cubicBezTo>
                  <a:cubicBezTo>
                    <a:pt x="626" y="605"/>
                    <a:pt x="637" y="601"/>
                    <a:pt x="642" y="596"/>
                  </a:cubicBezTo>
                  <a:cubicBezTo>
                    <a:pt x="647" y="591"/>
                    <a:pt x="642" y="581"/>
                    <a:pt x="643" y="576"/>
                  </a:cubicBezTo>
                  <a:cubicBezTo>
                    <a:pt x="644" y="571"/>
                    <a:pt x="655" y="557"/>
                    <a:pt x="655" y="557"/>
                  </a:cubicBezTo>
                  <a:cubicBezTo>
                    <a:pt x="677" y="555"/>
                    <a:pt x="677" y="555"/>
                    <a:pt x="677" y="555"/>
                  </a:cubicBezTo>
                  <a:cubicBezTo>
                    <a:pt x="677" y="555"/>
                    <a:pt x="675" y="537"/>
                    <a:pt x="675" y="529"/>
                  </a:cubicBezTo>
                  <a:cubicBezTo>
                    <a:pt x="675" y="521"/>
                    <a:pt x="691" y="501"/>
                    <a:pt x="691" y="501"/>
                  </a:cubicBezTo>
                  <a:cubicBezTo>
                    <a:pt x="691" y="471"/>
                    <a:pt x="691" y="471"/>
                    <a:pt x="691" y="471"/>
                  </a:cubicBezTo>
                  <a:cubicBezTo>
                    <a:pt x="689" y="438"/>
                    <a:pt x="689" y="438"/>
                    <a:pt x="689" y="438"/>
                  </a:cubicBezTo>
                  <a:cubicBezTo>
                    <a:pt x="689" y="438"/>
                    <a:pt x="683" y="436"/>
                    <a:pt x="684" y="428"/>
                  </a:cubicBezTo>
                  <a:cubicBezTo>
                    <a:pt x="685" y="420"/>
                    <a:pt x="696" y="421"/>
                    <a:pt x="696" y="414"/>
                  </a:cubicBezTo>
                  <a:cubicBezTo>
                    <a:pt x="696" y="407"/>
                    <a:pt x="697" y="397"/>
                    <a:pt x="697" y="397"/>
                  </a:cubicBezTo>
                  <a:cubicBezTo>
                    <a:pt x="697" y="397"/>
                    <a:pt x="709" y="395"/>
                    <a:pt x="709" y="377"/>
                  </a:cubicBezTo>
                  <a:cubicBezTo>
                    <a:pt x="709" y="359"/>
                    <a:pt x="703" y="349"/>
                    <a:pt x="703" y="346"/>
                  </a:cubicBezTo>
                  <a:cubicBezTo>
                    <a:pt x="703" y="343"/>
                    <a:pt x="714" y="338"/>
                    <a:pt x="714" y="338"/>
                  </a:cubicBezTo>
                  <a:cubicBezTo>
                    <a:pt x="714" y="328"/>
                    <a:pt x="714" y="328"/>
                    <a:pt x="714" y="328"/>
                  </a:cubicBezTo>
                  <a:cubicBezTo>
                    <a:pt x="714" y="328"/>
                    <a:pt x="732" y="328"/>
                    <a:pt x="733" y="321"/>
                  </a:cubicBezTo>
                  <a:cubicBezTo>
                    <a:pt x="734" y="314"/>
                    <a:pt x="734" y="306"/>
                    <a:pt x="734" y="306"/>
                  </a:cubicBezTo>
                  <a:cubicBezTo>
                    <a:pt x="734" y="306"/>
                    <a:pt x="761" y="304"/>
                    <a:pt x="770" y="296"/>
                  </a:cubicBezTo>
                  <a:cubicBezTo>
                    <a:pt x="775" y="292"/>
                    <a:pt x="779" y="280"/>
                    <a:pt x="781" y="271"/>
                  </a:cubicBezTo>
                  <a:cubicBezTo>
                    <a:pt x="756" y="256"/>
                    <a:pt x="756" y="256"/>
                    <a:pt x="756" y="256"/>
                  </a:cubicBezTo>
                  <a:cubicBezTo>
                    <a:pt x="756" y="256"/>
                    <a:pt x="753" y="240"/>
                    <a:pt x="747" y="236"/>
                  </a:cubicBezTo>
                  <a:cubicBezTo>
                    <a:pt x="741" y="232"/>
                    <a:pt x="726" y="242"/>
                    <a:pt x="722" y="228"/>
                  </a:cubicBezTo>
                  <a:cubicBezTo>
                    <a:pt x="718" y="214"/>
                    <a:pt x="717" y="176"/>
                    <a:pt x="717" y="176"/>
                  </a:cubicBezTo>
                  <a:cubicBezTo>
                    <a:pt x="710" y="174"/>
                    <a:pt x="710" y="174"/>
                    <a:pt x="710" y="174"/>
                  </a:cubicBezTo>
                  <a:cubicBezTo>
                    <a:pt x="710" y="174"/>
                    <a:pt x="708" y="132"/>
                    <a:pt x="708" y="127"/>
                  </a:cubicBezTo>
                  <a:cubicBezTo>
                    <a:pt x="708" y="122"/>
                    <a:pt x="703" y="111"/>
                    <a:pt x="703" y="111"/>
                  </a:cubicBezTo>
                  <a:cubicBezTo>
                    <a:pt x="715" y="108"/>
                    <a:pt x="715" y="108"/>
                    <a:pt x="715" y="108"/>
                  </a:cubicBezTo>
                  <a:cubicBezTo>
                    <a:pt x="715" y="108"/>
                    <a:pt x="697" y="93"/>
                    <a:pt x="696" y="84"/>
                  </a:cubicBezTo>
                  <a:cubicBezTo>
                    <a:pt x="695" y="75"/>
                    <a:pt x="701" y="59"/>
                    <a:pt x="693" y="53"/>
                  </a:cubicBezTo>
                  <a:cubicBezTo>
                    <a:pt x="685" y="47"/>
                    <a:pt x="674" y="39"/>
                    <a:pt x="674" y="39"/>
                  </a:cubicBezTo>
                  <a:cubicBezTo>
                    <a:pt x="674" y="39"/>
                    <a:pt x="665" y="27"/>
                    <a:pt x="661" y="23"/>
                  </a:cubicBezTo>
                  <a:cubicBezTo>
                    <a:pt x="657" y="19"/>
                    <a:pt x="656" y="26"/>
                    <a:pt x="650" y="22"/>
                  </a:cubicBezTo>
                  <a:cubicBezTo>
                    <a:pt x="646" y="19"/>
                    <a:pt x="639" y="10"/>
                    <a:pt x="634" y="0"/>
                  </a:cubicBezTo>
                  <a:cubicBezTo>
                    <a:pt x="618" y="15"/>
                    <a:pt x="618" y="15"/>
                    <a:pt x="618" y="15"/>
                  </a:cubicBezTo>
                  <a:lnTo>
                    <a:pt x="601" y="16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15" name="Freeform 131"/>
            <p:cNvSpPr>
              <a:spLocks noEditPoints="1"/>
            </p:cNvSpPr>
            <p:nvPr/>
          </p:nvSpPr>
          <p:spPr bwMode="auto">
            <a:xfrm>
              <a:off x="5054" y="1561"/>
              <a:ext cx="76" cy="301"/>
            </a:xfrm>
            <a:custGeom>
              <a:avLst/>
              <a:gdLst>
                <a:gd name="T0" fmla="*/ 0 w 199"/>
                <a:gd name="T1" fmla="*/ 0 h 794"/>
                <a:gd name="T2" fmla="*/ 0 w 199"/>
                <a:gd name="T3" fmla="*/ 0 h 794"/>
                <a:gd name="T4" fmla="*/ 0 w 199"/>
                <a:gd name="T5" fmla="*/ 0 h 794"/>
                <a:gd name="T6" fmla="*/ 0 w 199"/>
                <a:gd name="T7" fmla="*/ 0 h 794"/>
                <a:gd name="T8" fmla="*/ 0 w 199"/>
                <a:gd name="T9" fmla="*/ 0 h 794"/>
                <a:gd name="T10" fmla="*/ 0 w 199"/>
                <a:gd name="T11" fmla="*/ 0 h 794"/>
                <a:gd name="T12" fmla="*/ 0 w 199"/>
                <a:gd name="T13" fmla="*/ 0 h 794"/>
                <a:gd name="T14" fmla="*/ 0 w 199"/>
                <a:gd name="T15" fmla="*/ 0 h 794"/>
                <a:gd name="T16" fmla="*/ 0 w 199"/>
                <a:gd name="T17" fmla="*/ 0 h 794"/>
                <a:gd name="T18" fmla="*/ 0 w 199"/>
                <a:gd name="T19" fmla="*/ 0 h 794"/>
                <a:gd name="T20" fmla="*/ 0 w 199"/>
                <a:gd name="T21" fmla="*/ 0 h 794"/>
                <a:gd name="T22" fmla="*/ 0 w 199"/>
                <a:gd name="T23" fmla="*/ 0 h 794"/>
                <a:gd name="T24" fmla="*/ 0 w 199"/>
                <a:gd name="T25" fmla="*/ 0 h 794"/>
                <a:gd name="T26" fmla="*/ 0 w 199"/>
                <a:gd name="T27" fmla="*/ 0 h 794"/>
                <a:gd name="T28" fmla="*/ 0 w 199"/>
                <a:gd name="T29" fmla="*/ 0 h 794"/>
                <a:gd name="T30" fmla="*/ 0 w 199"/>
                <a:gd name="T31" fmla="*/ 0 h 794"/>
                <a:gd name="T32" fmla="*/ 0 w 199"/>
                <a:gd name="T33" fmla="*/ 0 h 794"/>
                <a:gd name="T34" fmla="*/ 0 w 199"/>
                <a:gd name="T35" fmla="*/ 0 h 794"/>
                <a:gd name="T36" fmla="*/ 0 w 199"/>
                <a:gd name="T37" fmla="*/ 0 h 794"/>
                <a:gd name="T38" fmla="*/ 0 w 199"/>
                <a:gd name="T39" fmla="*/ 0 h 794"/>
                <a:gd name="T40" fmla="*/ 0 w 199"/>
                <a:gd name="T41" fmla="*/ 0 h 794"/>
                <a:gd name="T42" fmla="*/ 0 w 199"/>
                <a:gd name="T43" fmla="*/ 0 h 794"/>
                <a:gd name="T44" fmla="*/ 0 w 199"/>
                <a:gd name="T45" fmla="*/ 0 h 794"/>
                <a:gd name="T46" fmla="*/ 0 w 199"/>
                <a:gd name="T47" fmla="*/ 0 h 794"/>
                <a:gd name="T48" fmla="*/ 0 w 199"/>
                <a:gd name="T49" fmla="*/ 0 h 794"/>
                <a:gd name="T50" fmla="*/ 0 w 199"/>
                <a:gd name="T51" fmla="*/ 0 h 794"/>
                <a:gd name="T52" fmla="*/ 0 w 199"/>
                <a:gd name="T53" fmla="*/ 0 h 794"/>
                <a:gd name="T54" fmla="*/ 0 w 199"/>
                <a:gd name="T55" fmla="*/ 0 h 794"/>
                <a:gd name="T56" fmla="*/ 0 w 199"/>
                <a:gd name="T57" fmla="*/ 0 h 794"/>
                <a:gd name="T58" fmla="*/ 0 w 199"/>
                <a:gd name="T59" fmla="*/ 0 h 794"/>
                <a:gd name="T60" fmla="*/ 0 w 199"/>
                <a:gd name="T61" fmla="*/ 0 h 794"/>
                <a:gd name="T62" fmla="*/ 0 w 199"/>
                <a:gd name="T63" fmla="*/ 0 h 794"/>
                <a:gd name="T64" fmla="*/ 0 w 199"/>
                <a:gd name="T65" fmla="*/ 0 h 794"/>
                <a:gd name="T66" fmla="*/ 0 w 199"/>
                <a:gd name="T67" fmla="*/ 0 h 794"/>
                <a:gd name="T68" fmla="*/ 0 w 199"/>
                <a:gd name="T69" fmla="*/ 0 h 794"/>
                <a:gd name="T70" fmla="*/ 0 w 199"/>
                <a:gd name="T71" fmla="*/ 0 h 794"/>
                <a:gd name="T72" fmla="*/ 0 w 199"/>
                <a:gd name="T73" fmla="*/ 0 h 794"/>
                <a:gd name="T74" fmla="*/ 0 w 199"/>
                <a:gd name="T75" fmla="*/ 0 h 794"/>
                <a:gd name="T76" fmla="*/ 0 w 199"/>
                <a:gd name="T77" fmla="*/ 0 h 794"/>
                <a:gd name="T78" fmla="*/ 0 w 199"/>
                <a:gd name="T79" fmla="*/ 0 h 794"/>
                <a:gd name="T80" fmla="*/ 0 w 199"/>
                <a:gd name="T81" fmla="*/ 0 h 794"/>
                <a:gd name="T82" fmla="*/ 0 w 199"/>
                <a:gd name="T83" fmla="*/ 0 h 794"/>
                <a:gd name="T84" fmla="*/ 0 w 199"/>
                <a:gd name="T85" fmla="*/ 0 h 79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99"/>
                <a:gd name="T130" fmla="*/ 0 h 794"/>
                <a:gd name="T131" fmla="*/ 199 w 199"/>
                <a:gd name="T132" fmla="*/ 794 h 79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99" h="794">
                  <a:moveTo>
                    <a:pt x="0" y="794"/>
                  </a:moveTo>
                  <a:cubicBezTo>
                    <a:pt x="9" y="791"/>
                    <a:pt x="9" y="791"/>
                    <a:pt x="9" y="791"/>
                  </a:cubicBezTo>
                  <a:cubicBezTo>
                    <a:pt x="25" y="764"/>
                    <a:pt x="25" y="764"/>
                    <a:pt x="25" y="764"/>
                  </a:cubicBezTo>
                  <a:cubicBezTo>
                    <a:pt x="12" y="755"/>
                    <a:pt x="12" y="755"/>
                    <a:pt x="12" y="755"/>
                  </a:cubicBezTo>
                  <a:lnTo>
                    <a:pt x="0" y="794"/>
                  </a:lnTo>
                  <a:close/>
                  <a:moveTo>
                    <a:pt x="76" y="712"/>
                  </a:moveTo>
                  <a:cubicBezTo>
                    <a:pt x="49" y="708"/>
                    <a:pt x="49" y="708"/>
                    <a:pt x="49" y="708"/>
                  </a:cubicBezTo>
                  <a:cubicBezTo>
                    <a:pt x="36" y="755"/>
                    <a:pt x="36" y="755"/>
                    <a:pt x="36" y="755"/>
                  </a:cubicBezTo>
                  <a:cubicBezTo>
                    <a:pt x="43" y="757"/>
                    <a:pt x="43" y="757"/>
                    <a:pt x="43" y="757"/>
                  </a:cubicBezTo>
                  <a:cubicBezTo>
                    <a:pt x="55" y="733"/>
                    <a:pt x="55" y="733"/>
                    <a:pt x="55" y="733"/>
                  </a:cubicBezTo>
                  <a:cubicBezTo>
                    <a:pt x="88" y="715"/>
                    <a:pt x="88" y="715"/>
                    <a:pt x="88" y="715"/>
                  </a:cubicBezTo>
                  <a:cubicBezTo>
                    <a:pt x="79" y="699"/>
                    <a:pt x="79" y="699"/>
                    <a:pt x="79" y="699"/>
                  </a:cubicBezTo>
                  <a:lnTo>
                    <a:pt x="76" y="712"/>
                  </a:lnTo>
                  <a:close/>
                  <a:moveTo>
                    <a:pt x="128" y="672"/>
                  </a:moveTo>
                  <a:cubicBezTo>
                    <a:pt x="119" y="670"/>
                    <a:pt x="109" y="694"/>
                    <a:pt x="117" y="697"/>
                  </a:cubicBezTo>
                  <a:cubicBezTo>
                    <a:pt x="128" y="701"/>
                    <a:pt x="138" y="675"/>
                    <a:pt x="128" y="672"/>
                  </a:cubicBezTo>
                  <a:close/>
                  <a:moveTo>
                    <a:pt x="189" y="423"/>
                  </a:moveTo>
                  <a:cubicBezTo>
                    <a:pt x="177" y="434"/>
                    <a:pt x="177" y="434"/>
                    <a:pt x="177" y="434"/>
                  </a:cubicBezTo>
                  <a:cubicBezTo>
                    <a:pt x="185" y="449"/>
                    <a:pt x="185" y="449"/>
                    <a:pt x="185" y="449"/>
                  </a:cubicBezTo>
                  <a:cubicBezTo>
                    <a:pt x="173" y="449"/>
                    <a:pt x="173" y="449"/>
                    <a:pt x="173" y="449"/>
                  </a:cubicBezTo>
                  <a:cubicBezTo>
                    <a:pt x="173" y="469"/>
                    <a:pt x="173" y="469"/>
                    <a:pt x="173" y="469"/>
                  </a:cubicBezTo>
                  <a:cubicBezTo>
                    <a:pt x="189" y="467"/>
                    <a:pt x="189" y="467"/>
                    <a:pt x="189" y="467"/>
                  </a:cubicBezTo>
                  <a:cubicBezTo>
                    <a:pt x="198" y="456"/>
                    <a:pt x="198" y="456"/>
                    <a:pt x="198" y="456"/>
                  </a:cubicBezTo>
                  <a:cubicBezTo>
                    <a:pt x="189" y="437"/>
                    <a:pt x="189" y="437"/>
                    <a:pt x="189" y="437"/>
                  </a:cubicBezTo>
                  <a:cubicBezTo>
                    <a:pt x="199" y="435"/>
                    <a:pt x="199" y="435"/>
                    <a:pt x="199" y="435"/>
                  </a:cubicBezTo>
                  <a:lnTo>
                    <a:pt x="189" y="423"/>
                  </a:lnTo>
                  <a:close/>
                  <a:moveTo>
                    <a:pt x="184" y="513"/>
                  </a:moveTo>
                  <a:cubicBezTo>
                    <a:pt x="195" y="499"/>
                    <a:pt x="195" y="499"/>
                    <a:pt x="195" y="499"/>
                  </a:cubicBezTo>
                  <a:cubicBezTo>
                    <a:pt x="178" y="485"/>
                    <a:pt x="178" y="485"/>
                    <a:pt x="178" y="485"/>
                  </a:cubicBezTo>
                  <a:lnTo>
                    <a:pt x="184" y="513"/>
                  </a:lnTo>
                  <a:close/>
                  <a:moveTo>
                    <a:pt x="170" y="636"/>
                  </a:moveTo>
                  <a:cubicBezTo>
                    <a:pt x="171" y="615"/>
                    <a:pt x="171" y="615"/>
                    <a:pt x="171" y="615"/>
                  </a:cubicBezTo>
                  <a:cubicBezTo>
                    <a:pt x="162" y="632"/>
                    <a:pt x="162" y="632"/>
                    <a:pt x="162" y="632"/>
                  </a:cubicBezTo>
                  <a:lnTo>
                    <a:pt x="170" y="636"/>
                  </a:lnTo>
                  <a:close/>
                  <a:moveTo>
                    <a:pt x="169" y="573"/>
                  </a:moveTo>
                  <a:cubicBezTo>
                    <a:pt x="181" y="571"/>
                    <a:pt x="181" y="571"/>
                    <a:pt x="181" y="571"/>
                  </a:cubicBezTo>
                  <a:cubicBezTo>
                    <a:pt x="169" y="559"/>
                    <a:pt x="169" y="559"/>
                    <a:pt x="169" y="559"/>
                  </a:cubicBezTo>
                  <a:lnTo>
                    <a:pt x="169" y="573"/>
                  </a:lnTo>
                  <a:close/>
                  <a:moveTo>
                    <a:pt x="82" y="14"/>
                  </a:moveTo>
                  <a:cubicBezTo>
                    <a:pt x="94" y="38"/>
                    <a:pt x="94" y="38"/>
                    <a:pt x="94" y="3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06" y="0"/>
                    <a:pt x="106" y="0"/>
                    <a:pt x="106" y="0"/>
                  </a:cubicBezTo>
                  <a:lnTo>
                    <a:pt x="82" y="14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16" name="Freeform 132"/>
            <p:cNvSpPr>
              <a:spLocks noEditPoints="1"/>
            </p:cNvSpPr>
            <p:nvPr/>
          </p:nvSpPr>
          <p:spPr bwMode="auto">
            <a:xfrm>
              <a:off x="4650" y="2399"/>
              <a:ext cx="29" cy="19"/>
            </a:xfrm>
            <a:custGeom>
              <a:avLst/>
              <a:gdLst>
                <a:gd name="T0" fmla="*/ 0 w 76"/>
                <a:gd name="T1" fmla="*/ 0 h 52"/>
                <a:gd name="T2" fmla="*/ 0 w 76"/>
                <a:gd name="T3" fmla="*/ 0 h 52"/>
                <a:gd name="T4" fmla="*/ 0 w 76"/>
                <a:gd name="T5" fmla="*/ 0 h 52"/>
                <a:gd name="T6" fmla="*/ 0 w 76"/>
                <a:gd name="T7" fmla="*/ 0 h 52"/>
                <a:gd name="T8" fmla="*/ 0 w 76"/>
                <a:gd name="T9" fmla="*/ 0 h 52"/>
                <a:gd name="T10" fmla="*/ 0 w 76"/>
                <a:gd name="T11" fmla="*/ 0 h 52"/>
                <a:gd name="T12" fmla="*/ 0 w 76"/>
                <a:gd name="T13" fmla="*/ 0 h 52"/>
                <a:gd name="T14" fmla="*/ 0 w 76"/>
                <a:gd name="T15" fmla="*/ 0 h 52"/>
                <a:gd name="T16" fmla="*/ 0 w 76"/>
                <a:gd name="T17" fmla="*/ 0 h 52"/>
                <a:gd name="T18" fmla="*/ 0 w 76"/>
                <a:gd name="T19" fmla="*/ 0 h 5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6"/>
                <a:gd name="T31" fmla="*/ 0 h 52"/>
                <a:gd name="T32" fmla="*/ 76 w 76"/>
                <a:gd name="T33" fmla="*/ 52 h 5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6" h="52">
                  <a:moveTo>
                    <a:pt x="16" y="34"/>
                  </a:moveTo>
                  <a:cubicBezTo>
                    <a:pt x="0" y="34"/>
                    <a:pt x="11" y="52"/>
                    <a:pt x="11" y="52"/>
                  </a:cubicBezTo>
                  <a:cubicBezTo>
                    <a:pt x="23" y="52"/>
                    <a:pt x="32" y="34"/>
                    <a:pt x="16" y="34"/>
                  </a:cubicBezTo>
                  <a:close/>
                  <a:moveTo>
                    <a:pt x="35" y="8"/>
                  </a:moveTo>
                  <a:cubicBezTo>
                    <a:pt x="28" y="16"/>
                    <a:pt x="47" y="26"/>
                    <a:pt x="47" y="26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41" y="0"/>
                    <a:pt x="35" y="8"/>
                  </a:cubicBezTo>
                  <a:close/>
                  <a:moveTo>
                    <a:pt x="71" y="32"/>
                  </a:moveTo>
                  <a:cubicBezTo>
                    <a:pt x="66" y="26"/>
                    <a:pt x="51" y="38"/>
                    <a:pt x="58" y="42"/>
                  </a:cubicBezTo>
                  <a:cubicBezTo>
                    <a:pt x="68" y="48"/>
                    <a:pt x="76" y="37"/>
                    <a:pt x="71" y="32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17" name="Freeform 133"/>
            <p:cNvSpPr>
              <a:spLocks noEditPoints="1"/>
            </p:cNvSpPr>
            <p:nvPr/>
          </p:nvSpPr>
          <p:spPr bwMode="auto">
            <a:xfrm>
              <a:off x="4844" y="1823"/>
              <a:ext cx="224" cy="438"/>
            </a:xfrm>
            <a:custGeom>
              <a:avLst/>
              <a:gdLst>
                <a:gd name="T0" fmla="*/ 0 w 591"/>
                <a:gd name="T1" fmla="*/ 0 h 1153"/>
                <a:gd name="T2" fmla="*/ 0 w 591"/>
                <a:gd name="T3" fmla="*/ 0 h 1153"/>
                <a:gd name="T4" fmla="*/ 0 w 591"/>
                <a:gd name="T5" fmla="*/ 0 h 1153"/>
                <a:gd name="T6" fmla="*/ 0 w 591"/>
                <a:gd name="T7" fmla="*/ 0 h 1153"/>
                <a:gd name="T8" fmla="*/ 0 w 591"/>
                <a:gd name="T9" fmla="*/ 0 h 1153"/>
                <a:gd name="T10" fmla="*/ 0 w 591"/>
                <a:gd name="T11" fmla="*/ 0 h 1153"/>
                <a:gd name="T12" fmla="*/ 0 w 591"/>
                <a:gd name="T13" fmla="*/ 0 h 1153"/>
                <a:gd name="T14" fmla="*/ 0 w 591"/>
                <a:gd name="T15" fmla="*/ 0 h 1153"/>
                <a:gd name="T16" fmla="*/ 0 w 591"/>
                <a:gd name="T17" fmla="*/ 0 h 1153"/>
                <a:gd name="T18" fmla="*/ 0 w 591"/>
                <a:gd name="T19" fmla="*/ 0 h 1153"/>
                <a:gd name="T20" fmla="*/ 0 w 591"/>
                <a:gd name="T21" fmla="*/ 0 h 1153"/>
                <a:gd name="T22" fmla="*/ 0 w 591"/>
                <a:gd name="T23" fmla="*/ 0 h 1153"/>
                <a:gd name="T24" fmla="*/ 0 w 591"/>
                <a:gd name="T25" fmla="*/ 0 h 1153"/>
                <a:gd name="T26" fmla="*/ 0 w 591"/>
                <a:gd name="T27" fmla="*/ 0 h 1153"/>
                <a:gd name="T28" fmla="*/ 0 w 591"/>
                <a:gd name="T29" fmla="*/ 0 h 1153"/>
                <a:gd name="T30" fmla="*/ 0 w 591"/>
                <a:gd name="T31" fmla="*/ 0 h 1153"/>
                <a:gd name="T32" fmla="*/ 0 w 591"/>
                <a:gd name="T33" fmla="*/ 0 h 1153"/>
                <a:gd name="T34" fmla="*/ 0 w 591"/>
                <a:gd name="T35" fmla="*/ 0 h 1153"/>
                <a:gd name="T36" fmla="*/ 0 w 591"/>
                <a:gd name="T37" fmla="*/ 0 h 1153"/>
                <a:gd name="T38" fmla="*/ 0 w 591"/>
                <a:gd name="T39" fmla="*/ 0 h 1153"/>
                <a:gd name="T40" fmla="*/ 0 w 591"/>
                <a:gd name="T41" fmla="*/ 0 h 1153"/>
                <a:gd name="T42" fmla="*/ 0 w 591"/>
                <a:gd name="T43" fmla="*/ 0 h 1153"/>
                <a:gd name="T44" fmla="*/ 0 w 591"/>
                <a:gd name="T45" fmla="*/ 0 h 1153"/>
                <a:gd name="T46" fmla="*/ 0 w 591"/>
                <a:gd name="T47" fmla="*/ 0 h 1153"/>
                <a:gd name="T48" fmla="*/ 0 w 591"/>
                <a:gd name="T49" fmla="*/ 0 h 1153"/>
                <a:gd name="T50" fmla="*/ 0 w 591"/>
                <a:gd name="T51" fmla="*/ 0 h 1153"/>
                <a:gd name="T52" fmla="*/ 0 w 591"/>
                <a:gd name="T53" fmla="*/ 0 h 1153"/>
                <a:gd name="T54" fmla="*/ 0 w 591"/>
                <a:gd name="T55" fmla="*/ 0 h 1153"/>
                <a:gd name="T56" fmla="*/ 0 w 591"/>
                <a:gd name="T57" fmla="*/ 0 h 1153"/>
                <a:gd name="T58" fmla="*/ 0 w 591"/>
                <a:gd name="T59" fmla="*/ 0 h 1153"/>
                <a:gd name="T60" fmla="*/ 0 w 591"/>
                <a:gd name="T61" fmla="*/ 0 h 1153"/>
                <a:gd name="T62" fmla="*/ 0 w 591"/>
                <a:gd name="T63" fmla="*/ 0 h 1153"/>
                <a:gd name="T64" fmla="*/ 0 w 591"/>
                <a:gd name="T65" fmla="*/ 0 h 1153"/>
                <a:gd name="T66" fmla="*/ 0 w 591"/>
                <a:gd name="T67" fmla="*/ 0 h 1153"/>
                <a:gd name="T68" fmla="*/ 0 w 591"/>
                <a:gd name="T69" fmla="*/ 0 h 1153"/>
                <a:gd name="T70" fmla="*/ 0 w 591"/>
                <a:gd name="T71" fmla="*/ 0 h 1153"/>
                <a:gd name="T72" fmla="*/ 0 w 591"/>
                <a:gd name="T73" fmla="*/ 0 h 1153"/>
                <a:gd name="T74" fmla="*/ 0 w 591"/>
                <a:gd name="T75" fmla="*/ 0 h 1153"/>
                <a:gd name="T76" fmla="*/ 0 w 591"/>
                <a:gd name="T77" fmla="*/ 0 h 1153"/>
                <a:gd name="T78" fmla="*/ 0 w 591"/>
                <a:gd name="T79" fmla="*/ 0 h 1153"/>
                <a:gd name="T80" fmla="*/ 0 w 591"/>
                <a:gd name="T81" fmla="*/ 0 h 1153"/>
                <a:gd name="T82" fmla="*/ 0 w 591"/>
                <a:gd name="T83" fmla="*/ 0 h 1153"/>
                <a:gd name="T84" fmla="*/ 0 w 591"/>
                <a:gd name="T85" fmla="*/ 0 h 1153"/>
                <a:gd name="T86" fmla="*/ 0 w 591"/>
                <a:gd name="T87" fmla="*/ 0 h 1153"/>
                <a:gd name="T88" fmla="*/ 0 w 591"/>
                <a:gd name="T89" fmla="*/ 0 h 1153"/>
                <a:gd name="T90" fmla="*/ 0 w 591"/>
                <a:gd name="T91" fmla="*/ 0 h 1153"/>
                <a:gd name="T92" fmla="*/ 0 w 591"/>
                <a:gd name="T93" fmla="*/ 0 h 1153"/>
                <a:gd name="T94" fmla="*/ 0 w 591"/>
                <a:gd name="T95" fmla="*/ 0 h 115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91"/>
                <a:gd name="T145" fmla="*/ 0 h 1153"/>
                <a:gd name="T146" fmla="*/ 591 w 591"/>
                <a:gd name="T147" fmla="*/ 1153 h 115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91" h="1153">
                  <a:moveTo>
                    <a:pt x="591" y="531"/>
                  </a:moveTo>
                  <a:cubicBezTo>
                    <a:pt x="591" y="531"/>
                    <a:pt x="559" y="513"/>
                    <a:pt x="560" y="499"/>
                  </a:cubicBezTo>
                  <a:cubicBezTo>
                    <a:pt x="561" y="485"/>
                    <a:pt x="562" y="459"/>
                    <a:pt x="556" y="447"/>
                  </a:cubicBezTo>
                  <a:cubicBezTo>
                    <a:pt x="550" y="435"/>
                    <a:pt x="526" y="418"/>
                    <a:pt x="529" y="401"/>
                  </a:cubicBezTo>
                  <a:cubicBezTo>
                    <a:pt x="532" y="384"/>
                    <a:pt x="548" y="389"/>
                    <a:pt x="548" y="389"/>
                  </a:cubicBezTo>
                  <a:cubicBezTo>
                    <a:pt x="545" y="362"/>
                    <a:pt x="545" y="362"/>
                    <a:pt x="545" y="362"/>
                  </a:cubicBezTo>
                  <a:cubicBezTo>
                    <a:pt x="537" y="356"/>
                    <a:pt x="537" y="356"/>
                    <a:pt x="537" y="356"/>
                  </a:cubicBezTo>
                  <a:cubicBezTo>
                    <a:pt x="547" y="349"/>
                    <a:pt x="547" y="349"/>
                    <a:pt x="547" y="349"/>
                  </a:cubicBezTo>
                  <a:cubicBezTo>
                    <a:pt x="547" y="349"/>
                    <a:pt x="542" y="331"/>
                    <a:pt x="538" y="321"/>
                  </a:cubicBezTo>
                  <a:cubicBezTo>
                    <a:pt x="534" y="311"/>
                    <a:pt x="520" y="303"/>
                    <a:pt x="520" y="303"/>
                  </a:cubicBezTo>
                  <a:cubicBezTo>
                    <a:pt x="516" y="290"/>
                    <a:pt x="516" y="290"/>
                    <a:pt x="516" y="290"/>
                  </a:cubicBezTo>
                  <a:cubicBezTo>
                    <a:pt x="516" y="290"/>
                    <a:pt x="501" y="283"/>
                    <a:pt x="492" y="276"/>
                  </a:cubicBezTo>
                  <a:cubicBezTo>
                    <a:pt x="483" y="269"/>
                    <a:pt x="468" y="253"/>
                    <a:pt x="468" y="244"/>
                  </a:cubicBezTo>
                  <a:cubicBezTo>
                    <a:pt x="468" y="235"/>
                    <a:pt x="465" y="231"/>
                    <a:pt x="465" y="231"/>
                  </a:cubicBezTo>
                  <a:cubicBezTo>
                    <a:pt x="465" y="231"/>
                    <a:pt x="442" y="214"/>
                    <a:pt x="439" y="226"/>
                  </a:cubicBezTo>
                  <a:cubicBezTo>
                    <a:pt x="436" y="238"/>
                    <a:pt x="448" y="241"/>
                    <a:pt x="448" y="241"/>
                  </a:cubicBezTo>
                  <a:cubicBezTo>
                    <a:pt x="455" y="237"/>
                    <a:pt x="455" y="237"/>
                    <a:pt x="455" y="237"/>
                  </a:cubicBezTo>
                  <a:cubicBezTo>
                    <a:pt x="455" y="237"/>
                    <a:pt x="463" y="256"/>
                    <a:pt x="459" y="256"/>
                  </a:cubicBezTo>
                  <a:cubicBezTo>
                    <a:pt x="455" y="256"/>
                    <a:pt x="450" y="249"/>
                    <a:pt x="450" y="249"/>
                  </a:cubicBezTo>
                  <a:cubicBezTo>
                    <a:pt x="441" y="258"/>
                    <a:pt x="441" y="258"/>
                    <a:pt x="441" y="258"/>
                  </a:cubicBezTo>
                  <a:cubicBezTo>
                    <a:pt x="428" y="237"/>
                    <a:pt x="428" y="237"/>
                    <a:pt x="428" y="237"/>
                  </a:cubicBezTo>
                  <a:cubicBezTo>
                    <a:pt x="416" y="237"/>
                    <a:pt x="416" y="237"/>
                    <a:pt x="416" y="237"/>
                  </a:cubicBezTo>
                  <a:cubicBezTo>
                    <a:pt x="430" y="261"/>
                    <a:pt x="430" y="261"/>
                    <a:pt x="430" y="261"/>
                  </a:cubicBezTo>
                  <a:cubicBezTo>
                    <a:pt x="418" y="264"/>
                    <a:pt x="418" y="264"/>
                    <a:pt x="418" y="264"/>
                  </a:cubicBezTo>
                  <a:cubicBezTo>
                    <a:pt x="437" y="296"/>
                    <a:pt x="437" y="296"/>
                    <a:pt x="437" y="296"/>
                  </a:cubicBezTo>
                  <a:cubicBezTo>
                    <a:pt x="430" y="304"/>
                    <a:pt x="430" y="304"/>
                    <a:pt x="430" y="304"/>
                  </a:cubicBezTo>
                  <a:cubicBezTo>
                    <a:pt x="430" y="304"/>
                    <a:pt x="466" y="322"/>
                    <a:pt x="464" y="337"/>
                  </a:cubicBezTo>
                  <a:cubicBezTo>
                    <a:pt x="462" y="352"/>
                    <a:pt x="456" y="373"/>
                    <a:pt x="456" y="373"/>
                  </a:cubicBezTo>
                  <a:cubicBezTo>
                    <a:pt x="454" y="391"/>
                    <a:pt x="454" y="391"/>
                    <a:pt x="454" y="391"/>
                  </a:cubicBezTo>
                  <a:cubicBezTo>
                    <a:pt x="454" y="391"/>
                    <a:pt x="475" y="404"/>
                    <a:pt x="465" y="411"/>
                  </a:cubicBezTo>
                  <a:cubicBezTo>
                    <a:pt x="455" y="418"/>
                    <a:pt x="447" y="414"/>
                    <a:pt x="447" y="414"/>
                  </a:cubicBezTo>
                  <a:cubicBezTo>
                    <a:pt x="447" y="414"/>
                    <a:pt x="454" y="444"/>
                    <a:pt x="443" y="450"/>
                  </a:cubicBezTo>
                  <a:cubicBezTo>
                    <a:pt x="432" y="456"/>
                    <a:pt x="409" y="464"/>
                    <a:pt x="409" y="464"/>
                  </a:cubicBezTo>
                  <a:cubicBezTo>
                    <a:pt x="409" y="473"/>
                    <a:pt x="409" y="473"/>
                    <a:pt x="409" y="473"/>
                  </a:cubicBezTo>
                  <a:cubicBezTo>
                    <a:pt x="409" y="473"/>
                    <a:pt x="398" y="477"/>
                    <a:pt x="389" y="467"/>
                  </a:cubicBezTo>
                  <a:cubicBezTo>
                    <a:pt x="380" y="457"/>
                    <a:pt x="383" y="448"/>
                    <a:pt x="383" y="448"/>
                  </a:cubicBezTo>
                  <a:cubicBezTo>
                    <a:pt x="386" y="435"/>
                    <a:pt x="386" y="435"/>
                    <a:pt x="386" y="435"/>
                  </a:cubicBezTo>
                  <a:cubicBezTo>
                    <a:pt x="386" y="435"/>
                    <a:pt x="360" y="440"/>
                    <a:pt x="364" y="450"/>
                  </a:cubicBezTo>
                  <a:cubicBezTo>
                    <a:pt x="368" y="460"/>
                    <a:pt x="381" y="474"/>
                    <a:pt x="379" y="481"/>
                  </a:cubicBezTo>
                  <a:cubicBezTo>
                    <a:pt x="377" y="488"/>
                    <a:pt x="363" y="504"/>
                    <a:pt x="367" y="514"/>
                  </a:cubicBezTo>
                  <a:cubicBezTo>
                    <a:pt x="371" y="524"/>
                    <a:pt x="384" y="539"/>
                    <a:pt x="374" y="540"/>
                  </a:cubicBezTo>
                  <a:cubicBezTo>
                    <a:pt x="364" y="541"/>
                    <a:pt x="338" y="529"/>
                    <a:pt x="329" y="530"/>
                  </a:cubicBezTo>
                  <a:cubicBezTo>
                    <a:pt x="320" y="531"/>
                    <a:pt x="281" y="546"/>
                    <a:pt x="278" y="546"/>
                  </a:cubicBezTo>
                  <a:cubicBezTo>
                    <a:pt x="275" y="546"/>
                    <a:pt x="259" y="546"/>
                    <a:pt x="259" y="546"/>
                  </a:cubicBezTo>
                  <a:cubicBezTo>
                    <a:pt x="251" y="538"/>
                    <a:pt x="251" y="538"/>
                    <a:pt x="251" y="538"/>
                  </a:cubicBezTo>
                  <a:cubicBezTo>
                    <a:pt x="229" y="555"/>
                    <a:pt x="229" y="555"/>
                    <a:pt x="229" y="555"/>
                  </a:cubicBezTo>
                  <a:cubicBezTo>
                    <a:pt x="229" y="555"/>
                    <a:pt x="202" y="600"/>
                    <a:pt x="198" y="600"/>
                  </a:cubicBezTo>
                  <a:cubicBezTo>
                    <a:pt x="194" y="600"/>
                    <a:pt x="179" y="601"/>
                    <a:pt x="179" y="601"/>
                  </a:cubicBezTo>
                  <a:cubicBezTo>
                    <a:pt x="179" y="601"/>
                    <a:pt x="184" y="625"/>
                    <a:pt x="191" y="625"/>
                  </a:cubicBezTo>
                  <a:cubicBezTo>
                    <a:pt x="198" y="625"/>
                    <a:pt x="210" y="621"/>
                    <a:pt x="210" y="621"/>
                  </a:cubicBezTo>
                  <a:cubicBezTo>
                    <a:pt x="210" y="621"/>
                    <a:pt x="229" y="632"/>
                    <a:pt x="234" y="630"/>
                  </a:cubicBezTo>
                  <a:cubicBezTo>
                    <a:pt x="239" y="628"/>
                    <a:pt x="241" y="607"/>
                    <a:pt x="241" y="607"/>
                  </a:cubicBezTo>
                  <a:cubicBezTo>
                    <a:pt x="256" y="615"/>
                    <a:pt x="256" y="615"/>
                    <a:pt x="256" y="615"/>
                  </a:cubicBezTo>
                  <a:cubicBezTo>
                    <a:pt x="256" y="615"/>
                    <a:pt x="290" y="598"/>
                    <a:pt x="295" y="595"/>
                  </a:cubicBezTo>
                  <a:cubicBezTo>
                    <a:pt x="300" y="592"/>
                    <a:pt x="313" y="601"/>
                    <a:pt x="321" y="600"/>
                  </a:cubicBezTo>
                  <a:cubicBezTo>
                    <a:pt x="329" y="599"/>
                    <a:pt x="314" y="584"/>
                    <a:pt x="331" y="584"/>
                  </a:cubicBezTo>
                  <a:cubicBezTo>
                    <a:pt x="348" y="584"/>
                    <a:pt x="352" y="593"/>
                    <a:pt x="352" y="593"/>
                  </a:cubicBezTo>
                  <a:cubicBezTo>
                    <a:pt x="352" y="593"/>
                    <a:pt x="372" y="580"/>
                    <a:pt x="376" y="588"/>
                  </a:cubicBezTo>
                  <a:cubicBezTo>
                    <a:pt x="380" y="596"/>
                    <a:pt x="367" y="615"/>
                    <a:pt x="367" y="615"/>
                  </a:cubicBezTo>
                  <a:cubicBezTo>
                    <a:pt x="367" y="615"/>
                    <a:pt x="387" y="654"/>
                    <a:pt x="407" y="654"/>
                  </a:cubicBezTo>
                  <a:cubicBezTo>
                    <a:pt x="427" y="654"/>
                    <a:pt x="425" y="616"/>
                    <a:pt x="425" y="616"/>
                  </a:cubicBezTo>
                  <a:cubicBezTo>
                    <a:pt x="447" y="612"/>
                    <a:pt x="447" y="612"/>
                    <a:pt x="447" y="612"/>
                  </a:cubicBezTo>
                  <a:cubicBezTo>
                    <a:pt x="447" y="612"/>
                    <a:pt x="430" y="592"/>
                    <a:pt x="427" y="591"/>
                  </a:cubicBezTo>
                  <a:cubicBezTo>
                    <a:pt x="424" y="590"/>
                    <a:pt x="415" y="583"/>
                    <a:pt x="415" y="583"/>
                  </a:cubicBezTo>
                  <a:cubicBezTo>
                    <a:pt x="426" y="568"/>
                    <a:pt x="426" y="568"/>
                    <a:pt x="426" y="568"/>
                  </a:cubicBezTo>
                  <a:cubicBezTo>
                    <a:pt x="435" y="567"/>
                    <a:pt x="429" y="581"/>
                    <a:pt x="439" y="581"/>
                  </a:cubicBezTo>
                  <a:cubicBezTo>
                    <a:pt x="449" y="581"/>
                    <a:pt x="452" y="594"/>
                    <a:pt x="452" y="594"/>
                  </a:cubicBezTo>
                  <a:cubicBezTo>
                    <a:pt x="464" y="585"/>
                    <a:pt x="464" y="585"/>
                    <a:pt x="464" y="585"/>
                  </a:cubicBezTo>
                  <a:cubicBezTo>
                    <a:pt x="464" y="585"/>
                    <a:pt x="479" y="593"/>
                    <a:pt x="494" y="589"/>
                  </a:cubicBezTo>
                  <a:cubicBezTo>
                    <a:pt x="509" y="585"/>
                    <a:pt x="491" y="564"/>
                    <a:pt x="508" y="566"/>
                  </a:cubicBezTo>
                  <a:cubicBezTo>
                    <a:pt x="525" y="568"/>
                    <a:pt x="516" y="596"/>
                    <a:pt x="527" y="590"/>
                  </a:cubicBezTo>
                  <a:cubicBezTo>
                    <a:pt x="538" y="584"/>
                    <a:pt x="520" y="561"/>
                    <a:pt x="528" y="556"/>
                  </a:cubicBezTo>
                  <a:cubicBezTo>
                    <a:pt x="536" y="551"/>
                    <a:pt x="541" y="553"/>
                    <a:pt x="541" y="553"/>
                  </a:cubicBezTo>
                  <a:cubicBezTo>
                    <a:pt x="541" y="553"/>
                    <a:pt x="543" y="522"/>
                    <a:pt x="555" y="534"/>
                  </a:cubicBezTo>
                  <a:cubicBezTo>
                    <a:pt x="567" y="546"/>
                    <a:pt x="548" y="571"/>
                    <a:pt x="568" y="570"/>
                  </a:cubicBezTo>
                  <a:cubicBezTo>
                    <a:pt x="588" y="569"/>
                    <a:pt x="578" y="538"/>
                    <a:pt x="578" y="538"/>
                  </a:cubicBezTo>
                  <a:lnTo>
                    <a:pt x="591" y="531"/>
                  </a:lnTo>
                  <a:close/>
                  <a:moveTo>
                    <a:pt x="338" y="618"/>
                  </a:moveTo>
                  <a:cubicBezTo>
                    <a:pt x="338" y="618"/>
                    <a:pt x="321" y="605"/>
                    <a:pt x="312" y="606"/>
                  </a:cubicBezTo>
                  <a:cubicBezTo>
                    <a:pt x="292" y="608"/>
                    <a:pt x="299" y="628"/>
                    <a:pt x="299" y="628"/>
                  </a:cubicBezTo>
                  <a:cubicBezTo>
                    <a:pt x="299" y="628"/>
                    <a:pt x="282" y="622"/>
                    <a:pt x="272" y="624"/>
                  </a:cubicBezTo>
                  <a:cubicBezTo>
                    <a:pt x="262" y="626"/>
                    <a:pt x="269" y="648"/>
                    <a:pt x="269" y="648"/>
                  </a:cubicBezTo>
                  <a:cubicBezTo>
                    <a:pt x="257" y="659"/>
                    <a:pt x="257" y="659"/>
                    <a:pt x="257" y="659"/>
                  </a:cubicBezTo>
                  <a:cubicBezTo>
                    <a:pt x="257" y="659"/>
                    <a:pt x="270" y="667"/>
                    <a:pt x="276" y="674"/>
                  </a:cubicBezTo>
                  <a:cubicBezTo>
                    <a:pt x="282" y="681"/>
                    <a:pt x="305" y="695"/>
                    <a:pt x="305" y="695"/>
                  </a:cubicBezTo>
                  <a:cubicBezTo>
                    <a:pt x="305" y="695"/>
                    <a:pt x="299" y="664"/>
                    <a:pt x="314" y="654"/>
                  </a:cubicBezTo>
                  <a:cubicBezTo>
                    <a:pt x="329" y="644"/>
                    <a:pt x="351" y="672"/>
                    <a:pt x="351" y="672"/>
                  </a:cubicBezTo>
                  <a:cubicBezTo>
                    <a:pt x="351" y="672"/>
                    <a:pt x="356" y="650"/>
                    <a:pt x="358" y="638"/>
                  </a:cubicBezTo>
                  <a:cubicBezTo>
                    <a:pt x="360" y="626"/>
                    <a:pt x="351" y="615"/>
                    <a:pt x="351" y="615"/>
                  </a:cubicBezTo>
                  <a:lnTo>
                    <a:pt x="338" y="618"/>
                  </a:lnTo>
                  <a:close/>
                  <a:moveTo>
                    <a:pt x="241" y="709"/>
                  </a:moveTo>
                  <a:cubicBezTo>
                    <a:pt x="241" y="698"/>
                    <a:pt x="256" y="689"/>
                    <a:pt x="256" y="689"/>
                  </a:cubicBezTo>
                  <a:cubicBezTo>
                    <a:pt x="255" y="677"/>
                    <a:pt x="232" y="662"/>
                    <a:pt x="232" y="662"/>
                  </a:cubicBezTo>
                  <a:cubicBezTo>
                    <a:pt x="232" y="662"/>
                    <a:pt x="231" y="652"/>
                    <a:pt x="224" y="649"/>
                  </a:cubicBezTo>
                  <a:cubicBezTo>
                    <a:pt x="217" y="646"/>
                    <a:pt x="212" y="648"/>
                    <a:pt x="212" y="648"/>
                  </a:cubicBezTo>
                  <a:cubicBezTo>
                    <a:pt x="212" y="648"/>
                    <a:pt x="191" y="634"/>
                    <a:pt x="184" y="634"/>
                  </a:cubicBezTo>
                  <a:cubicBezTo>
                    <a:pt x="177" y="634"/>
                    <a:pt x="168" y="646"/>
                    <a:pt x="168" y="646"/>
                  </a:cubicBezTo>
                  <a:cubicBezTo>
                    <a:pt x="143" y="660"/>
                    <a:pt x="143" y="660"/>
                    <a:pt x="143" y="660"/>
                  </a:cubicBezTo>
                  <a:cubicBezTo>
                    <a:pt x="162" y="693"/>
                    <a:pt x="162" y="693"/>
                    <a:pt x="162" y="693"/>
                  </a:cubicBezTo>
                  <a:cubicBezTo>
                    <a:pt x="174" y="687"/>
                    <a:pt x="174" y="687"/>
                    <a:pt x="174" y="687"/>
                  </a:cubicBezTo>
                  <a:cubicBezTo>
                    <a:pt x="174" y="687"/>
                    <a:pt x="167" y="668"/>
                    <a:pt x="175" y="672"/>
                  </a:cubicBezTo>
                  <a:cubicBezTo>
                    <a:pt x="183" y="676"/>
                    <a:pt x="195" y="697"/>
                    <a:pt x="195" y="697"/>
                  </a:cubicBezTo>
                  <a:cubicBezTo>
                    <a:pt x="194" y="722"/>
                    <a:pt x="194" y="722"/>
                    <a:pt x="194" y="722"/>
                  </a:cubicBezTo>
                  <a:cubicBezTo>
                    <a:pt x="182" y="727"/>
                    <a:pt x="182" y="727"/>
                    <a:pt x="182" y="727"/>
                  </a:cubicBezTo>
                  <a:cubicBezTo>
                    <a:pt x="182" y="727"/>
                    <a:pt x="193" y="774"/>
                    <a:pt x="203" y="776"/>
                  </a:cubicBezTo>
                  <a:cubicBezTo>
                    <a:pt x="213" y="778"/>
                    <a:pt x="211" y="746"/>
                    <a:pt x="211" y="746"/>
                  </a:cubicBezTo>
                  <a:cubicBezTo>
                    <a:pt x="232" y="753"/>
                    <a:pt x="232" y="753"/>
                    <a:pt x="232" y="753"/>
                  </a:cubicBezTo>
                  <a:cubicBezTo>
                    <a:pt x="232" y="753"/>
                    <a:pt x="229" y="780"/>
                    <a:pt x="233" y="780"/>
                  </a:cubicBezTo>
                  <a:cubicBezTo>
                    <a:pt x="237" y="780"/>
                    <a:pt x="251" y="756"/>
                    <a:pt x="251" y="756"/>
                  </a:cubicBezTo>
                  <a:cubicBezTo>
                    <a:pt x="251" y="756"/>
                    <a:pt x="241" y="720"/>
                    <a:pt x="241" y="709"/>
                  </a:cubicBezTo>
                  <a:close/>
                  <a:moveTo>
                    <a:pt x="183" y="693"/>
                  </a:moveTo>
                  <a:cubicBezTo>
                    <a:pt x="172" y="718"/>
                    <a:pt x="172" y="718"/>
                    <a:pt x="172" y="718"/>
                  </a:cubicBezTo>
                  <a:cubicBezTo>
                    <a:pt x="184" y="715"/>
                    <a:pt x="184" y="715"/>
                    <a:pt x="184" y="715"/>
                  </a:cubicBezTo>
                  <a:lnTo>
                    <a:pt x="183" y="693"/>
                  </a:lnTo>
                  <a:close/>
                  <a:moveTo>
                    <a:pt x="424" y="424"/>
                  </a:moveTo>
                  <a:cubicBezTo>
                    <a:pt x="432" y="423"/>
                    <a:pt x="432" y="423"/>
                    <a:pt x="432" y="423"/>
                  </a:cubicBezTo>
                  <a:cubicBezTo>
                    <a:pt x="431" y="407"/>
                    <a:pt x="431" y="407"/>
                    <a:pt x="431" y="407"/>
                  </a:cubicBezTo>
                  <a:cubicBezTo>
                    <a:pt x="425" y="405"/>
                    <a:pt x="425" y="405"/>
                    <a:pt x="425" y="405"/>
                  </a:cubicBezTo>
                  <a:cubicBezTo>
                    <a:pt x="415" y="392"/>
                    <a:pt x="415" y="392"/>
                    <a:pt x="415" y="392"/>
                  </a:cubicBezTo>
                  <a:cubicBezTo>
                    <a:pt x="411" y="400"/>
                    <a:pt x="411" y="400"/>
                    <a:pt x="411" y="400"/>
                  </a:cubicBezTo>
                  <a:cubicBezTo>
                    <a:pt x="419" y="409"/>
                    <a:pt x="419" y="409"/>
                    <a:pt x="419" y="409"/>
                  </a:cubicBezTo>
                  <a:lnTo>
                    <a:pt x="424" y="424"/>
                  </a:lnTo>
                  <a:close/>
                  <a:moveTo>
                    <a:pt x="372" y="57"/>
                  </a:moveTo>
                  <a:cubicBezTo>
                    <a:pt x="374" y="72"/>
                    <a:pt x="374" y="72"/>
                    <a:pt x="374" y="72"/>
                  </a:cubicBezTo>
                  <a:cubicBezTo>
                    <a:pt x="374" y="72"/>
                    <a:pt x="391" y="83"/>
                    <a:pt x="391" y="90"/>
                  </a:cubicBezTo>
                  <a:cubicBezTo>
                    <a:pt x="391" y="97"/>
                    <a:pt x="384" y="110"/>
                    <a:pt x="384" y="110"/>
                  </a:cubicBezTo>
                  <a:cubicBezTo>
                    <a:pt x="384" y="110"/>
                    <a:pt x="402" y="132"/>
                    <a:pt x="397" y="133"/>
                  </a:cubicBezTo>
                  <a:cubicBezTo>
                    <a:pt x="391" y="134"/>
                    <a:pt x="359" y="125"/>
                    <a:pt x="354" y="123"/>
                  </a:cubicBezTo>
                  <a:cubicBezTo>
                    <a:pt x="348" y="122"/>
                    <a:pt x="369" y="143"/>
                    <a:pt x="369" y="143"/>
                  </a:cubicBezTo>
                  <a:cubicBezTo>
                    <a:pt x="352" y="161"/>
                    <a:pt x="352" y="161"/>
                    <a:pt x="352" y="161"/>
                  </a:cubicBezTo>
                  <a:cubicBezTo>
                    <a:pt x="352" y="161"/>
                    <a:pt x="358" y="173"/>
                    <a:pt x="361" y="179"/>
                  </a:cubicBezTo>
                  <a:cubicBezTo>
                    <a:pt x="363" y="184"/>
                    <a:pt x="390" y="198"/>
                    <a:pt x="390" y="198"/>
                  </a:cubicBezTo>
                  <a:cubicBezTo>
                    <a:pt x="390" y="198"/>
                    <a:pt x="381" y="231"/>
                    <a:pt x="404" y="230"/>
                  </a:cubicBezTo>
                  <a:cubicBezTo>
                    <a:pt x="414" y="229"/>
                    <a:pt x="398" y="211"/>
                    <a:pt x="410" y="211"/>
                  </a:cubicBezTo>
                  <a:cubicBezTo>
                    <a:pt x="423" y="211"/>
                    <a:pt x="433" y="211"/>
                    <a:pt x="433" y="211"/>
                  </a:cubicBezTo>
                  <a:cubicBezTo>
                    <a:pt x="437" y="205"/>
                    <a:pt x="437" y="205"/>
                    <a:pt x="437" y="205"/>
                  </a:cubicBezTo>
                  <a:cubicBezTo>
                    <a:pt x="412" y="189"/>
                    <a:pt x="412" y="189"/>
                    <a:pt x="412" y="189"/>
                  </a:cubicBezTo>
                  <a:cubicBezTo>
                    <a:pt x="399" y="189"/>
                    <a:pt x="399" y="189"/>
                    <a:pt x="399" y="189"/>
                  </a:cubicBezTo>
                  <a:cubicBezTo>
                    <a:pt x="399" y="189"/>
                    <a:pt x="365" y="176"/>
                    <a:pt x="381" y="169"/>
                  </a:cubicBezTo>
                  <a:cubicBezTo>
                    <a:pt x="398" y="162"/>
                    <a:pt x="409" y="179"/>
                    <a:pt x="409" y="179"/>
                  </a:cubicBezTo>
                  <a:cubicBezTo>
                    <a:pt x="409" y="179"/>
                    <a:pt x="423" y="168"/>
                    <a:pt x="433" y="166"/>
                  </a:cubicBezTo>
                  <a:cubicBezTo>
                    <a:pt x="442" y="165"/>
                    <a:pt x="513" y="202"/>
                    <a:pt x="519" y="198"/>
                  </a:cubicBezTo>
                  <a:cubicBezTo>
                    <a:pt x="524" y="194"/>
                    <a:pt x="505" y="155"/>
                    <a:pt x="523" y="148"/>
                  </a:cubicBezTo>
                  <a:cubicBezTo>
                    <a:pt x="541" y="141"/>
                    <a:pt x="539" y="157"/>
                    <a:pt x="557" y="147"/>
                  </a:cubicBezTo>
                  <a:cubicBezTo>
                    <a:pt x="575" y="137"/>
                    <a:pt x="578" y="130"/>
                    <a:pt x="578" y="130"/>
                  </a:cubicBezTo>
                  <a:cubicBezTo>
                    <a:pt x="542" y="107"/>
                    <a:pt x="542" y="107"/>
                    <a:pt x="542" y="107"/>
                  </a:cubicBezTo>
                  <a:cubicBezTo>
                    <a:pt x="542" y="107"/>
                    <a:pt x="542" y="83"/>
                    <a:pt x="535" y="78"/>
                  </a:cubicBezTo>
                  <a:cubicBezTo>
                    <a:pt x="528" y="72"/>
                    <a:pt x="523" y="96"/>
                    <a:pt x="523" y="96"/>
                  </a:cubicBezTo>
                  <a:cubicBezTo>
                    <a:pt x="523" y="96"/>
                    <a:pt x="455" y="80"/>
                    <a:pt x="440" y="69"/>
                  </a:cubicBezTo>
                  <a:cubicBezTo>
                    <a:pt x="424" y="58"/>
                    <a:pt x="350" y="0"/>
                    <a:pt x="340" y="11"/>
                  </a:cubicBezTo>
                  <a:cubicBezTo>
                    <a:pt x="330" y="22"/>
                    <a:pt x="372" y="57"/>
                    <a:pt x="372" y="57"/>
                  </a:cubicBezTo>
                  <a:close/>
                  <a:moveTo>
                    <a:pt x="194" y="984"/>
                  </a:moveTo>
                  <a:cubicBezTo>
                    <a:pt x="209" y="984"/>
                    <a:pt x="209" y="984"/>
                    <a:pt x="209" y="984"/>
                  </a:cubicBezTo>
                  <a:cubicBezTo>
                    <a:pt x="192" y="972"/>
                    <a:pt x="192" y="972"/>
                    <a:pt x="192" y="972"/>
                  </a:cubicBezTo>
                  <a:lnTo>
                    <a:pt x="194" y="984"/>
                  </a:lnTo>
                  <a:close/>
                  <a:moveTo>
                    <a:pt x="208" y="933"/>
                  </a:moveTo>
                  <a:cubicBezTo>
                    <a:pt x="210" y="942"/>
                    <a:pt x="214" y="942"/>
                    <a:pt x="214" y="942"/>
                  </a:cubicBezTo>
                  <a:cubicBezTo>
                    <a:pt x="224" y="944"/>
                    <a:pt x="225" y="934"/>
                    <a:pt x="225" y="934"/>
                  </a:cubicBezTo>
                  <a:cubicBezTo>
                    <a:pt x="225" y="934"/>
                    <a:pt x="240" y="933"/>
                    <a:pt x="233" y="922"/>
                  </a:cubicBezTo>
                  <a:cubicBezTo>
                    <a:pt x="226" y="912"/>
                    <a:pt x="205" y="924"/>
                    <a:pt x="208" y="933"/>
                  </a:cubicBezTo>
                  <a:close/>
                  <a:moveTo>
                    <a:pt x="214" y="956"/>
                  </a:moveTo>
                  <a:cubicBezTo>
                    <a:pt x="204" y="952"/>
                    <a:pt x="205" y="961"/>
                    <a:pt x="205" y="961"/>
                  </a:cubicBezTo>
                  <a:cubicBezTo>
                    <a:pt x="220" y="968"/>
                    <a:pt x="225" y="960"/>
                    <a:pt x="214" y="956"/>
                  </a:cubicBezTo>
                  <a:close/>
                  <a:moveTo>
                    <a:pt x="230" y="810"/>
                  </a:moveTo>
                  <a:cubicBezTo>
                    <a:pt x="230" y="814"/>
                    <a:pt x="217" y="820"/>
                    <a:pt x="217" y="820"/>
                  </a:cubicBezTo>
                  <a:cubicBezTo>
                    <a:pt x="234" y="829"/>
                    <a:pt x="234" y="829"/>
                    <a:pt x="234" y="829"/>
                  </a:cubicBezTo>
                  <a:cubicBezTo>
                    <a:pt x="234" y="829"/>
                    <a:pt x="230" y="806"/>
                    <a:pt x="230" y="810"/>
                  </a:cubicBezTo>
                  <a:close/>
                  <a:moveTo>
                    <a:pt x="252" y="792"/>
                  </a:moveTo>
                  <a:cubicBezTo>
                    <a:pt x="252" y="796"/>
                    <a:pt x="248" y="805"/>
                    <a:pt x="248" y="805"/>
                  </a:cubicBezTo>
                  <a:cubicBezTo>
                    <a:pt x="257" y="825"/>
                    <a:pt x="257" y="825"/>
                    <a:pt x="257" y="825"/>
                  </a:cubicBezTo>
                  <a:cubicBezTo>
                    <a:pt x="258" y="814"/>
                    <a:pt x="258" y="814"/>
                    <a:pt x="258" y="814"/>
                  </a:cubicBezTo>
                  <a:cubicBezTo>
                    <a:pt x="258" y="814"/>
                    <a:pt x="252" y="788"/>
                    <a:pt x="252" y="792"/>
                  </a:cubicBezTo>
                  <a:close/>
                  <a:moveTo>
                    <a:pt x="32" y="1144"/>
                  </a:moveTo>
                  <a:cubicBezTo>
                    <a:pt x="36" y="1144"/>
                    <a:pt x="54" y="1138"/>
                    <a:pt x="54" y="1138"/>
                  </a:cubicBezTo>
                  <a:cubicBezTo>
                    <a:pt x="36" y="1129"/>
                    <a:pt x="36" y="1129"/>
                    <a:pt x="36" y="1129"/>
                  </a:cubicBezTo>
                  <a:cubicBezTo>
                    <a:pt x="36" y="1129"/>
                    <a:pt x="28" y="1144"/>
                    <a:pt x="32" y="1144"/>
                  </a:cubicBezTo>
                  <a:close/>
                  <a:moveTo>
                    <a:pt x="81" y="1117"/>
                  </a:moveTo>
                  <a:cubicBezTo>
                    <a:pt x="72" y="1100"/>
                    <a:pt x="72" y="1100"/>
                    <a:pt x="72" y="1100"/>
                  </a:cubicBezTo>
                  <a:cubicBezTo>
                    <a:pt x="72" y="1110"/>
                    <a:pt x="72" y="1110"/>
                    <a:pt x="72" y="1110"/>
                  </a:cubicBezTo>
                  <a:cubicBezTo>
                    <a:pt x="70" y="1126"/>
                    <a:pt x="85" y="1133"/>
                    <a:pt x="90" y="1125"/>
                  </a:cubicBezTo>
                  <a:cubicBezTo>
                    <a:pt x="96" y="1117"/>
                    <a:pt x="81" y="1117"/>
                    <a:pt x="81" y="1117"/>
                  </a:cubicBezTo>
                  <a:close/>
                  <a:moveTo>
                    <a:pt x="16" y="1134"/>
                  </a:moveTo>
                  <a:cubicBezTo>
                    <a:pt x="0" y="1133"/>
                    <a:pt x="9" y="1150"/>
                    <a:pt x="9" y="1150"/>
                  </a:cubicBezTo>
                  <a:cubicBezTo>
                    <a:pt x="21" y="1153"/>
                    <a:pt x="32" y="1136"/>
                    <a:pt x="16" y="1134"/>
                  </a:cubicBezTo>
                  <a:close/>
                  <a:moveTo>
                    <a:pt x="118" y="1033"/>
                  </a:moveTo>
                  <a:cubicBezTo>
                    <a:pt x="118" y="1041"/>
                    <a:pt x="129" y="1041"/>
                    <a:pt x="129" y="1041"/>
                  </a:cubicBezTo>
                  <a:cubicBezTo>
                    <a:pt x="136" y="1029"/>
                    <a:pt x="118" y="1025"/>
                    <a:pt x="118" y="1033"/>
                  </a:cubicBezTo>
                  <a:close/>
                  <a:moveTo>
                    <a:pt x="184" y="1008"/>
                  </a:moveTo>
                  <a:cubicBezTo>
                    <a:pt x="174" y="1018"/>
                    <a:pt x="165" y="1050"/>
                    <a:pt x="165" y="1050"/>
                  </a:cubicBezTo>
                  <a:cubicBezTo>
                    <a:pt x="178" y="1053"/>
                    <a:pt x="178" y="1053"/>
                    <a:pt x="178" y="1053"/>
                  </a:cubicBezTo>
                  <a:cubicBezTo>
                    <a:pt x="178" y="1053"/>
                    <a:pt x="190" y="1032"/>
                    <a:pt x="186" y="1032"/>
                  </a:cubicBezTo>
                  <a:cubicBezTo>
                    <a:pt x="182" y="1032"/>
                    <a:pt x="198" y="1014"/>
                    <a:pt x="198" y="1014"/>
                  </a:cubicBezTo>
                  <a:cubicBezTo>
                    <a:pt x="198" y="1014"/>
                    <a:pt x="193" y="997"/>
                    <a:pt x="184" y="1008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18" name="Freeform 134"/>
            <p:cNvSpPr>
              <a:spLocks noEditPoints="1"/>
            </p:cNvSpPr>
            <p:nvPr/>
          </p:nvSpPr>
          <p:spPr bwMode="auto">
            <a:xfrm>
              <a:off x="3000" y="1185"/>
              <a:ext cx="2293" cy="730"/>
            </a:xfrm>
            <a:custGeom>
              <a:avLst/>
              <a:gdLst>
                <a:gd name="T0" fmla="*/ 0 w 6045"/>
                <a:gd name="T1" fmla="*/ 0 h 1923"/>
                <a:gd name="T2" fmla="*/ 0 w 6045"/>
                <a:gd name="T3" fmla="*/ 0 h 1923"/>
                <a:gd name="T4" fmla="*/ 0 w 6045"/>
                <a:gd name="T5" fmla="*/ 0 h 1923"/>
                <a:gd name="T6" fmla="*/ 0 w 6045"/>
                <a:gd name="T7" fmla="*/ 0 h 1923"/>
                <a:gd name="T8" fmla="*/ 0 w 6045"/>
                <a:gd name="T9" fmla="*/ 0 h 1923"/>
                <a:gd name="T10" fmla="*/ 0 w 6045"/>
                <a:gd name="T11" fmla="*/ 0 h 1923"/>
                <a:gd name="T12" fmla="*/ 0 w 6045"/>
                <a:gd name="T13" fmla="*/ 0 h 1923"/>
                <a:gd name="T14" fmla="*/ 0 w 6045"/>
                <a:gd name="T15" fmla="*/ 0 h 1923"/>
                <a:gd name="T16" fmla="*/ 0 w 6045"/>
                <a:gd name="T17" fmla="*/ 0 h 1923"/>
                <a:gd name="T18" fmla="*/ 0 w 6045"/>
                <a:gd name="T19" fmla="*/ 0 h 1923"/>
                <a:gd name="T20" fmla="*/ 0 w 6045"/>
                <a:gd name="T21" fmla="*/ 0 h 1923"/>
                <a:gd name="T22" fmla="*/ 0 w 6045"/>
                <a:gd name="T23" fmla="*/ 0 h 1923"/>
                <a:gd name="T24" fmla="*/ 0 w 6045"/>
                <a:gd name="T25" fmla="*/ 0 h 1923"/>
                <a:gd name="T26" fmla="*/ 0 w 6045"/>
                <a:gd name="T27" fmla="*/ 0 h 1923"/>
                <a:gd name="T28" fmla="*/ 0 w 6045"/>
                <a:gd name="T29" fmla="*/ 0 h 1923"/>
                <a:gd name="T30" fmla="*/ 0 w 6045"/>
                <a:gd name="T31" fmla="*/ 0 h 1923"/>
                <a:gd name="T32" fmla="*/ 0 w 6045"/>
                <a:gd name="T33" fmla="*/ 0 h 1923"/>
                <a:gd name="T34" fmla="*/ 0 w 6045"/>
                <a:gd name="T35" fmla="*/ 0 h 1923"/>
                <a:gd name="T36" fmla="*/ 0 w 6045"/>
                <a:gd name="T37" fmla="*/ 0 h 1923"/>
                <a:gd name="T38" fmla="*/ 0 w 6045"/>
                <a:gd name="T39" fmla="*/ 0 h 1923"/>
                <a:gd name="T40" fmla="*/ 0 w 6045"/>
                <a:gd name="T41" fmla="*/ 0 h 1923"/>
                <a:gd name="T42" fmla="*/ 0 w 6045"/>
                <a:gd name="T43" fmla="*/ 0 h 1923"/>
                <a:gd name="T44" fmla="*/ 0 w 6045"/>
                <a:gd name="T45" fmla="*/ 0 h 1923"/>
                <a:gd name="T46" fmla="*/ 0 w 6045"/>
                <a:gd name="T47" fmla="*/ 0 h 1923"/>
                <a:gd name="T48" fmla="*/ 0 w 6045"/>
                <a:gd name="T49" fmla="*/ 0 h 1923"/>
                <a:gd name="T50" fmla="*/ 0 w 6045"/>
                <a:gd name="T51" fmla="*/ 0 h 1923"/>
                <a:gd name="T52" fmla="*/ 0 w 6045"/>
                <a:gd name="T53" fmla="*/ 0 h 1923"/>
                <a:gd name="T54" fmla="*/ 0 w 6045"/>
                <a:gd name="T55" fmla="*/ 0 h 1923"/>
                <a:gd name="T56" fmla="*/ 0 w 6045"/>
                <a:gd name="T57" fmla="*/ 0 h 1923"/>
                <a:gd name="T58" fmla="*/ 0 w 6045"/>
                <a:gd name="T59" fmla="*/ 0 h 1923"/>
                <a:gd name="T60" fmla="*/ 0 w 6045"/>
                <a:gd name="T61" fmla="*/ 0 h 1923"/>
                <a:gd name="T62" fmla="*/ 0 w 6045"/>
                <a:gd name="T63" fmla="*/ 0 h 1923"/>
                <a:gd name="T64" fmla="*/ 0 w 6045"/>
                <a:gd name="T65" fmla="*/ 0 h 1923"/>
                <a:gd name="T66" fmla="*/ 0 w 6045"/>
                <a:gd name="T67" fmla="*/ 0 h 1923"/>
                <a:gd name="T68" fmla="*/ 0 w 6045"/>
                <a:gd name="T69" fmla="*/ 0 h 1923"/>
                <a:gd name="T70" fmla="*/ 0 w 6045"/>
                <a:gd name="T71" fmla="*/ 0 h 1923"/>
                <a:gd name="T72" fmla="*/ 0 w 6045"/>
                <a:gd name="T73" fmla="*/ 0 h 1923"/>
                <a:gd name="T74" fmla="*/ 0 w 6045"/>
                <a:gd name="T75" fmla="*/ 0 h 1923"/>
                <a:gd name="T76" fmla="*/ 0 w 6045"/>
                <a:gd name="T77" fmla="*/ 0 h 1923"/>
                <a:gd name="T78" fmla="*/ 0 w 6045"/>
                <a:gd name="T79" fmla="*/ 0 h 1923"/>
                <a:gd name="T80" fmla="*/ 0 w 6045"/>
                <a:gd name="T81" fmla="*/ 0 h 1923"/>
                <a:gd name="T82" fmla="*/ 0 w 6045"/>
                <a:gd name="T83" fmla="*/ 0 h 1923"/>
                <a:gd name="T84" fmla="*/ 0 w 6045"/>
                <a:gd name="T85" fmla="*/ 0 h 1923"/>
                <a:gd name="T86" fmla="*/ 0 w 6045"/>
                <a:gd name="T87" fmla="*/ 0 h 1923"/>
                <a:gd name="T88" fmla="*/ 0 w 6045"/>
                <a:gd name="T89" fmla="*/ 0 h 1923"/>
                <a:gd name="T90" fmla="*/ 0 w 6045"/>
                <a:gd name="T91" fmla="*/ 0 h 1923"/>
                <a:gd name="T92" fmla="*/ 0 w 6045"/>
                <a:gd name="T93" fmla="*/ 0 h 1923"/>
                <a:gd name="T94" fmla="*/ 0 w 6045"/>
                <a:gd name="T95" fmla="*/ 0 h 1923"/>
                <a:gd name="T96" fmla="*/ 0 w 6045"/>
                <a:gd name="T97" fmla="*/ 0 h 1923"/>
                <a:gd name="T98" fmla="*/ 0 w 6045"/>
                <a:gd name="T99" fmla="*/ 0 h 1923"/>
                <a:gd name="T100" fmla="*/ 0 w 6045"/>
                <a:gd name="T101" fmla="*/ 0 h 1923"/>
                <a:gd name="T102" fmla="*/ 0 w 6045"/>
                <a:gd name="T103" fmla="*/ 0 h 1923"/>
                <a:gd name="T104" fmla="*/ 0 w 6045"/>
                <a:gd name="T105" fmla="*/ 0 h 1923"/>
                <a:gd name="T106" fmla="*/ 0 w 6045"/>
                <a:gd name="T107" fmla="*/ 0 h 1923"/>
                <a:gd name="T108" fmla="*/ 0 w 6045"/>
                <a:gd name="T109" fmla="*/ 0 h 1923"/>
                <a:gd name="T110" fmla="*/ 0 w 6045"/>
                <a:gd name="T111" fmla="*/ 0 h 1923"/>
                <a:gd name="T112" fmla="*/ 0 w 6045"/>
                <a:gd name="T113" fmla="*/ 0 h 1923"/>
                <a:gd name="T114" fmla="*/ 0 w 6045"/>
                <a:gd name="T115" fmla="*/ 0 h 1923"/>
                <a:gd name="T116" fmla="*/ 0 w 6045"/>
                <a:gd name="T117" fmla="*/ 0 h 1923"/>
                <a:gd name="T118" fmla="*/ 0 w 6045"/>
                <a:gd name="T119" fmla="*/ 0 h 1923"/>
                <a:gd name="T120" fmla="*/ 0 w 6045"/>
                <a:gd name="T121" fmla="*/ 0 h 1923"/>
                <a:gd name="T122" fmla="*/ 0 w 6045"/>
                <a:gd name="T123" fmla="*/ 0 h 192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45"/>
                <a:gd name="T187" fmla="*/ 0 h 1923"/>
                <a:gd name="T188" fmla="*/ 6045 w 6045"/>
                <a:gd name="T189" fmla="*/ 1923 h 192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45" h="1923">
                  <a:moveTo>
                    <a:pt x="1866" y="364"/>
                  </a:moveTo>
                  <a:cubicBezTo>
                    <a:pt x="1845" y="359"/>
                    <a:pt x="1845" y="359"/>
                    <a:pt x="1845" y="359"/>
                  </a:cubicBezTo>
                  <a:cubicBezTo>
                    <a:pt x="1828" y="373"/>
                    <a:pt x="1828" y="373"/>
                    <a:pt x="1828" y="373"/>
                  </a:cubicBezTo>
                  <a:cubicBezTo>
                    <a:pt x="1854" y="380"/>
                    <a:pt x="1854" y="380"/>
                    <a:pt x="1854" y="380"/>
                  </a:cubicBezTo>
                  <a:lnTo>
                    <a:pt x="1866" y="364"/>
                  </a:lnTo>
                  <a:close/>
                  <a:moveTo>
                    <a:pt x="1894" y="346"/>
                  </a:moveTo>
                  <a:cubicBezTo>
                    <a:pt x="1869" y="329"/>
                    <a:pt x="1876" y="352"/>
                    <a:pt x="1876" y="352"/>
                  </a:cubicBezTo>
                  <a:cubicBezTo>
                    <a:pt x="1901" y="362"/>
                    <a:pt x="1919" y="363"/>
                    <a:pt x="1894" y="346"/>
                  </a:cubicBezTo>
                  <a:close/>
                  <a:moveTo>
                    <a:pt x="1138" y="13"/>
                  </a:moveTo>
                  <a:cubicBezTo>
                    <a:pt x="1148" y="11"/>
                    <a:pt x="1162" y="1"/>
                    <a:pt x="1155" y="1"/>
                  </a:cubicBezTo>
                  <a:cubicBezTo>
                    <a:pt x="1148" y="1"/>
                    <a:pt x="1100" y="1"/>
                    <a:pt x="1100" y="1"/>
                  </a:cubicBezTo>
                  <a:cubicBezTo>
                    <a:pt x="1097" y="10"/>
                    <a:pt x="1097" y="10"/>
                    <a:pt x="1097" y="10"/>
                  </a:cubicBezTo>
                  <a:cubicBezTo>
                    <a:pt x="1124" y="7"/>
                    <a:pt x="1124" y="7"/>
                    <a:pt x="1124" y="7"/>
                  </a:cubicBezTo>
                  <a:cubicBezTo>
                    <a:pt x="1124" y="7"/>
                    <a:pt x="1128" y="14"/>
                    <a:pt x="1138" y="13"/>
                  </a:cubicBezTo>
                  <a:close/>
                  <a:moveTo>
                    <a:pt x="1163" y="39"/>
                  </a:moveTo>
                  <a:cubicBezTo>
                    <a:pt x="1168" y="39"/>
                    <a:pt x="1176" y="34"/>
                    <a:pt x="1176" y="34"/>
                  </a:cubicBezTo>
                  <a:cubicBezTo>
                    <a:pt x="1176" y="34"/>
                    <a:pt x="1203" y="42"/>
                    <a:pt x="1210" y="35"/>
                  </a:cubicBezTo>
                  <a:cubicBezTo>
                    <a:pt x="1217" y="28"/>
                    <a:pt x="1211" y="17"/>
                    <a:pt x="1189" y="17"/>
                  </a:cubicBezTo>
                  <a:cubicBezTo>
                    <a:pt x="1166" y="17"/>
                    <a:pt x="1145" y="34"/>
                    <a:pt x="1145" y="34"/>
                  </a:cubicBezTo>
                  <a:cubicBezTo>
                    <a:pt x="1149" y="39"/>
                    <a:pt x="1159" y="39"/>
                    <a:pt x="1163" y="39"/>
                  </a:cubicBezTo>
                  <a:close/>
                  <a:moveTo>
                    <a:pt x="1590" y="341"/>
                  </a:moveTo>
                  <a:cubicBezTo>
                    <a:pt x="1623" y="333"/>
                    <a:pt x="1612" y="323"/>
                    <a:pt x="1604" y="319"/>
                  </a:cubicBezTo>
                  <a:cubicBezTo>
                    <a:pt x="1596" y="315"/>
                    <a:pt x="1566" y="319"/>
                    <a:pt x="1566" y="319"/>
                  </a:cubicBezTo>
                  <a:cubicBezTo>
                    <a:pt x="1566" y="319"/>
                    <a:pt x="1572" y="345"/>
                    <a:pt x="1590" y="341"/>
                  </a:cubicBezTo>
                  <a:close/>
                  <a:moveTo>
                    <a:pt x="1062" y="20"/>
                  </a:moveTo>
                  <a:cubicBezTo>
                    <a:pt x="1034" y="17"/>
                    <a:pt x="1034" y="17"/>
                    <a:pt x="1034" y="17"/>
                  </a:cubicBezTo>
                  <a:cubicBezTo>
                    <a:pt x="1041" y="25"/>
                    <a:pt x="1041" y="25"/>
                    <a:pt x="1041" y="25"/>
                  </a:cubicBezTo>
                  <a:lnTo>
                    <a:pt x="1062" y="20"/>
                  </a:lnTo>
                  <a:close/>
                  <a:moveTo>
                    <a:pt x="1264" y="465"/>
                  </a:moveTo>
                  <a:cubicBezTo>
                    <a:pt x="1259" y="473"/>
                    <a:pt x="1324" y="507"/>
                    <a:pt x="1330" y="491"/>
                  </a:cubicBezTo>
                  <a:cubicBezTo>
                    <a:pt x="1336" y="475"/>
                    <a:pt x="1270" y="455"/>
                    <a:pt x="1264" y="465"/>
                  </a:cubicBezTo>
                  <a:close/>
                  <a:moveTo>
                    <a:pt x="2074" y="83"/>
                  </a:moveTo>
                  <a:cubicBezTo>
                    <a:pt x="2084" y="73"/>
                    <a:pt x="2084" y="73"/>
                    <a:pt x="2084" y="73"/>
                  </a:cubicBezTo>
                  <a:cubicBezTo>
                    <a:pt x="2024" y="73"/>
                    <a:pt x="2024" y="73"/>
                    <a:pt x="2024" y="73"/>
                  </a:cubicBezTo>
                  <a:lnTo>
                    <a:pt x="2074" y="83"/>
                  </a:lnTo>
                  <a:close/>
                  <a:moveTo>
                    <a:pt x="1044" y="68"/>
                  </a:moveTo>
                  <a:cubicBezTo>
                    <a:pt x="1090" y="66"/>
                    <a:pt x="1090" y="66"/>
                    <a:pt x="1090" y="66"/>
                  </a:cubicBezTo>
                  <a:cubicBezTo>
                    <a:pt x="1075" y="56"/>
                    <a:pt x="1075" y="56"/>
                    <a:pt x="1075" y="56"/>
                  </a:cubicBezTo>
                  <a:lnTo>
                    <a:pt x="1044" y="68"/>
                  </a:lnTo>
                  <a:close/>
                  <a:moveTo>
                    <a:pt x="1051" y="39"/>
                  </a:moveTo>
                  <a:cubicBezTo>
                    <a:pt x="1064" y="48"/>
                    <a:pt x="1066" y="52"/>
                    <a:pt x="1066" y="52"/>
                  </a:cubicBezTo>
                  <a:cubicBezTo>
                    <a:pt x="1083" y="44"/>
                    <a:pt x="1083" y="44"/>
                    <a:pt x="1083" y="44"/>
                  </a:cubicBezTo>
                  <a:cubicBezTo>
                    <a:pt x="1083" y="44"/>
                    <a:pt x="1076" y="49"/>
                    <a:pt x="1090" y="49"/>
                  </a:cubicBezTo>
                  <a:cubicBezTo>
                    <a:pt x="1104" y="49"/>
                    <a:pt x="1125" y="38"/>
                    <a:pt x="1125" y="38"/>
                  </a:cubicBezTo>
                  <a:cubicBezTo>
                    <a:pt x="1089" y="32"/>
                    <a:pt x="1089" y="32"/>
                    <a:pt x="1089" y="32"/>
                  </a:cubicBezTo>
                  <a:cubicBezTo>
                    <a:pt x="1079" y="38"/>
                    <a:pt x="1079" y="38"/>
                    <a:pt x="1079" y="38"/>
                  </a:cubicBezTo>
                  <a:cubicBezTo>
                    <a:pt x="1079" y="38"/>
                    <a:pt x="1065" y="32"/>
                    <a:pt x="1061" y="34"/>
                  </a:cubicBezTo>
                  <a:cubicBezTo>
                    <a:pt x="1057" y="35"/>
                    <a:pt x="1051" y="39"/>
                    <a:pt x="1051" y="39"/>
                  </a:cubicBezTo>
                  <a:close/>
                  <a:moveTo>
                    <a:pt x="1113" y="23"/>
                  </a:moveTo>
                  <a:cubicBezTo>
                    <a:pt x="1071" y="23"/>
                    <a:pt x="1071" y="23"/>
                    <a:pt x="1071" y="23"/>
                  </a:cubicBezTo>
                  <a:cubicBezTo>
                    <a:pt x="1106" y="31"/>
                    <a:pt x="1106" y="31"/>
                    <a:pt x="1106" y="31"/>
                  </a:cubicBezTo>
                  <a:lnTo>
                    <a:pt x="1113" y="23"/>
                  </a:lnTo>
                  <a:close/>
                  <a:moveTo>
                    <a:pt x="1032" y="349"/>
                  </a:moveTo>
                  <a:cubicBezTo>
                    <a:pt x="1002" y="354"/>
                    <a:pt x="1002" y="354"/>
                    <a:pt x="1002" y="354"/>
                  </a:cubicBezTo>
                  <a:cubicBezTo>
                    <a:pt x="1011" y="366"/>
                    <a:pt x="1011" y="366"/>
                    <a:pt x="1011" y="366"/>
                  </a:cubicBezTo>
                  <a:cubicBezTo>
                    <a:pt x="1030" y="357"/>
                    <a:pt x="1030" y="357"/>
                    <a:pt x="1030" y="357"/>
                  </a:cubicBezTo>
                  <a:cubicBezTo>
                    <a:pt x="1020" y="373"/>
                    <a:pt x="1020" y="373"/>
                    <a:pt x="1020" y="373"/>
                  </a:cubicBezTo>
                  <a:cubicBezTo>
                    <a:pt x="1020" y="373"/>
                    <a:pt x="992" y="379"/>
                    <a:pt x="994" y="390"/>
                  </a:cubicBezTo>
                  <a:cubicBezTo>
                    <a:pt x="996" y="401"/>
                    <a:pt x="1023" y="405"/>
                    <a:pt x="1035" y="405"/>
                  </a:cubicBezTo>
                  <a:cubicBezTo>
                    <a:pt x="1048" y="405"/>
                    <a:pt x="1065" y="408"/>
                    <a:pt x="1076" y="414"/>
                  </a:cubicBezTo>
                  <a:cubicBezTo>
                    <a:pt x="1086" y="420"/>
                    <a:pt x="1085" y="437"/>
                    <a:pt x="1088" y="438"/>
                  </a:cubicBezTo>
                  <a:cubicBezTo>
                    <a:pt x="1091" y="440"/>
                    <a:pt x="1140" y="447"/>
                    <a:pt x="1140" y="447"/>
                  </a:cubicBezTo>
                  <a:cubicBezTo>
                    <a:pt x="1214" y="443"/>
                    <a:pt x="1214" y="443"/>
                    <a:pt x="1214" y="443"/>
                  </a:cubicBezTo>
                  <a:cubicBezTo>
                    <a:pt x="1214" y="443"/>
                    <a:pt x="1154" y="437"/>
                    <a:pt x="1138" y="411"/>
                  </a:cubicBezTo>
                  <a:cubicBezTo>
                    <a:pt x="1122" y="385"/>
                    <a:pt x="1106" y="385"/>
                    <a:pt x="1122" y="361"/>
                  </a:cubicBezTo>
                  <a:cubicBezTo>
                    <a:pt x="1138" y="337"/>
                    <a:pt x="1119" y="335"/>
                    <a:pt x="1119" y="335"/>
                  </a:cubicBezTo>
                  <a:cubicBezTo>
                    <a:pt x="1146" y="331"/>
                    <a:pt x="1146" y="331"/>
                    <a:pt x="1146" y="331"/>
                  </a:cubicBezTo>
                  <a:cubicBezTo>
                    <a:pt x="1135" y="319"/>
                    <a:pt x="1135" y="319"/>
                    <a:pt x="1135" y="319"/>
                  </a:cubicBezTo>
                  <a:cubicBezTo>
                    <a:pt x="1158" y="322"/>
                    <a:pt x="1158" y="322"/>
                    <a:pt x="1158" y="322"/>
                  </a:cubicBezTo>
                  <a:cubicBezTo>
                    <a:pt x="1145" y="314"/>
                    <a:pt x="1145" y="314"/>
                    <a:pt x="1145" y="314"/>
                  </a:cubicBezTo>
                  <a:cubicBezTo>
                    <a:pt x="1161" y="316"/>
                    <a:pt x="1161" y="316"/>
                    <a:pt x="1161" y="316"/>
                  </a:cubicBezTo>
                  <a:cubicBezTo>
                    <a:pt x="1165" y="306"/>
                    <a:pt x="1165" y="306"/>
                    <a:pt x="1165" y="306"/>
                  </a:cubicBezTo>
                  <a:cubicBezTo>
                    <a:pt x="1151" y="299"/>
                    <a:pt x="1151" y="299"/>
                    <a:pt x="1151" y="299"/>
                  </a:cubicBezTo>
                  <a:cubicBezTo>
                    <a:pt x="1151" y="299"/>
                    <a:pt x="1178" y="303"/>
                    <a:pt x="1182" y="299"/>
                  </a:cubicBezTo>
                  <a:cubicBezTo>
                    <a:pt x="1186" y="295"/>
                    <a:pt x="1171" y="285"/>
                    <a:pt x="1171" y="285"/>
                  </a:cubicBezTo>
                  <a:cubicBezTo>
                    <a:pt x="1193" y="287"/>
                    <a:pt x="1193" y="287"/>
                    <a:pt x="1193" y="287"/>
                  </a:cubicBezTo>
                  <a:cubicBezTo>
                    <a:pt x="1191" y="268"/>
                    <a:pt x="1191" y="268"/>
                    <a:pt x="1191" y="268"/>
                  </a:cubicBezTo>
                  <a:cubicBezTo>
                    <a:pt x="1191" y="268"/>
                    <a:pt x="1205" y="279"/>
                    <a:pt x="1223" y="271"/>
                  </a:cubicBezTo>
                  <a:cubicBezTo>
                    <a:pt x="1242" y="264"/>
                    <a:pt x="1254" y="250"/>
                    <a:pt x="1254" y="250"/>
                  </a:cubicBezTo>
                  <a:cubicBezTo>
                    <a:pt x="1254" y="250"/>
                    <a:pt x="1399" y="229"/>
                    <a:pt x="1420" y="220"/>
                  </a:cubicBezTo>
                  <a:cubicBezTo>
                    <a:pt x="1442" y="210"/>
                    <a:pt x="1463" y="195"/>
                    <a:pt x="1430" y="184"/>
                  </a:cubicBezTo>
                  <a:cubicBezTo>
                    <a:pt x="1397" y="172"/>
                    <a:pt x="1363" y="188"/>
                    <a:pt x="1348" y="194"/>
                  </a:cubicBezTo>
                  <a:cubicBezTo>
                    <a:pt x="1334" y="200"/>
                    <a:pt x="1290" y="215"/>
                    <a:pt x="1270" y="212"/>
                  </a:cubicBezTo>
                  <a:cubicBezTo>
                    <a:pt x="1249" y="210"/>
                    <a:pt x="1218" y="206"/>
                    <a:pt x="1218" y="206"/>
                  </a:cubicBezTo>
                  <a:cubicBezTo>
                    <a:pt x="1207" y="223"/>
                    <a:pt x="1207" y="223"/>
                    <a:pt x="1207" y="223"/>
                  </a:cubicBezTo>
                  <a:cubicBezTo>
                    <a:pt x="1190" y="214"/>
                    <a:pt x="1190" y="214"/>
                    <a:pt x="1190" y="214"/>
                  </a:cubicBezTo>
                  <a:cubicBezTo>
                    <a:pt x="1155" y="228"/>
                    <a:pt x="1155" y="228"/>
                    <a:pt x="1155" y="228"/>
                  </a:cubicBezTo>
                  <a:cubicBezTo>
                    <a:pt x="1136" y="227"/>
                    <a:pt x="1136" y="227"/>
                    <a:pt x="1136" y="227"/>
                  </a:cubicBezTo>
                  <a:cubicBezTo>
                    <a:pt x="1117" y="242"/>
                    <a:pt x="1117" y="242"/>
                    <a:pt x="1117" y="242"/>
                  </a:cubicBezTo>
                  <a:cubicBezTo>
                    <a:pt x="1131" y="247"/>
                    <a:pt x="1131" y="247"/>
                    <a:pt x="1131" y="247"/>
                  </a:cubicBezTo>
                  <a:cubicBezTo>
                    <a:pt x="1098" y="248"/>
                    <a:pt x="1098" y="248"/>
                    <a:pt x="1098" y="248"/>
                  </a:cubicBezTo>
                  <a:cubicBezTo>
                    <a:pt x="1079" y="254"/>
                    <a:pt x="1079" y="254"/>
                    <a:pt x="1079" y="254"/>
                  </a:cubicBezTo>
                  <a:cubicBezTo>
                    <a:pt x="1080" y="263"/>
                    <a:pt x="1080" y="263"/>
                    <a:pt x="1080" y="263"/>
                  </a:cubicBezTo>
                  <a:cubicBezTo>
                    <a:pt x="1097" y="254"/>
                    <a:pt x="1097" y="254"/>
                    <a:pt x="1097" y="254"/>
                  </a:cubicBezTo>
                  <a:cubicBezTo>
                    <a:pt x="1098" y="263"/>
                    <a:pt x="1098" y="263"/>
                    <a:pt x="1098" y="263"/>
                  </a:cubicBezTo>
                  <a:cubicBezTo>
                    <a:pt x="1117" y="265"/>
                    <a:pt x="1117" y="265"/>
                    <a:pt x="1117" y="265"/>
                  </a:cubicBezTo>
                  <a:cubicBezTo>
                    <a:pt x="1111" y="273"/>
                    <a:pt x="1111" y="273"/>
                    <a:pt x="1111" y="273"/>
                  </a:cubicBezTo>
                  <a:cubicBezTo>
                    <a:pt x="1085" y="273"/>
                    <a:pt x="1085" y="273"/>
                    <a:pt x="1085" y="273"/>
                  </a:cubicBezTo>
                  <a:cubicBezTo>
                    <a:pt x="1081" y="282"/>
                    <a:pt x="1081" y="282"/>
                    <a:pt x="1081" y="282"/>
                  </a:cubicBezTo>
                  <a:cubicBezTo>
                    <a:pt x="1099" y="285"/>
                    <a:pt x="1099" y="285"/>
                    <a:pt x="1099" y="285"/>
                  </a:cubicBezTo>
                  <a:cubicBezTo>
                    <a:pt x="1068" y="287"/>
                    <a:pt x="1068" y="287"/>
                    <a:pt x="1068" y="287"/>
                  </a:cubicBezTo>
                  <a:cubicBezTo>
                    <a:pt x="1090" y="293"/>
                    <a:pt x="1090" y="293"/>
                    <a:pt x="1090" y="293"/>
                  </a:cubicBezTo>
                  <a:cubicBezTo>
                    <a:pt x="1061" y="295"/>
                    <a:pt x="1061" y="295"/>
                    <a:pt x="1061" y="295"/>
                  </a:cubicBezTo>
                  <a:cubicBezTo>
                    <a:pt x="1059" y="309"/>
                    <a:pt x="1059" y="309"/>
                    <a:pt x="1059" y="309"/>
                  </a:cubicBezTo>
                  <a:cubicBezTo>
                    <a:pt x="1039" y="316"/>
                    <a:pt x="1039" y="316"/>
                    <a:pt x="1039" y="316"/>
                  </a:cubicBezTo>
                  <a:cubicBezTo>
                    <a:pt x="1046" y="326"/>
                    <a:pt x="1046" y="326"/>
                    <a:pt x="1046" y="326"/>
                  </a:cubicBezTo>
                  <a:cubicBezTo>
                    <a:pt x="1073" y="314"/>
                    <a:pt x="1073" y="314"/>
                    <a:pt x="1073" y="314"/>
                  </a:cubicBezTo>
                  <a:cubicBezTo>
                    <a:pt x="1062" y="332"/>
                    <a:pt x="1062" y="332"/>
                    <a:pt x="1062" y="332"/>
                  </a:cubicBezTo>
                  <a:cubicBezTo>
                    <a:pt x="1062" y="332"/>
                    <a:pt x="1041" y="327"/>
                    <a:pt x="1033" y="334"/>
                  </a:cubicBezTo>
                  <a:cubicBezTo>
                    <a:pt x="1026" y="341"/>
                    <a:pt x="1032" y="349"/>
                    <a:pt x="1032" y="349"/>
                  </a:cubicBezTo>
                  <a:close/>
                  <a:moveTo>
                    <a:pt x="3856" y="331"/>
                  </a:moveTo>
                  <a:cubicBezTo>
                    <a:pt x="3904" y="325"/>
                    <a:pt x="3904" y="325"/>
                    <a:pt x="3904" y="325"/>
                  </a:cubicBezTo>
                  <a:cubicBezTo>
                    <a:pt x="3976" y="335"/>
                    <a:pt x="3976" y="335"/>
                    <a:pt x="3976" y="335"/>
                  </a:cubicBezTo>
                  <a:cubicBezTo>
                    <a:pt x="3976" y="335"/>
                    <a:pt x="3954" y="311"/>
                    <a:pt x="3938" y="307"/>
                  </a:cubicBezTo>
                  <a:cubicBezTo>
                    <a:pt x="3922" y="303"/>
                    <a:pt x="3866" y="311"/>
                    <a:pt x="3866" y="311"/>
                  </a:cubicBezTo>
                  <a:lnTo>
                    <a:pt x="3856" y="331"/>
                  </a:lnTo>
                  <a:close/>
                  <a:moveTo>
                    <a:pt x="3858" y="253"/>
                  </a:moveTo>
                  <a:cubicBezTo>
                    <a:pt x="3896" y="257"/>
                    <a:pt x="3896" y="257"/>
                    <a:pt x="3896" y="257"/>
                  </a:cubicBezTo>
                  <a:cubicBezTo>
                    <a:pt x="3906" y="247"/>
                    <a:pt x="3904" y="235"/>
                    <a:pt x="3886" y="235"/>
                  </a:cubicBezTo>
                  <a:cubicBezTo>
                    <a:pt x="3868" y="235"/>
                    <a:pt x="3808" y="221"/>
                    <a:pt x="3816" y="233"/>
                  </a:cubicBezTo>
                  <a:cubicBezTo>
                    <a:pt x="3824" y="245"/>
                    <a:pt x="3858" y="253"/>
                    <a:pt x="3858" y="253"/>
                  </a:cubicBezTo>
                  <a:close/>
                  <a:moveTo>
                    <a:pt x="3818" y="289"/>
                  </a:moveTo>
                  <a:cubicBezTo>
                    <a:pt x="3792" y="315"/>
                    <a:pt x="3848" y="313"/>
                    <a:pt x="3856" y="303"/>
                  </a:cubicBezTo>
                  <a:cubicBezTo>
                    <a:pt x="3864" y="293"/>
                    <a:pt x="3825" y="282"/>
                    <a:pt x="3818" y="289"/>
                  </a:cubicBezTo>
                  <a:close/>
                  <a:moveTo>
                    <a:pt x="2050" y="65"/>
                  </a:moveTo>
                  <a:cubicBezTo>
                    <a:pt x="2050" y="65"/>
                    <a:pt x="2106" y="69"/>
                    <a:pt x="2118" y="65"/>
                  </a:cubicBezTo>
                  <a:cubicBezTo>
                    <a:pt x="2130" y="61"/>
                    <a:pt x="2172" y="65"/>
                    <a:pt x="2164" y="49"/>
                  </a:cubicBezTo>
                  <a:cubicBezTo>
                    <a:pt x="2156" y="33"/>
                    <a:pt x="2082" y="11"/>
                    <a:pt x="2082" y="11"/>
                  </a:cubicBezTo>
                  <a:cubicBezTo>
                    <a:pt x="2082" y="11"/>
                    <a:pt x="2026" y="1"/>
                    <a:pt x="2024" y="21"/>
                  </a:cubicBezTo>
                  <a:cubicBezTo>
                    <a:pt x="2022" y="41"/>
                    <a:pt x="2050" y="65"/>
                    <a:pt x="2050" y="65"/>
                  </a:cubicBezTo>
                  <a:close/>
                  <a:moveTo>
                    <a:pt x="4094" y="273"/>
                  </a:moveTo>
                  <a:cubicBezTo>
                    <a:pt x="4122" y="259"/>
                    <a:pt x="4026" y="259"/>
                    <a:pt x="4026" y="259"/>
                  </a:cubicBezTo>
                  <a:cubicBezTo>
                    <a:pt x="4026" y="259"/>
                    <a:pt x="4006" y="241"/>
                    <a:pt x="3998" y="241"/>
                  </a:cubicBezTo>
                  <a:cubicBezTo>
                    <a:pt x="3990" y="241"/>
                    <a:pt x="3966" y="245"/>
                    <a:pt x="3966" y="245"/>
                  </a:cubicBezTo>
                  <a:cubicBezTo>
                    <a:pt x="3942" y="243"/>
                    <a:pt x="3942" y="243"/>
                    <a:pt x="3942" y="243"/>
                  </a:cubicBezTo>
                  <a:cubicBezTo>
                    <a:pt x="3966" y="259"/>
                    <a:pt x="3966" y="259"/>
                    <a:pt x="3966" y="259"/>
                  </a:cubicBezTo>
                  <a:cubicBezTo>
                    <a:pt x="3966" y="259"/>
                    <a:pt x="4066" y="287"/>
                    <a:pt x="4094" y="273"/>
                  </a:cubicBezTo>
                  <a:close/>
                  <a:moveTo>
                    <a:pt x="5070" y="495"/>
                  </a:moveTo>
                  <a:cubicBezTo>
                    <a:pt x="5078" y="485"/>
                    <a:pt x="5004" y="475"/>
                    <a:pt x="5004" y="475"/>
                  </a:cubicBezTo>
                  <a:cubicBezTo>
                    <a:pt x="5004" y="483"/>
                    <a:pt x="5062" y="505"/>
                    <a:pt x="5070" y="495"/>
                  </a:cubicBezTo>
                  <a:close/>
                  <a:moveTo>
                    <a:pt x="2112" y="81"/>
                  </a:moveTo>
                  <a:cubicBezTo>
                    <a:pt x="2112" y="89"/>
                    <a:pt x="2178" y="95"/>
                    <a:pt x="2178" y="95"/>
                  </a:cubicBezTo>
                  <a:cubicBezTo>
                    <a:pt x="2212" y="91"/>
                    <a:pt x="2212" y="91"/>
                    <a:pt x="2212" y="91"/>
                  </a:cubicBezTo>
                  <a:cubicBezTo>
                    <a:pt x="2250" y="105"/>
                    <a:pt x="2250" y="105"/>
                    <a:pt x="2250" y="105"/>
                  </a:cubicBezTo>
                  <a:cubicBezTo>
                    <a:pt x="2292" y="103"/>
                    <a:pt x="2292" y="103"/>
                    <a:pt x="2292" y="103"/>
                  </a:cubicBezTo>
                  <a:cubicBezTo>
                    <a:pt x="2286" y="85"/>
                    <a:pt x="2268" y="59"/>
                    <a:pt x="2250" y="61"/>
                  </a:cubicBezTo>
                  <a:cubicBezTo>
                    <a:pt x="2232" y="63"/>
                    <a:pt x="2214" y="75"/>
                    <a:pt x="2214" y="75"/>
                  </a:cubicBezTo>
                  <a:cubicBezTo>
                    <a:pt x="2200" y="59"/>
                    <a:pt x="2200" y="59"/>
                    <a:pt x="2200" y="59"/>
                  </a:cubicBezTo>
                  <a:cubicBezTo>
                    <a:pt x="2200" y="59"/>
                    <a:pt x="2112" y="73"/>
                    <a:pt x="2112" y="81"/>
                  </a:cubicBezTo>
                  <a:close/>
                  <a:moveTo>
                    <a:pt x="2392" y="133"/>
                  </a:moveTo>
                  <a:cubicBezTo>
                    <a:pt x="2498" y="127"/>
                    <a:pt x="2498" y="127"/>
                    <a:pt x="2498" y="127"/>
                  </a:cubicBezTo>
                  <a:cubicBezTo>
                    <a:pt x="2470" y="111"/>
                    <a:pt x="2470" y="111"/>
                    <a:pt x="2470" y="111"/>
                  </a:cubicBezTo>
                  <a:cubicBezTo>
                    <a:pt x="2470" y="111"/>
                    <a:pt x="2432" y="91"/>
                    <a:pt x="2422" y="91"/>
                  </a:cubicBezTo>
                  <a:cubicBezTo>
                    <a:pt x="2412" y="91"/>
                    <a:pt x="2394" y="103"/>
                    <a:pt x="2394" y="103"/>
                  </a:cubicBezTo>
                  <a:cubicBezTo>
                    <a:pt x="2394" y="103"/>
                    <a:pt x="2388" y="75"/>
                    <a:pt x="2366" y="75"/>
                  </a:cubicBezTo>
                  <a:cubicBezTo>
                    <a:pt x="2344" y="75"/>
                    <a:pt x="2332" y="141"/>
                    <a:pt x="2332" y="141"/>
                  </a:cubicBezTo>
                  <a:cubicBezTo>
                    <a:pt x="2348" y="149"/>
                    <a:pt x="2348" y="149"/>
                    <a:pt x="2348" y="149"/>
                  </a:cubicBezTo>
                  <a:cubicBezTo>
                    <a:pt x="2366" y="145"/>
                    <a:pt x="2392" y="133"/>
                    <a:pt x="2392" y="133"/>
                  </a:cubicBezTo>
                  <a:close/>
                  <a:moveTo>
                    <a:pt x="3752" y="279"/>
                  </a:moveTo>
                  <a:cubicBezTo>
                    <a:pt x="3762" y="261"/>
                    <a:pt x="3762" y="261"/>
                    <a:pt x="3762" y="261"/>
                  </a:cubicBezTo>
                  <a:cubicBezTo>
                    <a:pt x="3762" y="261"/>
                    <a:pt x="3788" y="261"/>
                    <a:pt x="3798" y="261"/>
                  </a:cubicBezTo>
                  <a:cubicBezTo>
                    <a:pt x="3808" y="261"/>
                    <a:pt x="3838" y="259"/>
                    <a:pt x="3838" y="259"/>
                  </a:cubicBezTo>
                  <a:cubicBezTo>
                    <a:pt x="3796" y="239"/>
                    <a:pt x="3796" y="239"/>
                    <a:pt x="3796" y="239"/>
                  </a:cubicBezTo>
                  <a:cubicBezTo>
                    <a:pt x="3804" y="225"/>
                    <a:pt x="3804" y="225"/>
                    <a:pt x="3804" y="225"/>
                  </a:cubicBezTo>
                  <a:cubicBezTo>
                    <a:pt x="3744" y="213"/>
                    <a:pt x="3744" y="213"/>
                    <a:pt x="3744" y="213"/>
                  </a:cubicBezTo>
                  <a:cubicBezTo>
                    <a:pt x="3754" y="231"/>
                    <a:pt x="3754" y="231"/>
                    <a:pt x="3754" y="231"/>
                  </a:cubicBezTo>
                  <a:cubicBezTo>
                    <a:pt x="3754" y="231"/>
                    <a:pt x="3632" y="191"/>
                    <a:pt x="3634" y="221"/>
                  </a:cubicBezTo>
                  <a:cubicBezTo>
                    <a:pt x="3636" y="251"/>
                    <a:pt x="3752" y="279"/>
                    <a:pt x="3752" y="279"/>
                  </a:cubicBezTo>
                  <a:close/>
                  <a:moveTo>
                    <a:pt x="2882" y="289"/>
                  </a:moveTo>
                  <a:cubicBezTo>
                    <a:pt x="2914" y="295"/>
                    <a:pt x="2914" y="295"/>
                    <a:pt x="2914" y="295"/>
                  </a:cubicBezTo>
                  <a:cubicBezTo>
                    <a:pt x="2934" y="297"/>
                    <a:pt x="2954" y="285"/>
                    <a:pt x="2924" y="279"/>
                  </a:cubicBezTo>
                  <a:cubicBezTo>
                    <a:pt x="2894" y="273"/>
                    <a:pt x="2882" y="289"/>
                    <a:pt x="2882" y="289"/>
                  </a:cubicBezTo>
                  <a:close/>
                  <a:moveTo>
                    <a:pt x="3618" y="235"/>
                  </a:moveTo>
                  <a:cubicBezTo>
                    <a:pt x="3582" y="223"/>
                    <a:pt x="3582" y="223"/>
                    <a:pt x="3582" y="223"/>
                  </a:cubicBezTo>
                  <a:cubicBezTo>
                    <a:pt x="3598" y="245"/>
                    <a:pt x="3598" y="245"/>
                    <a:pt x="3598" y="245"/>
                  </a:cubicBezTo>
                  <a:lnTo>
                    <a:pt x="3618" y="235"/>
                  </a:lnTo>
                  <a:close/>
                  <a:moveTo>
                    <a:pt x="5328" y="443"/>
                  </a:moveTo>
                  <a:cubicBezTo>
                    <a:pt x="5340" y="439"/>
                    <a:pt x="5358" y="437"/>
                    <a:pt x="5384" y="437"/>
                  </a:cubicBezTo>
                  <a:cubicBezTo>
                    <a:pt x="5410" y="437"/>
                    <a:pt x="5414" y="421"/>
                    <a:pt x="5396" y="419"/>
                  </a:cubicBezTo>
                  <a:cubicBezTo>
                    <a:pt x="5378" y="417"/>
                    <a:pt x="5346" y="405"/>
                    <a:pt x="5334" y="405"/>
                  </a:cubicBezTo>
                  <a:cubicBezTo>
                    <a:pt x="5322" y="405"/>
                    <a:pt x="5294" y="405"/>
                    <a:pt x="5294" y="427"/>
                  </a:cubicBezTo>
                  <a:cubicBezTo>
                    <a:pt x="5294" y="451"/>
                    <a:pt x="5316" y="447"/>
                    <a:pt x="5328" y="443"/>
                  </a:cubicBezTo>
                  <a:close/>
                  <a:moveTo>
                    <a:pt x="111" y="1194"/>
                  </a:moveTo>
                  <a:cubicBezTo>
                    <a:pt x="103" y="1195"/>
                    <a:pt x="79" y="1198"/>
                    <a:pt x="79" y="1198"/>
                  </a:cubicBezTo>
                  <a:cubicBezTo>
                    <a:pt x="77" y="1192"/>
                    <a:pt x="77" y="1192"/>
                    <a:pt x="77" y="1192"/>
                  </a:cubicBezTo>
                  <a:cubicBezTo>
                    <a:pt x="69" y="1193"/>
                    <a:pt x="69" y="1193"/>
                    <a:pt x="69" y="1193"/>
                  </a:cubicBezTo>
                  <a:cubicBezTo>
                    <a:pt x="66" y="1187"/>
                    <a:pt x="66" y="1187"/>
                    <a:pt x="66" y="1187"/>
                  </a:cubicBezTo>
                  <a:cubicBezTo>
                    <a:pt x="61" y="1187"/>
                    <a:pt x="61" y="1187"/>
                    <a:pt x="61" y="1187"/>
                  </a:cubicBezTo>
                  <a:cubicBezTo>
                    <a:pt x="61" y="1192"/>
                    <a:pt x="53" y="1201"/>
                    <a:pt x="53" y="1201"/>
                  </a:cubicBezTo>
                  <a:cubicBezTo>
                    <a:pt x="53" y="1201"/>
                    <a:pt x="12" y="1196"/>
                    <a:pt x="6" y="1203"/>
                  </a:cubicBezTo>
                  <a:cubicBezTo>
                    <a:pt x="0" y="1210"/>
                    <a:pt x="13" y="1219"/>
                    <a:pt x="13" y="1219"/>
                  </a:cubicBezTo>
                  <a:cubicBezTo>
                    <a:pt x="8" y="1228"/>
                    <a:pt x="8" y="1228"/>
                    <a:pt x="8" y="1228"/>
                  </a:cubicBezTo>
                  <a:cubicBezTo>
                    <a:pt x="8" y="1227"/>
                    <a:pt x="8" y="1227"/>
                    <a:pt x="8" y="1227"/>
                  </a:cubicBezTo>
                  <a:cubicBezTo>
                    <a:pt x="13" y="1232"/>
                    <a:pt x="13" y="1232"/>
                    <a:pt x="13" y="1232"/>
                  </a:cubicBezTo>
                  <a:cubicBezTo>
                    <a:pt x="13" y="1232"/>
                    <a:pt x="25" y="1227"/>
                    <a:pt x="34" y="1229"/>
                  </a:cubicBezTo>
                  <a:cubicBezTo>
                    <a:pt x="43" y="1231"/>
                    <a:pt x="51" y="1236"/>
                    <a:pt x="51" y="1236"/>
                  </a:cubicBezTo>
                  <a:cubicBezTo>
                    <a:pt x="51" y="1236"/>
                    <a:pt x="82" y="1234"/>
                    <a:pt x="90" y="1235"/>
                  </a:cubicBezTo>
                  <a:cubicBezTo>
                    <a:pt x="98" y="1236"/>
                    <a:pt x="113" y="1236"/>
                    <a:pt x="113" y="1236"/>
                  </a:cubicBezTo>
                  <a:cubicBezTo>
                    <a:pt x="113" y="1236"/>
                    <a:pt x="109" y="1230"/>
                    <a:pt x="117" y="1231"/>
                  </a:cubicBezTo>
                  <a:cubicBezTo>
                    <a:pt x="112" y="1221"/>
                    <a:pt x="112" y="1221"/>
                    <a:pt x="112" y="1221"/>
                  </a:cubicBezTo>
                  <a:cubicBezTo>
                    <a:pt x="112" y="1221"/>
                    <a:pt x="120" y="1214"/>
                    <a:pt x="121" y="1209"/>
                  </a:cubicBezTo>
                  <a:cubicBezTo>
                    <a:pt x="122" y="1204"/>
                    <a:pt x="119" y="1193"/>
                    <a:pt x="111" y="1194"/>
                  </a:cubicBezTo>
                  <a:close/>
                  <a:moveTo>
                    <a:pt x="698" y="59"/>
                  </a:moveTo>
                  <a:cubicBezTo>
                    <a:pt x="712" y="49"/>
                    <a:pt x="712" y="49"/>
                    <a:pt x="712" y="49"/>
                  </a:cubicBezTo>
                  <a:cubicBezTo>
                    <a:pt x="712" y="49"/>
                    <a:pt x="677" y="42"/>
                    <a:pt x="698" y="59"/>
                  </a:cubicBezTo>
                  <a:close/>
                  <a:moveTo>
                    <a:pt x="664" y="48"/>
                  </a:moveTo>
                  <a:cubicBezTo>
                    <a:pt x="720" y="35"/>
                    <a:pt x="720" y="35"/>
                    <a:pt x="720" y="35"/>
                  </a:cubicBezTo>
                  <a:cubicBezTo>
                    <a:pt x="702" y="30"/>
                    <a:pt x="702" y="30"/>
                    <a:pt x="702" y="30"/>
                  </a:cubicBezTo>
                  <a:cubicBezTo>
                    <a:pt x="668" y="38"/>
                    <a:pt x="668" y="38"/>
                    <a:pt x="668" y="38"/>
                  </a:cubicBezTo>
                  <a:cubicBezTo>
                    <a:pt x="634" y="37"/>
                    <a:pt x="634" y="37"/>
                    <a:pt x="634" y="37"/>
                  </a:cubicBezTo>
                  <a:cubicBezTo>
                    <a:pt x="650" y="44"/>
                    <a:pt x="650" y="44"/>
                    <a:pt x="650" y="44"/>
                  </a:cubicBezTo>
                  <a:lnTo>
                    <a:pt x="664" y="48"/>
                  </a:lnTo>
                  <a:close/>
                  <a:moveTo>
                    <a:pt x="754" y="61"/>
                  </a:moveTo>
                  <a:cubicBezTo>
                    <a:pt x="757" y="51"/>
                    <a:pt x="757" y="51"/>
                    <a:pt x="757" y="51"/>
                  </a:cubicBezTo>
                  <a:cubicBezTo>
                    <a:pt x="774" y="51"/>
                    <a:pt x="774" y="51"/>
                    <a:pt x="774" y="51"/>
                  </a:cubicBezTo>
                  <a:cubicBezTo>
                    <a:pt x="779" y="45"/>
                    <a:pt x="779" y="45"/>
                    <a:pt x="779" y="45"/>
                  </a:cubicBezTo>
                  <a:cubicBezTo>
                    <a:pt x="779" y="45"/>
                    <a:pt x="806" y="48"/>
                    <a:pt x="816" y="42"/>
                  </a:cubicBezTo>
                  <a:cubicBezTo>
                    <a:pt x="826" y="37"/>
                    <a:pt x="791" y="37"/>
                    <a:pt x="791" y="37"/>
                  </a:cubicBezTo>
                  <a:cubicBezTo>
                    <a:pt x="791" y="37"/>
                    <a:pt x="791" y="27"/>
                    <a:pt x="774" y="27"/>
                  </a:cubicBezTo>
                  <a:cubicBezTo>
                    <a:pt x="757" y="27"/>
                    <a:pt x="755" y="45"/>
                    <a:pt x="755" y="45"/>
                  </a:cubicBezTo>
                  <a:cubicBezTo>
                    <a:pt x="755" y="45"/>
                    <a:pt x="719" y="51"/>
                    <a:pt x="722" y="56"/>
                  </a:cubicBezTo>
                  <a:cubicBezTo>
                    <a:pt x="724" y="62"/>
                    <a:pt x="754" y="61"/>
                    <a:pt x="754" y="61"/>
                  </a:cubicBezTo>
                  <a:close/>
                  <a:moveTo>
                    <a:pt x="786" y="53"/>
                  </a:moveTo>
                  <a:cubicBezTo>
                    <a:pt x="776" y="59"/>
                    <a:pt x="776" y="59"/>
                    <a:pt x="776" y="59"/>
                  </a:cubicBezTo>
                  <a:cubicBezTo>
                    <a:pt x="789" y="66"/>
                    <a:pt x="789" y="66"/>
                    <a:pt x="789" y="66"/>
                  </a:cubicBezTo>
                  <a:cubicBezTo>
                    <a:pt x="802" y="72"/>
                    <a:pt x="802" y="72"/>
                    <a:pt x="802" y="72"/>
                  </a:cubicBezTo>
                  <a:cubicBezTo>
                    <a:pt x="834" y="69"/>
                    <a:pt x="834" y="69"/>
                    <a:pt x="834" y="69"/>
                  </a:cubicBezTo>
                  <a:cubicBezTo>
                    <a:pt x="833" y="61"/>
                    <a:pt x="833" y="61"/>
                    <a:pt x="833" y="61"/>
                  </a:cubicBezTo>
                  <a:cubicBezTo>
                    <a:pt x="810" y="61"/>
                    <a:pt x="810" y="61"/>
                    <a:pt x="810" y="61"/>
                  </a:cubicBezTo>
                  <a:lnTo>
                    <a:pt x="786" y="53"/>
                  </a:lnTo>
                  <a:close/>
                  <a:moveTo>
                    <a:pt x="5213" y="1622"/>
                  </a:moveTo>
                  <a:cubicBezTo>
                    <a:pt x="5191" y="1599"/>
                    <a:pt x="5191" y="1599"/>
                    <a:pt x="5191" y="1599"/>
                  </a:cubicBezTo>
                  <a:cubicBezTo>
                    <a:pt x="5191" y="1599"/>
                    <a:pt x="5169" y="1593"/>
                    <a:pt x="5156" y="1575"/>
                  </a:cubicBezTo>
                  <a:cubicBezTo>
                    <a:pt x="5144" y="1557"/>
                    <a:pt x="5136" y="1516"/>
                    <a:pt x="5136" y="1516"/>
                  </a:cubicBezTo>
                  <a:cubicBezTo>
                    <a:pt x="5136" y="1516"/>
                    <a:pt x="5112" y="1502"/>
                    <a:pt x="5125" y="1495"/>
                  </a:cubicBezTo>
                  <a:cubicBezTo>
                    <a:pt x="5137" y="1488"/>
                    <a:pt x="5213" y="1526"/>
                    <a:pt x="5213" y="1526"/>
                  </a:cubicBezTo>
                  <a:cubicBezTo>
                    <a:pt x="5163" y="1489"/>
                    <a:pt x="5163" y="1489"/>
                    <a:pt x="5163" y="1489"/>
                  </a:cubicBezTo>
                  <a:cubicBezTo>
                    <a:pt x="5163" y="1489"/>
                    <a:pt x="5144" y="1459"/>
                    <a:pt x="5134" y="1452"/>
                  </a:cubicBezTo>
                  <a:cubicBezTo>
                    <a:pt x="5125" y="1445"/>
                    <a:pt x="5109" y="1435"/>
                    <a:pt x="5109" y="1435"/>
                  </a:cubicBezTo>
                  <a:cubicBezTo>
                    <a:pt x="5057" y="1379"/>
                    <a:pt x="5057" y="1379"/>
                    <a:pt x="5057" y="1379"/>
                  </a:cubicBezTo>
                  <a:cubicBezTo>
                    <a:pt x="5040" y="1380"/>
                    <a:pt x="5040" y="1380"/>
                    <a:pt x="5040" y="1380"/>
                  </a:cubicBezTo>
                  <a:cubicBezTo>
                    <a:pt x="5033" y="1361"/>
                    <a:pt x="5033" y="1361"/>
                    <a:pt x="5033" y="1361"/>
                  </a:cubicBezTo>
                  <a:cubicBezTo>
                    <a:pt x="5033" y="1361"/>
                    <a:pt x="5023" y="1363"/>
                    <a:pt x="5011" y="1351"/>
                  </a:cubicBezTo>
                  <a:cubicBezTo>
                    <a:pt x="4999" y="1338"/>
                    <a:pt x="5003" y="1322"/>
                    <a:pt x="5003" y="1322"/>
                  </a:cubicBezTo>
                  <a:cubicBezTo>
                    <a:pt x="4983" y="1297"/>
                    <a:pt x="4983" y="1297"/>
                    <a:pt x="4983" y="1297"/>
                  </a:cubicBezTo>
                  <a:cubicBezTo>
                    <a:pt x="4969" y="1298"/>
                    <a:pt x="4969" y="1298"/>
                    <a:pt x="4969" y="1298"/>
                  </a:cubicBezTo>
                  <a:cubicBezTo>
                    <a:pt x="4960" y="1279"/>
                    <a:pt x="4960" y="1279"/>
                    <a:pt x="4960" y="1279"/>
                  </a:cubicBezTo>
                  <a:cubicBezTo>
                    <a:pt x="4933" y="1259"/>
                    <a:pt x="4933" y="1259"/>
                    <a:pt x="4933" y="1259"/>
                  </a:cubicBezTo>
                  <a:cubicBezTo>
                    <a:pt x="4925" y="1243"/>
                    <a:pt x="4925" y="1243"/>
                    <a:pt x="4925" y="1243"/>
                  </a:cubicBezTo>
                  <a:cubicBezTo>
                    <a:pt x="4925" y="1243"/>
                    <a:pt x="4907" y="1230"/>
                    <a:pt x="4900" y="1235"/>
                  </a:cubicBezTo>
                  <a:cubicBezTo>
                    <a:pt x="4893" y="1239"/>
                    <a:pt x="4939" y="1272"/>
                    <a:pt x="4933" y="1275"/>
                  </a:cubicBezTo>
                  <a:cubicBezTo>
                    <a:pt x="4928" y="1277"/>
                    <a:pt x="4915" y="1262"/>
                    <a:pt x="4913" y="1277"/>
                  </a:cubicBezTo>
                  <a:cubicBezTo>
                    <a:pt x="4910" y="1293"/>
                    <a:pt x="4939" y="1322"/>
                    <a:pt x="4939" y="1322"/>
                  </a:cubicBezTo>
                  <a:cubicBezTo>
                    <a:pt x="4939" y="1322"/>
                    <a:pt x="4946" y="1340"/>
                    <a:pt x="4953" y="1347"/>
                  </a:cubicBezTo>
                  <a:cubicBezTo>
                    <a:pt x="4960" y="1354"/>
                    <a:pt x="5007" y="1384"/>
                    <a:pt x="5018" y="1398"/>
                  </a:cubicBezTo>
                  <a:cubicBezTo>
                    <a:pt x="5029" y="1412"/>
                    <a:pt x="5028" y="1434"/>
                    <a:pt x="5041" y="1445"/>
                  </a:cubicBezTo>
                  <a:cubicBezTo>
                    <a:pt x="5055" y="1456"/>
                    <a:pt x="5087" y="1512"/>
                    <a:pt x="5087" y="1512"/>
                  </a:cubicBezTo>
                  <a:cubicBezTo>
                    <a:pt x="5087" y="1512"/>
                    <a:pt x="5093" y="1535"/>
                    <a:pt x="5100" y="1535"/>
                  </a:cubicBezTo>
                  <a:cubicBezTo>
                    <a:pt x="5107" y="1535"/>
                    <a:pt x="5120" y="1545"/>
                    <a:pt x="5127" y="1555"/>
                  </a:cubicBezTo>
                  <a:cubicBezTo>
                    <a:pt x="5134" y="1564"/>
                    <a:pt x="5134" y="1584"/>
                    <a:pt x="5134" y="1584"/>
                  </a:cubicBezTo>
                  <a:cubicBezTo>
                    <a:pt x="5162" y="1607"/>
                    <a:pt x="5162" y="1607"/>
                    <a:pt x="5162" y="1607"/>
                  </a:cubicBezTo>
                  <a:cubicBezTo>
                    <a:pt x="5172" y="1643"/>
                    <a:pt x="5172" y="1643"/>
                    <a:pt x="5172" y="1643"/>
                  </a:cubicBezTo>
                  <a:cubicBezTo>
                    <a:pt x="5198" y="1671"/>
                    <a:pt x="5198" y="1671"/>
                    <a:pt x="5198" y="1671"/>
                  </a:cubicBezTo>
                  <a:cubicBezTo>
                    <a:pt x="5198" y="1671"/>
                    <a:pt x="5184" y="1632"/>
                    <a:pt x="5193" y="1629"/>
                  </a:cubicBezTo>
                  <a:cubicBezTo>
                    <a:pt x="5201" y="1627"/>
                    <a:pt x="5205" y="1636"/>
                    <a:pt x="5205" y="1636"/>
                  </a:cubicBezTo>
                  <a:cubicBezTo>
                    <a:pt x="5226" y="1636"/>
                    <a:pt x="5226" y="1636"/>
                    <a:pt x="5226" y="1636"/>
                  </a:cubicBezTo>
                  <a:cubicBezTo>
                    <a:pt x="5248" y="1663"/>
                    <a:pt x="5248" y="1663"/>
                    <a:pt x="5248" y="1663"/>
                  </a:cubicBezTo>
                  <a:cubicBezTo>
                    <a:pt x="5249" y="1646"/>
                    <a:pt x="5249" y="1646"/>
                    <a:pt x="5249" y="1646"/>
                  </a:cubicBezTo>
                  <a:cubicBezTo>
                    <a:pt x="5229" y="1621"/>
                    <a:pt x="5229" y="1621"/>
                    <a:pt x="5229" y="1621"/>
                  </a:cubicBezTo>
                  <a:lnTo>
                    <a:pt x="5213" y="1622"/>
                  </a:lnTo>
                  <a:close/>
                  <a:moveTo>
                    <a:pt x="899" y="58"/>
                  </a:moveTo>
                  <a:cubicBezTo>
                    <a:pt x="905" y="46"/>
                    <a:pt x="905" y="46"/>
                    <a:pt x="905" y="46"/>
                  </a:cubicBezTo>
                  <a:cubicBezTo>
                    <a:pt x="876" y="42"/>
                    <a:pt x="876" y="42"/>
                    <a:pt x="876" y="42"/>
                  </a:cubicBezTo>
                  <a:cubicBezTo>
                    <a:pt x="861" y="52"/>
                    <a:pt x="861" y="52"/>
                    <a:pt x="861" y="52"/>
                  </a:cubicBezTo>
                  <a:cubicBezTo>
                    <a:pt x="864" y="61"/>
                    <a:pt x="864" y="61"/>
                    <a:pt x="864" y="61"/>
                  </a:cubicBezTo>
                  <a:lnTo>
                    <a:pt x="899" y="58"/>
                  </a:lnTo>
                  <a:close/>
                  <a:moveTo>
                    <a:pt x="771" y="1607"/>
                  </a:moveTo>
                  <a:cubicBezTo>
                    <a:pt x="771" y="1607"/>
                    <a:pt x="773" y="1608"/>
                    <a:pt x="774" y="1608"/>
                  </a:cubicBezTo>
                  <a:cubicBezTo>
                    <a:pt x="773" y="1608"/>
                    <a:pt x="771" y="1607"/>
                    <a:pt x="771" y="1607"/>
                  </a:cubicBezTo>
                  <a:close/>
                  <a:moveTo>
                    <a:pt x="771" y="1607"/>
                  </a:moveTo>
                  <a:cubicBezTo>
                    <a:pt x="770" y="1607"/>
                    <a:pt x="770" y="1607"/>
                    <a:pt x="770" y="1607"/>
                  </a:cubicBezTo>
                  <a:cubicBezTo>
                    <a:pt x="770" y="1607"/>
                    <a:pt x="770" y="1607"/>
                    <a:pt x="771" y="1607"/>
                  </a:cubicBezTo>
                  <a:close/>
                  <a:moveTo>
                    <a:pt x="6034" y="664"/>
                  </a:moveTo>
                  <a:cubicBezTo>
                    <a:pt x="6023" y="650"/>
                    <a:pt x="5993" y="645"/>
                    <a:pt x="5993" y="645"/>
                  </a:cubicBezTo>
                  <a:cubicBezTo>
                    <a:pt x="5962" y="631"/>
                    <a:pt x="5962" y="631"/>
                    <a:pt x="5962" y="631"/>
                  </a:cubicBezTo>
                  <a:cubicBezTo>
                    <a:pt x="5935" y="632"/>
                    <a:pt x="5935" y="632"/>
                    <a:pt x="5935" y="632"/>
                  </a:cubicBezTo>
                  <a:cubicBezTo>
                    <a:pt x="5915" y="619"/>
                    <a:pt x="5915" y="619"/>
                    <a:pt x="5915" y="619"/>
                  </a:cubicBezTo>
                  <a:cubicBezTo>
                    <a:pt x="5854" y="615"/>
                    <a:pt x="5854" y="615"/>
                    <a:pt x="5854" y="615"/>
                  </a:cubicBezTo>
                  <a:cubicBezTo>
                    <a:pt x="5829" y="603"/>
                    <a:pt x="5829" y="603"/>
                    <a:pt x="5829" y="603"/>
                  </a:cubicBezTo>
                  <a:cubicBezTo>
                    <a:pt x="5805" y="605"/>
                    <a:pt x="5805" y="605"/>
                    <a:pt x="5805" y="605"/>
                  </a:cubicBezTo>
                  <a:cubicBezTo>
                    <a:pt x="5838" y="630"/>
                    <a:pt x="5838" y="630"/>
                    <a:pt x="5838" y="630"/>
                  </a:cubicBezTo>
                  <a:cubicBezTo>
                    <a:pt x="5874" y="646"/>
                    <a:pt x="5874" y="646"/>
                    <a:pt x="5874" y="646"/>
                  </a:cubicBezTo>
                  <a:cubicBezTo>
                    <a:pt x="5874" y="646"/>
                    <a:pt x="5834" y="652"/>
                    <a:pt x="5822" y="642"/>
                  </a:cubicBezTo>
                  <a:cubicBezTo>
                    <a:pt x="5810" y="632"/>
                    <a:pt x="5809" y="610"/>
                    <a:pt x="5756" y="592"/>
                  </a:cubicBezTo>
                  <a:cubicBezTo>
                    <a:pt x="5703" y="574"/>
                    <a:pt x="5687" y="567"/>
                    <a:pt x="5633" y="558"/>
                  </a:cubicBezTo>
                  <a:cubicBezTo>
                    <a:pt x="5579" y="549"/>
                    <a:pt x="5466" y="523"/>
                    <a:pt x="5412" y="510"/>
                  </a:cubicBezTo>
                  <a:cubicBezTo>
                    <a:pt x="5358" y="497"/>
                    <a:pt x="5297" y="488"/>
                    <a:pt x="5297" y="488"/>
                  </a:cubicBezTo>
                  <a:cubicBezTo>
                    <a:pt x="5175" y="490"/>
                    <a:pt x="5175" y="490"/>
                    <a:pt x="5175" y="490"/>
                  </a:cubicBezTo>
                  <a:cubicBezTo>
                    <a:pt x="5166" y="478"/>
                    <a:pt x="5166" y="478"/>
                    <a:pt x="5166" y="478"/>
                  </a:cubicBezTo>
                  <a:cubicBezTo>
                    <a:pt x="5135" y="480"/>
                    <a:pt x="5135" y="480"/>
                    <a:pt x="5135" y="480"/>
                  </a:cubicBezTo>
                  <a:cubicBezTo>
                    <a:pt x="5124" y="472"/>
                    <a:pt x="5124" y="472"/>
                    <a:pt x="5124" y="472"/>
                  </a:cubicBezTo>
                  <a:cubicBezTo>
                    <a:pt x="5088" y="471"/>
                    <a:pt x="5088" y="471"/>
                    <a:pt x="5088" y="471"/>
                  </a:cubicBezTo>
                  <a:cubicBezTo>
                    <a:pt x="5105" y="483"/>
                    <a:pt x="5105" y="483"/>
                    <a:pt x="5105" y="483"/>
                  </a:cubicBezTo>
                  <a:cubicBezTo>
                    <a:pt x="5100" y="497"/>
                    <a:pt x="5100" y="497"/>
                    <a:pt x="5100" y="497"/>
                  </a:cubicBezTo>
                  <a:cubicBezTo>
                    <a:pt x="5100" y="497"/>
                    <a:pt x="5199" y="520"/>
                    <a:pt x="5170" y="533"/>
                  </a:cubicBezTo>
                  <a:cubicBezTo>
                    <a:pt x="5141" y="546"/>
                    <a:pt x="5123" y="529"/>
                    <a:pt x="5123" y="529"/>
                  </a:cubicBezTo>
                  <a:cubicBezTo>
                    <a:pt x="5106" y="515"/>
                    <a:pt x="5106" y="515"/>
                    <a:pt x="5106" y="515"/>
                  </a:cubicBezTo>
                  <a:cubicBezTo>
                    <a:pt x="5061" y="515"/>
                    <a:pt x="5061" y="515"/>
                    <a:pt x="5061" y="515"/>
                  </a:cubicBezTo>
                  <a:cubicBezTo>
                    <a:pt x="5024" y="492"/>
                    <a:pt x="5024" y="492"/>
                    <a:pt x="5024" y="492"/>
                  </a:cubicBezTo>
                  <a:cubicBezTo>
                    <a:pt x="5024" y="492"/>
                    <a:pt x="5006" y="496"/>
                    <a:pt x="5002" y="499"/>
                  </a:cubicBezTo>
                  <a:cubicBezTo>
                    <a:pt x="4998" y="502"/>
                    <a:pt x="4966" y="501"/>
                    <a:pt x="4966" y="501"/>
                  </a:cubicBezTo>
                  <a:cubicBezTo>
                    <a:pt x="4962" y="493"/>
                    <a:pt x="4962" y="493"/>
                    <a:pt x="4962" y="493"/>
                  </a:cubicBezTo>
                  <a:cubicBezTo>
                    <a:pt x="4900" y="496"/>
                    <a:pt x="4900" y="496"/>
                    <a:pt x="4900" y="496"/>
                  </a:cubicBezTo>
                  <a:cubicBezTo>
                    <a:pt x="4884" y="484"/>
                    <a:pt x="4884" y="484"/>
                    <a:pt x="4884" y="484"/>
                  </a:cubicBezTo>
                  <a:cubicBezTo>
                    <a:pt x="4879" y="490"/>
                    <a:pt x="4879" y="490"/>
                    <a:pt x="4879" y="490"/>
                  </a:cubicBezTo>
                  <a:cubicBezTo>
                    <a:pt x="4879" y="490"/>
                    <a:pt x="4801" y="483"/>
                    <a:pt x="4806" y="493"/>
                  </a:cubicBezTo>
                  <a:cubicBezTo>
                    <a:pt x="4811" y="503"/>
                    <a:pt x="4840" y="527"/>
                    <a:pt x="4840" y="527"/>
                  </a:cubicBezTo>
                  <a:cubicBezTo>
                    <a:pt x="4840" y="527"/>
                    <a:pt x="4804" y="506"/>
                    <a:pt x="4799" y="501"/>
                  </a:cubicBezTo>
                  <a:cubicBezTo>
                    <a:pt x="4794" y="496"/>
                    <a:pt x="4728" y="488"/>
                    <a:pt x="4728" y="488"/>
                  </a:cubicBezTo>
                  <a:cubicBezTo>
                    <a:pt x="4728" y="488"/>
                    <a:pt x="4718" y="470"/>
                    <a:pt x="4693" y="457"/>
                  </a:cubicBezTo>
                  <a:cubicBezTo>
                    <a:pt x="4668" y="444"/>
                    <a:pt x="4630" y="438"/>
                    <a:pt x="4613" y="437"/>
                  </a:cubicBezTo>
                  <a:cubicBezTo>
                    <a:pt x="4596" y="436"/>
                    <a:pt x="4561" y="432"/>
                    <a:pt x="4561" y="432"/>
                  </a:cubicBezTo>
                  <a:cubicBezTo>
                    <a:pt x="4527" y="425"/>
                    <a:pt x="4527" y="425"/>
                    <a:pt x="4527" y="425"/>
                  </a:cubicBezTo>
                  <a:cubicBezTo>
                    <a:pt x="4518" y="429"/>
                    <a:pt x="4518" y="429"/>
                    <a:pt x="4518" y="429"/>
                  </a:cubicBezTo>
                  <a:cubicBezTo>
                    <a:pt x="4478" y="427"/>
                    <a:pt x="4478" y="427"/>
                    <a:pt x="4478" y="427"/>
                  </a:cubicBezTo>
                  <a:cubicBezTo>
                    <a:pt x="4478" y="427"/>
                    <a:pt x="4473" y="447"/>
                    <a:pt x="4451" y="444"/>
                  </a:cubicBezTo>
                  <a:cubicBezTo>
                    <a:pt x="4429" y="441"/>
                    <a:pt x="4400" y="439"/>
                    <a:pt x="4400" y="439"/>
                  </a:cubicBezTo>
                  <a:cubicBezTo>
                    <a:pt x="4400" y="439"/>
                    <a:pt x="4370" y="419"/>
                    <a:pt x="4353" y="418"/>
                  </a:cubicBezTo>
                  <a:cubicBezTo>
                    <a:pt x="4336" y="417"/>
                    <a:pt x="4327" y="420"/>
                    <a:pt x="4327" y="420"/>
                  </a:cubicBezTo>
                  <a:cubicBezTo>
                    <a:pt x="4321" y="409"/>
                    <a:pt x="4321" y="409"/>
                    <a:pt x="4321" y="409"/>
                  </a:cubicBezTo>
                  <a:cubicBezTo>
                    <a:pt x="4296" y="407"/>
                    <a:pt x="4296" y="407"/>
                    <a:pt x="4296" y="407"/>
                  </a:cubicBezTo>
                  <a:cubicBezTo>
                    <a:pt x="4253" y="403"/>
                    <a:pt x="4253" y="403"/>
                    <a:pt x="4253" y="403"/>
                  </a:cubicBezTo>
                  <a:cubicBezTo>
                    <a:pt x="4277" y="395"/>
                    <a:pt x="4277" y="395"/>
                    <a:pt x="4277" y="395"/>
                  </a:cubicBezTo>
                  <a:cubicBezTo>
                    <a:pt x="4251" y="382"/>
                    <a:pt x="4251" y="382"/>
                    <a:pt x="4251" y="382"/>
                  </a:cubicBezTo>
                  <a:cubicBezTo>
                    <a:pt x="4251" y="382"/>
                    <a:pt x="4158" y="369"/>
                    <a:pt x="4155" y="375"/>
                  </a:cubicBezTo>
                  <a:cubicBezTo>
                    <a:pt x="4152" y="381"/>
                    <a:pt x="4164" y="400"/>
                    <a:pt x="4149" y="401"/>
                  </a:cubicBezTo>
                  <a:cubicBezTo>
                    <a:pt x="4134" y="402"/>
                    <a:pt x="4114" y="398"/>
                    <a:pt x="4114" y="398"/>
                  </a:cubicBezTo>
                  <a:cubicBezTo>
                    <a:pt x="4126" y="390"/>
                    <a:pt x="4126" y="390"/>
                    <a:pt x="4126" y="390"/>
                  </a:cubicBezTo>
                  <a:cubicBezTo>
                    <a:pt x="4116" y="380"/>
                    <a:pt x="4116" y="380"/>
                    <a:pt x="4116" y="380"/>
                  </a:cubicBezTo>
                  <a:cubicBezTo>
                    <a:pt x="4116" y="380"/>
                    <a:pt x="4110" y="380"/>
                    <a:pt x="4096" y="382"/>
                  </a:cubicBezTo>
                  <a:cubicBezTo>
                    <a:pt x="4082" y="384"/>
                    <a:pt x="4068" y="379"/>
                    <a:pt x="4068" y="379"/>
                  </a:cubicBezTo>
                  <a:cubicBezTo>
                    <a:pt x="4079" y="374"/>
                    <a:pt x="4079" y="374"/>
                    <a:pt x="4079" y="374"/>
                  </a:cubicBezTo>
                  <a:cubicBezTo>
                    <a:pt x="4109" y="371"/>
                    <a:pt x="4109" y="371"/>
                    <a:pt x="4109" y="371"/>
                  </a:cubicBezTo>
                  <a:cubicBezTo>
                    <a:pt x="4147" y="394"/>
                    <a:pt x="4147" y="394"/>
                    <a:pt x="4147" y="394"/>
                  </a:cubicBezTo>
                  <a:cubicBezTo>
                    <a:pt x="4149" y="375"/>
                    <a:pt x="4149" y="375"/>
                    <a:pt x="4149" y="375"/>
                  </a:cubicBezTo>
                  <a:cubicBezTo>
                    <a:pt x="4110" y="362"/>
                    <a:pt x="4110" y="362"/>
                    <a:pt x="4110" y="362"/>
                  </a:cubicBezTo>
                  <a:cubicBezTo>
                    <a:pt x="4037" y="366"/>
                    <a:pt x="4037" y="366"/>
                    <a:pt x="4037" y="366"/>
                  </a:cubicBezTo>
                  <a:cubicBezTo>
                    <a:pt x="4036" y="357"/>
                    <a:pt x="4036" y="357"/>
                    <a:pt x="4036" y="357"/>
                  </a:cubicBezTo>
                  <a:cubicBezTo>
                    <a:pt x="3955" y="362"/>
                    <a:pt x="3955" y="362"/>
                    <a:pt x="3955" y="362"/>
                  </a:cubicBezTo>
                  <a:cubicBezTo>
                    <a:pt x="3924" y="349"/>
                    <a:pt x="3924" y="349"/>
                    <a:pt x="3924" y="349"/>
                  </a:cubicBezTo>
                  <a:cubicBezTo>
                    <a:pt x="3911" y="349"/>
                    <a:pt x="3911" y="349"/>
                    <a:pt x="3911" y="349"/>
                  </a:cubicBezTo>
                  <a:cubicBezTo>
                    <a:pt x="3936" y="365"/>
                    <a:pt x="3936" y="365"/>
                    <a:pt x="3936" y="365"/>
                  </a:cubicBezTo>
                  <a:cubicBezTo>
                    <a:pt x="3936" y="365"/>
                    <a:pt x="3884" y="364"/>
                    <a:pt x="3892" y="372"/>
                  </a:cubicBezTo>
                  <a:cubicBezTo>
                    <a:pt x="3900" y="380"/>
                    <a:pt x="3910" y="385"/>
                    <a:pt x="3910" y="385"/>
                  </a:cubicBezTo>
                  <a:cubicBezTo>
                    <a:pt x="3931" y="383"/>
                    <a:pt x="3931" y="383"/>
                    <a:pt x="3931" y="383"/>
                  </a:cubicBezTo>
                  <a:cubicBezTo>
                    <a:pt x="3931" y="388"/>
                    <a:pt x="3931" y="388"/>
                    <a:pt x="3931" y="388"/>
                  </a:cubicBezTo>
                  <a:cubicBezTo>
                    <a:pt x="3970" y="414"/>
                    <a:pt x="3970" y="414"/>
                    <a:pt x="3970" y="414"/>
                  </a:cubicBezTo>
                  <a:cubicBezTo>
                    <a:pt x="3970" y="414"/>
                    <a:pt x="3964" y="415"/>
                    <a:pt x="3949" y="414"/>
                  </a:cubicBezTo>
                  <a:cubicBezTo>
                    <a:pt x="3934" y="413"/>
                    <a:pt x="3914" y="398"/>
                    <a:pt x="3909" y="403"/>
                  </a:cubicBezTo>
                  <a:cubicBezTo>
                    <a:pt x="3904" y="408"/>
                    <a:pt x="3900" y="411"/>
                    <a:pt x="3900" y="411"/>
                  </a:cubicBezTo>
                  <a:cubicBezTo>
                    <a:pt x="3917" y="425"/>
                    <a:pt x="3917" y="425"/>
                    <a:pt x="3917" y="425"/>
                  </a:cubicBezTo>
                  <a:cubicBezTo>
                    <a:pt x="3881" y="420"/>
                    <a:pt x="3881" y="420"/>
                    <a:pt x="3881" y="420"/>
                  </a:cubicBezTo>
                  <a:cubicBezTo>
                    <a:pt x="3881" y="420"/>
                    <a:pt x="3832" y="404"/>
                    <a:pt x="3824" y="405"/>
                  </a:cubicBezTo>
                  <a:cubicBezTo>
                    <a:pt x="3816" y="406"/>
                    <a:pt x="3788" y="418"/>
                    <a:pt x="3788" y="418"/>
                  </a:cubicBezTo>
                  <a:cubicBezTo>
                    <a:pt x="3743" y="414"/>
                    <a:pt x="3743" y="414"/>
                    <a:pt x="3743" y="414"/>
                  </a:cubicBezTo>
                  <a:cubicBezTo>
                    <a:pt x="3743" y="414"/>
                    <a:pt x="3705" y="396"/>
                    <a:pt x="3702" y="392"/>
                  </a:cubicBezTo>
                  <a:cubicBezTo>
                    <a:pt x="3699" y="388"/>
                    <a:pt x="3692" y="398"/>
                    <a:pt x="3695" y="406"/>
                  </a:cubicBezTo>
                  <a:cubicBezTo>
                    <a:pt x="3698" y="414"/>
                    <a:pt x="3725" y="442"/>
                    <a:pt x="3709" y="443"/>
                  </a:cubicBezTo>
                  <a:cubicBezTo>
                    <a:pt x="3693" y="444"/>
                    <a:pt x="3614" y="415"/>
                    <a:pt x="3611" y="413"/>
                  </a:cubicBezTo>
                  <a:cubicBezTo>
                    <a:pt x="3608" y="411"/>
                    <a:pt x="3589" y="394"/>
                    <a:pt x="3589" y="394"/>
                  </a:cubicBezTo>
                  <a:cubicBezTo>
                    <a:pt x="3587" y="404"/>
                    <a:pt x="3587" y="404"/>
                    <a:pt x="3587" y="404"/>
                  </a:cubicBezTo>
                  <a:cubicBezTo>
                    <a:pt x="3550" y="393"/>
                    <a:pt x="3550" y="393"/>
                    <a:pt x="3550" y="393"/>
                  </a:cubicBezTo>
                  <a:cubicBezTo>
                    <a:pt x="3533" y="381"/>
                    <a:pt x="3533" y="381"/>
                    <a:pt x="3533" y="381"/>
                  </a:cubicBezTo>
                  <a:cubicBezTo>
                    <a:pt x="3533" y="381"/>
                    <a:pt x="3571" y="391"/>
                    <a:pt x="3577" y="386"/>
                  </a:cubicBezTo>
                  <a:cubicBezTo>
                    <a:pt x="3583" y="381"/>
                    <a:pt x="3554" y="367"/>
                    <a:pt x="3554" y="367"/>
                  </a:cubicBezTo>
                  <a:cubicBezTo>
                    <a:pt x="3531" y="367"/>
                    <a:pt x="3531" y="367"/>
                    <a:pt x="3531" y="367"/>
                  </a:cubicBezTo>
                  <a:cubicBezTo>
                    <a:pt x="3531" y="367"/>
                    <a:pt x="3542" y="361"/>
                    <a:pt x="3535" y="356"/>
                  </a:cubicBezTo>
                  <a:cubicBezTo>
                    <a:pt x="3528" y="351"/>
                    <a:pt x="3508" y="351"/>
                    <a:pt x="3508" y="351"/>
                  </a:cubicBezTo>
                  <a:cubicBezTo>
                    <a:pt x="3516" y="342"/>
                    <a:pt x="3516" y="342"/>
                    <a:pt x="3516" y="342"/>
                  </a:cubicBezTo>
                  <a:cubicBezTo>
                    <a:pt x="3516" y="342"/>
                    <a:pt x="3484" y="333"/>
                    <a:pt x="3480" y="333"/>
                  </a:cubicBezTo>
                  <a:cubicBezTo>
                    <a:pt x="3476" y="333"/>
                    <a:pt x="3461" y="323"/>
                    <a:pt x="3461" y="323"/>
                  </a:cubicBezTo>
                  <a:cubicBezTo>
                    <a:pt x="3430" y="323"/>
                    <a:pt x="3430" y="323"/>
                    <a:pt x="3430" y="323"/>
                  </a:cubicBezTo>
                  <a:cubicBezTo>
                    <a:pt x="3430" y="323"/>
                    <a:pt x="3439" y="326"/>
                    <a:pt x="3416" y="327"/>
                  </a:cubicBezTo>
                  <a:cubicBezTo>
                    <a:pt x="3393" y="328"/>
                    <a:pt x="3378" y="320"/>
                    <a:pt x="3378" y="320"/>
                  </a:cubicBezTo>
                  <a:cubicBezTo>
                    <a:pt x="3364" y="326"/>
                    <a:pt x="3364" y="326"/>
                    <a:pt x="3364" y="326"/>
                  </a:cubicBezTo>
                  <a:cubicBezTo>
                    <a:pt x="3362" y="317"/>
                    <a:pt x="3362" y="317"/>
                    <a:pt x="3362" y="317"/>
                  </a:cubicBezTo>
                  <a:cubicBezTo>
                    <a:pt x="3330" y="311"/>
                    <a:pt x="3330" y="311"/>
                    <a:pt x="3330" y="311"/>
                  </a:cubicBezTo>
                  <a:cubicBezTo>
                    <a:pt x="3323" y="305"/>
                    <a:pt x="3323" y="305"/>
                    <a:pt x="3323" y="305"/>
                  </a:cubicBezTo>
                  <a:cubicBezTo>
                    <a:pt x="3318" y="318"/>
                    <a:pt x="3318" y="318"/>
                    <a:pt x="3318" y="318"/>
                  </a:cubicBezTo>
                  <a:cubicBezTo>
                    <a:pt x="3309" y="319"/>
                    <a:pt x="3309" y="319"/>
                    <a:pt x="3309" y="319"/>
                  </a:cubicBezTo>
                  <a:cubicBezTo>
                    <a:pt x="3327" y="334"/>
                    <a:pt x="3327" y="334"/>
                    <a:pt x="3327" y="334"/>
                  </a:cubicBezTo>
                  <a:cubicBezTo>
                    <a:pt x="3344" y="354"/>
                    <a:pt x="3344" y="354"/>
                    <a:pt x="3344" y="354"/>
                  </a:cubicBezTo>
                  <a:cubicBezTo>
                    <a:pt x="3310" y="350"/>
                    <a:pt x="3310" y="350"/>
                    <a:pt x="3310" y="350"/>
                  </a:cubicBezTo>
                  <a:cubicBezTo>
                    <a:pt x="3306" y="344"/>
                    <a:pt x="3306" y="344"/>
                    <a:pt x="3306" y="344"/>
                  </a:cubicBezTo>
                  <a:cubicBezTo>
                    <a:pt x="3262" y="347"/>
                    <a:pt x="3262" y="347"/>
                    <a:pt x="3262" y="347"/>
                  </a:cubicBezTo>
                  <a:cubicBezTo>
                    <a:pt x="3251" y="351"/>
                    <a:pt x="3251" y="351"/>
                    <a:pt x="3251" y="351"/>
                  </a:cubicBezTo>
                  <a:cubicBezTo>
                    <a:pt x="3250" y="343"/>
                    <a:pt x="3250" y="343"/>
                    <a:pt x="3250" y="343"/>
                  </a:cubicBezTo>
                  <a:cubicBezTo>
                    <a:pt x="3221" y="349"/>
                    <a:pt x="3221" y="349"/>
                    <a:pt x="3221" y="349"/>
                  </a:cubicBezTo>
                  <a:cubicBezTo>
                    <a:pt x="3216" y="341"/>
                    <a:pt x="3216" y="341"/>
                    <a:pt x="3216" y="341"/>
                  </a:cubicBezTo>
                  <a:cubicBezTo>
                    <a:pt x="3178" y="342"/>
                    <a:pt x="3178" y="342"/>
                    <a:pt x="3178" y="342"/>
                  </a:cubicBezTo>
                  <a:cubicBezTo>
                    <a:pt x="3156" y="335"/>
                    <a:pt x="3156" y="335"/>
                    <a:pt x="3156" y="335"/>
                  </a:cubicBezTo>
                  <a:cubicBezTo>
                    <a:pt x="3167" y="321"/>
                    <a:pt x="3167" y="321"/>
                    <a:pt x="3167" y="321"/>
                  </a:cubicBezTo>
                  <a:cubicBezTo>
                    <a:pt x="3082" y="320"/>
                    <a:pt x="3082" y="320"/>
                    <a:pt x="3082" y="320"/>
                  </a:cubicBezTo>
                  <a:cubicBezTo>
                    <a:pt x="3077" y="314"/>
                    <a:pt x="3077" y="314"/>
                    <a:pt x="3077" y="314"/>
                  </a:cubicBezTo>
                  <a:cubicBezTo>
                    <a:pt x="3071" y="317"/>
                    <a:pt x="3071" y="317"/>
                    <a:pt x="3071" y="317"/>
                  </a:cubicBezTo>
                  <a:cubicBezTo>
                    <a:pt x="3065" y="313"/>
                    <a:pt x="3065" y="313"/>
                    <a:pt x="3065" y="313"/>
                  </a:cubicBezTo>
                  <a:cubicBezTo>
                    <a:pt x="3030" y="315"/>
                    <a:pt x="3030" y="315"/>
                    <a:pt x="3030" y="315"/>
                  </a:cubicBezTo>
                  <a:cubicBezTo>
                    <a:pt x="3034" y="323"/>
                    <a:pt x="3034" y="323"/>
                    <a:pt x="3034" y="323"/>
                  </a:cubicBezTo>
                  <a:cubicBezTo>
                    <a:pt x="2997" y="319"/>
                    <a:pt x="2997" y="319"/>
                    <a:pt x="2997" y="319"/>
                  </a:cubicBezTo>
                  <a:cubicBezTo>
                    <a:pt x="2987" y="324"/>
                    <a:pt x="2987" y="324"/>
                    <a:pt x="2987" y="324"/>
                  </a:cubicBezTo>
                  <a:cubicBezTo>
                    <a:pt x="3008" y="331"/>
                    <a:pt x="3008" y="331"/>
                    <a:pt x="3008" y="331"/>
                  </a:cubicBezTo>
                  <a:cubicBezTo>
                    <a:pt x="2981" y="330"/>
                    <a:pt x="2981" y="330"/>
                    <a:pt x="2981" y="330"/>
                  </a:cubicBezTo>
                  <a:cubicBezTo>
                    <a:pt x="2978" y="318"/>
                    <a:pt x="2978" y="318"/>
                    <a:pt x="2978" y="318"/>
                  </a:cubicBezTo>
                  <a:cubicBezTo>
                    <a:pt x="2961" y="303"/>
                    <a:pt x="2961" y="303"/>
                    <a:pt x="2961" y="303"/>
                  </a:cubicBezTo>
                  <a:cubicBezTo>
                    <a:pt x="2947" y="303"/>
                    <a:pt x="2947" y="303"/>
                    <a:pt x="2947" y="303"/>
                  </a:cubicBezTo>
                  <a:cubicBezTo>
                    <a:pt x="2954" y="318"/>
                    <a:pt x="2954" y="318"/>
                    <a:pt x="2954" y="318"/>
                  </a:cubicBezTo>
                  <a:cubicBezTo>
                    <a:pt x="2919" y="318"/>
                    <a:pt x="2919" y="318"/>
                    <a:pt x="2919" y="318"/>
                  </a:cubicBezTo>
                  <a:cubicBezTo>
                    <a:pt x="2915" y="313"/>
                    <a:pt x="2915" y="313"/>
                    <a:pt x="2915" y="313"/>
                  </a:cubicBezTo>
                  <a:cubicBezTo>
                    <a:pt x="2906" y="313"/>
                    <a:pt x="2906" y="313"/>
                    <a:pt x="2906" y="313"/>
                  </a:cubicBezTo>
                  <a:cubicBezTo>
                    <a:pt x="2902" y="303"/>
                    <a:pt x="2902" y="303"/>
                    <a:pt x="2902" y="303"/>
                  </a:cubicBezTo>
                  <a:cubicBezTo>
                    <a:pt x="2893" y="303"/>
                    <a:pt x="2893" y="303"/>
                    <a:pt x="2893" y="303"/>
                  </a:cubicBezTo>
                  <a:cubicBezTo>
                    <a:pt x="2882" y="306"/>
                    <a:pt x="2882" y="306"/>
                    <a:pt x="2882" y="306"/>
                  </a:cubicBezTo>
                  <a:cubicBezTo>
                    <a:pt x="2866" y="298"/>
                    <a:pt x="2866" y="298"/>
                    <a:pt x="2866" y="298"/>
                  </a:cubicBezTo>
                  <a:cubicBezTo>
                    <a:pt x="2846" y="312"/>
                    <a:pt x="2846" y="312"/>
                    <a:pt x="2846" y="312"/>
                  </a:cubicBezTo>
                  <a:cubicBezTo>
                    <a:pt x="2882" y="316"/>
                    <a:pt x="2882" y="316"/>
                    <a:pt x="2882" y="316"/>
                  </a:cubicBezTo>
                  <a:cubicBezTo>
                    <a:pt x="2890" y="317"/>
                    <a:pt x="2890" y="317"/>
                    <a:pt x="2890" y="317"/>
                  </a:cubicBezTo>
                  <a:cubicBezTo>
                    <a:pt x="2890" y="317"/>
                    <a:pt x="2877" y="328"/>
                    <a:pt x="2870" y="328"/>
                  </a:cubicBezTo>
                  <a:cubicBezTo>
                    <a:pt x="2863" y="328"/>
                    <a:pt x="2858" y="327"/>
                    <a:pt x="2852" y="329"/>
                  </a:cubicBezTo>
                  <a:cubicBezTo>
                    <a:pt x="2846" y="331"/>
                    <a:pt x="2844" y="337"/>
                    <a:pt x="2839" y="337"/>
                  </a:cubicBezTo>
                  <a:cubicBezTo>
                    <a:pt x="2834" y="337"/>
                    <a:pt x="2790" y="338"/>
                    <a:pt x="2790" y="338"/>
                  </a:cubicBezTo>
                  <a:cubicBezTo>
                    <a:pt x="2768" y="341"/>
                    <a:pt x="2768" y="341"/>
                    <a:pt x="2768" y="341"/>
                  </a:cubicBezTo>
                  <a:cubicBezTo>
                    <a:pt x="2758" y="358"/>
                    <a:pt x="2758" y="358"/>
                    <a:pt x="2758" y="358"/>
                  </a:cubicBezTo>
                  <a:cubicBezTo>
                    <a:pt x="2742" y="354"/>
                    <a:pt x="2742" y="354"/>
                    <a:pt x="2742" y="354"/>
                  </a:cubicBezTo>
                  <a:cubicBezTo>
                    <a:pt x="2742" y="354"/>
                    <a:pt x="2745" y="338"/>
                    <a:pt x="2753" y="334"/>
                  </a:cubicBezTo>
                  <a:cubicBezTo>
                    <a:pt x="2761" y="330"/>
                    <a:pt x="2773" y="330"/>
                    <a:pt x="2773" y="330"/>
                  </a:cubicBezTo>
                  <a:cubicBezTo>
                    <a:pt x="2778" y="319"/>
                    <a:pt x="2778" y="319"/>
                    <a:pt x="2778" y="319"/>
                  </a:cubicBezTo>
                  <a:cubicBezTo>
                    <a:pt x="2806" y="316"/>
                    <a:pt x="2806" y="316"/>
                    <a:pt x="2806" y="316"/>
                  </a:cubicBezTo>
                  <a:cubicBezTo>
                    <a:pt x="2836" y="294"/>
                    <a:pt x="2836" y="294"/>
                    <a:pt x="2836" y="294"/>
                  </a:cubicBezTo>
                  <a:cubicBezTo>
                    <a:pt x="2836" y="294"/>
                    <a:pt x="2835" y="281"/>
                    <a:pt x="2847" y="276"/>
                  </a:cubicBezTo>
                  <a:cubicBezTo>
                    <a:pt x="2859" y="271"/>
                    <a:pt x="2908" y="272"/>
                    <a:pt x="2906" y="254"/>
                  </a:cubicBezTo>
                  <a:cubicBezTo>
                    <a:pt x="2904" y="236"/>
                    <a:pt x="2889" y="232"/>
                    <a:pt x="2889" y="232"/>
                  </a:cubicBezTo>
                  <a:cubicBezTo>
                    <a:pt x="2862" y="234"/>
                    <a:pt x="2862" y="234"/>
                    <a:pt x="2862" y="234"/>
                  </a:cubicBezTo>
                  <a:cubicBezTo>
                    <a:pt x="2885" y="224"/>
                    <a:pt x="2885" y="224"/>
                    <a:pt x="2885" y="224"/>
                  </a:cubicBezTo>
                  <a:cubicBezTo>
                    <a:pt x="2885" y="224"/>
                    <a:pt x="2865" y="209"/>
                    <a:pt x="2860" y="210"/>
                  </a:cubicBezTo>
                  <a:cubicBezTo>
                    <a:pt x="2855" y="211"/>
                    <a:pt x="2838" y="212"/>
                    <a:pt x="2838" y="212"/>
                  </a:cubicBezTo>
                  <a:cubicBezTo>
                    <a:pt x="2838" y="212"/>
                    <a:pt x="2832" y="196"/>
                    <a:pt x="2819" y="196"/>
                  </a:cubicBezTo>
                  <a:cubicBezTo>
                    <a:pt x="2806" y="196"/>
                    <a:pt x="2792" y="201"/>
                    <a:pt x="2792" y="201"/>
                  </a:cubicBezTo>
                  <a:cubicBezTo>
                    <a:pt x="2756" y="192"/>
                    <a:pt x="2756" y="192"/>
                    <a:pt x="2756" y="192"/>
                  </a:cubicBezTo>
                  <a:cubicBezTo>
                    <a:pt x="2662" y="189"/>
                    <a:pt x="2662" y="189"/>
                    <a:pt x="2662" y="189"/>
                  </a:cubicBezTo>
                  <a:cubicBezTo>
                    <a:pt x="2665" y="201"/>
                    <a:pt x="2665" y="201"/>
                    <a:pt x="2665" y="201"/>
                  </a:cubicBezTo>
                  <a:cubicBezTo>
                    <a:pt x="2620" y="201"/>
                    <a:pt x="2620" y="201"/>
                    <a:pt x="2620" y="201"/>
                  </a:cubicBezTo>
                  <a:cubicBezTo>
                    <a:pt x="2620" y="201"/>
                    <a:pt x="2639" y="184"/>
                    <a:pt x="2627" y="179"/>
                  </a:cubicBezTo>
                  <a:cubicBezTo>
                    <a:pt x="2615" y="174"/>
                    <a:pt x="2564" y="180"/>
                    <a:pt x="2564" y="180"/>
                  </a:cubicBezTo>
                  <a:cubicBezTo>
                    <a:pt x="2523" y="176"/>
                    <a:pt x="2523" y="176"/>
                    <a:pt x="2523" y="176"/>
                  </a:cubicBezTo>
                  <a:cubicBezTo>
                    <a:pt x="2523" y="176"/>
                    <a:pt x="2570" y="174"/>
                    <a:pt x="2564" y="165"/>
                  </a:cubicBezTo>
                  <a:cubicBezTo>
                    <a:pt x="2558" y="156"/>
                    <a:pt x="2511" y="155"/>
                    <a:pt x="2511" y="155"/>
                  </a:cubicBezTo>
                  <a:cubicBezTo>
                    <a:pt x="2483" y="151"/>
                    <a:pt x="2483" y="151"/>
                    <a:pt x="2483" y="151"/>
                  </a:cubicBezTo>
                  <a:cubicBezTo>
                    <a:pt x="2480" y="161"/>
                    <a:pt x="2480" y="161"/>
                    <a:pt x="2480" y="161"/>
                  </a:cubicBezTo>
                  <a:cubicBezTo>
                    <a:pt x="2480" y="161"/>
                    <a:pt x="2431" y="159"/>
                    <a:pt x="2435" y="173"/>
                  </a:cubicBezTo>
                  <a:cubicBezTo>
                    <a:pt x="2439" y="187"/>
                    <a:pt x="2485" y="202"/>
                    <a:pt x="2485" y="202"/>
                  </a:cubicBezTo>
                  <a:cubicBezTo>
                    <a:pt x="2389" y="196"/>
                    <a:pt x="2389" y="196"/>
                    <a:pt x="2389" y="196"/>
                  </a:cubicBezTo>
                  <a:cubicBezTo>
                    <a:pt x="2423" y="210"/>
                    <a:pt x="2423" y="210"/>
                    <a:pt x="2423" y="210"/>
                  </a:cubicBezTo>
                  <a:cubicBezTo>
                    <a:pt x="2388" y="215"/>
                    <a:pt x="2388" y="215"/>
                    <a:pt x="2388" y="215"/>
                  </a:cubicBezTo>
                  <a:cubicBezTo>
                    <a:pt x="2388" y="215"/>
                    <a:pt x="2331" y="233"/>
                    <a:pt x="2321" y="227"/>
                  </a:cubicBezTo>
                  <a:cubicBezTo>
                    <a:pt x="2311" y="221"/>
                    <a:pt x="2326" y="209"/>
                    <a:pt x="2326" y="209"/>
                  </a:cubicBezTo>
                  <a:cubicBezTo>
                    <a:pt x="2326" y="209"/>
                    <a:pt x="2278" y="209"/>
                    <a:pt x="2269" y="211"/>
                  </a:cubicBezTo>
                  <a:cubicBezTo>
                    <a:pt x="2260" y="213"/>
                    <a:pt x="2246" y="225"/>
                    <a:pt x="2246" y="225"/>
                  </a:cubicBezTo>
                  <a:cubicBezTo>
                    <a:pt x="2246" y="225"/>
                    <a:pt x="2183" y="230"/>
                    <a:pt x="2168" y="233"/>
                  </a:cubicBezTo>
                  <a:cubicBezTo>
                    <a:pt x="2153" y="236"/>
                    <a:pt x="2120" y="243"/>
                    <a:pt x="2120" y="243"/>
                  </a:cubicBezTo>
                  <a:cubicBezTo>
                    <a:pt x="2091" y="266"/>
                    <a:pt x="2091" y="266"/>
                    <a:pt x="2091" y="266"/>
                  </a:cubicBezTo>
                  <a:cubicBezTo>
                    <a:pt x="2091" y="266"/>
                    <a:pt x="2059" y="264"/>
                    <a:pt x="2073" y="278"/>
                  </a:cubicBezTo>
                  <a:cubicBezTo>
                    <a:pt x="2087" y="292"/>
                    <a:pt x="2112" y="302"/>
                    <a:pt x="2112" y="302"/>
                  </a:cubicBezTo>
                  <a:cubicBezTo>
                    <a:pt x="2082" y="308"/>
                    <a:pt x="2082" y="308"/>
                    <a:pt x="2082" y="308"/>
                  </a:cubicBezTo>
                  <a:cubicBezTo>
                    <a:pt x="2068" y="317"/>
                    <a:pt x="2068" y="317"/>
                    <a:pt x="2068" y="317"/>
                  </a:cubicBezTo>
                  <a:cubicBezTo>
                    <a:pt x="2001" y="315"/>
                    <a:pt x="2001" y="315"/>
                    <a:pt x="2001" y="315"/>
                  </a:cubicBezTo>
                  <a:cubicBezTo>
                    <a:pt x="1996" y="320"/>
                    <a:pt x="1996" y="320"/>
                    <a:pt x="1996" y="320"/>
                  </a:cubicBezTo>
                  <a:cubicBezTo>
                    <a:pt x="1971" y="311"/>
                    <a:pt x="1971" y="311"/>
                    <a:pt x="1971" y="311"/>
                  </a:cubicBezTo>
                  <a:cubicBezTo>
                    <a:pt x="1960" y="318"/>
                    <a:pt x="1960" y="318"/>
                    <a:pt x="1960" y="318"/>
                  </a:cubicBezTo>
                  <a:cubicBezTo>
                    <a:pt x="1960" y="318"/>
                    <a:pt x="1922" y="314"/>
                    <a:pt x="1920" y="322"/>
                  </a:cubicBezTo>
                  <a:cubicBezTo>
                    <a:pt x="1918" y="330"/>
                    <a:pt x="1919" y="345"/>
                    <a:pt x="1930" y="347"/>
                  </a:cubicBezTo>
                  <a:cubicBezTo>
                    <a:pt x="1941" y="349"/>
                    <a:pt x="1947" y="365"/>
                    <a:pt x="1947" y="365"/>
                  </a:cubicBezTo>
                  <a:cubicBezTo>
                    <a:pt x="1947" y="365"/>
                    <a:pt x="1982" y="375"/>
                    <a:pt x="1991" y="375"/>
                  </a:cubicBezTo>
                  <a:cubicBezTo>
                    <a:pt x="2000" y="375"/>
                    <a:pt x="2019" y="380"/>
                    <a:pt x="2026" y="383"/>
                  </a:cubicBezTo>
                  <a:cubicBezTo>
                    <a:pt x="2033" y="386"/>
                    <a:pt x="2049" y="402"/>
                    <a:pt x="2038" y="402"/>
                  </a:cubicBezTo>
                  <a:cubicBezTo>
                    <a:pt x="2027" y="402"/>
                    <a:pt x="2003" y="404"/>
                    <a:pt x="2003" y="404"/>
                  </a:cubicBezTo>
                  <a:cubicBezTo>
                    <a:pt x="2003" y="404"/>
                    <a:pt x="1957" y="384"/>
                    <a:pt x="1941" y="380"/>
                  </a:cubicBezTo>
                  <a:cubicBezTo>
                    <a:pt x="1925" y="376"/>
                    <a:pt x="1901" y="373"/>
                    <a:pt x="1893" y="373"/>
                  </a:cubicBezTo>
                  <a:cubicBezTo>
                    <a:pt x="1885" y="373"/>
                    <a:pt x="1864" y="371"/>
                    <a:pt x="1866" y="379"/>
                  </a:cubicBezTo>
                  <a:cubicBezTo>
                    <a:pt x="1868" y="387"/>
                    <a:pt x="1894" y="397"/>
                    <a:pt x="1877" y="398"/>
                  </a:cubicBezTo>
                  <a:cubicBezTo>
                    <a:pt x="1860" y="399"/>
                    <a:pt x="1854" y="387"/>
                    <a:pt x="1844" y="387"/>
                  </a:cubicBezTo>
                  <a:cubicBezTo>
                    <a:pt x="1834" y="387"/>
                    <a:pt x="1820" y="377"/>
                    <a:pt x="1819" y="390"/>
                  </a:cubicBezTo>
                  <a:cubicBezTo>
                    <a:pt x="1818" y="403"/>
                    <a:pt x="1832" y="416"/>
                    <a:pt x="1847" y="415"/>
                  </a:cubicBezTo>
                  <a:cubicBezTo>
                    <a:pt x="1862" y="414"/>
                    <a:pt x="1885" y="421"/>
                    <a:pt x="1895" y="421"/>
                  </a:cubicBezTo>
                  <a:cubicBezTo>
                    <a:pt x="1905" y="421"/>
                    <a:pt x="1921" y="437"/>
                    <a:pt x="1921" y="437"/>
                  </a:cubicBezTo>
                  <a:cubicBezTo>
                    <a:pt x="1900" y="437"/>
                    <a:pt x="1900" y="437"/>
                    <a:pt x="1900" y="437"/>
                  </a:cubicBezTo>
                  <a:cubicBezTo>
                    <a:pt x="1900" y="437"/>
                    <a:pt x="1894" y="427"/>
                    <a:pt x="1880" y="427"/>
                  </a:cubicBezTo>
                  <a:cubicBezTo>
                    <a:pt x="1866" y="427"/>
                    <a:pt x="1823" y="425"/>
                    <a:pt x="1823" y="425"/>
                  </a:cubicBezTo>
                  <a:cubicBezTo>
                    <a:pt x="1820" y="417"/>
                    <a:pt x="1820" y="417"/>
                    <a:pt x="1820" y="417"/>
                  </a:cubicBezTo>
                  <a:cubicBezTo>
                    <a:pt x="1803" y="417"/>
                    <a:pt x="1803" y="417"/>
                    <a:pt x="1803" y="417"/>
                  </a:cubicBezTo>
                  <a:cubicBezTo>
                    <a:pt x="1800" y="406"/>
                    <a:pt x="1800" y="406"/>
                    <a:pt x="1800" y="406"/>
                  </a:cubicBezTo>
                  <a:cubicBezTo>
                    <a:pt x="1778" y="395"/>
                    <a:pt x="1778" y="395"/>
                    <a:pt x="1778" y="395"/>
                  </a:cubicBezTo>
                  <a:cubicBezTo>
                    <a:pt x="1778" y="395"/>
                    <a:pt x="1803" y="383"/>
                    <a:pt x="1793" y="374"/>
                  </a:cubicBezTo>
                  <a:cubicBezTo>
                    <a:pt x="1783" y="365"/>
                    <a:pt x="1769" y="354"/>
                    <a:pt x="1769" y="354"/>
                  </a:cubicBezTo>
                  <a:cubicBezTo>
                    <a:pt x="1748" y="353"/>
                    <a:pt x="1748" y="353"/>
                    <a:pt x="1748" y="353"/>
                  </a:cubicBezTo>
                  <a:cubicBezTo>
                    <a:pt x="1748" y="353"/>
                    <a:pt x="1778" y="370"/>
                    <a:pt x="1769" y="378"/>
                  </a:cubicBezTo>
                  <a:cubicBezTo>
                    <a:pt x="1760" y="386"/>
                    <a:pt x="1740" y="389"/>
                    <a:pt x="1740" y="389"/>
                  </a:cubicBezTo>
                  <a:cubicBezTo>
                    <a:pt x="1727" y="416"/>
                    <a:pt x="1727" y="416"/>
                    <a:pt x="1727" y="416"/>
                  </a:cubicBezTo>
                  <a:cubicBezTo>
                    <a:pt x="1776" y="441"/>
                    <a:pt x="1776" y="441"/>
                    <a:pt x="1776" y="441"/>
                  </a:cubicBezTo>
                  <a:cubicBezTo>
                    <a:pt x="1776" y="441"/>
                    <a:pt x="1789" y="436"/>
                    <a:pt x="1789" y="442"/>
                  </a:cubicBezTo>
                  <a:cubicBezTo>
                    <a:pt x="1789" y="448"/>
                    <a:pt x="1782" y="479"/>
                    <a:pt x="1782" y="479"/>
                  </a:cubicBezTo>
                  <a:cubicBezTo>
                    <a:pt x="1789" y="492"/>
                    <a:pt x="1789" y="492"/>
                    <a:pt x="1789" y="492"/>
                  </a:cubicBezTo>
                  <a:cubicBezTo>
                    <a:pt x="1813" y="496"/>
                    <a:pt x="1813" y="496"/>
                    <a:pt x="1813" y="496"/>
                  </a:cubicBezTo>
                  <a:cubicBezTo>
                    <a:pt x="1812" y="514"/>
                    <a:pt x="1812" y="514"/>
                    <a:pt x="1812" y="514"/>
                  </a:cubicBezTo>
                  <a:cubicBezTo>
                    <a:pt x="1852" y="522"/>
                    <a:pt x="1852" y="522"/>
                    <a:pt x="1852" y="522"/>
                  </a:cubicBezTo>
                  <a:cubicBezTo>
                    <a:pt x="1852" y="522"/>
                    <a:pt x="1882" y="510"/>
                    <a:pt x="1896" y="511"/>
                  </a:cubicBezTo>
                  <a:cubicBezTo>
                    <a:pt x="1910" y="512"/>
                    <a:pt x="1928" y="524"/>
                    <a:pt x="1928" y="524"/>
                  </a:cubicBezTo>
                  <a:cubicBezTo>
                    <a:pt x="1928" y="524"/>
                    <a:pt x="1957" y="528"/>
                    <a:pt x="1970" y="537"/>
                  </a:cubicBezTo>
                  <a:cubicBezTo>
                    <a:pt x="1983" y="546"/>
                    <a:pt x="1986" y="557"/>
                    <a:pt x="1986" y="557"/>
                  </a:cubicBezTo>
                  <a:cubicBezTo>
                    <a:pt x="1986" y="557"/>
                    <a:pt x="1953" y="561"/>
                    <a:pt x="1966" y="569"/>
                  </a:cubicBezTo>
                  <a:cubicBezTo>
                    <a:pt x="1979" y="577"/>
                    <a:pt x="1993" y="584"/>
                    <a:pt x="1993" y="584"/>
                  </a:cubicBezTo>
                  <a:cubicBezTo>
                    <a:pt x="2021" y="583"/>
                    <a:pt x="2021" y="583"/>
                    <a:pt x="2021" y="583"/>
                  </a:cubicBezTo>
                  <a:cubicBezTo>
                    <a:pt x="2021" y="583"/>
                    <a:pt x="2005" y="591"/>
                    <a:pt x="1992" y="591"/>
                  </a:cubicBezTo>
                  <a:cubicBezTo>
                    <a:pt x="1979" y="591"/>
                    <a:pt x="1963" y="582"/>
                    <a:pt x="1963" y="582"/>
                  </a:cubicBezTo>
                  <a:cubicBezTo>
                    <a:pt x="1963" y="582"/>
                    <a:pt x="1964" y="559"/>
                    <a:pt x="1949" y="550"/>
                  </a:cubicBezTo>
                  <a:cubicBezTo>
                    <a:pt x="1934" y="541"/>
                    <a:pt x="1922" y="536"/>
                    <a:pt x="1922" y="536"/>
                  </a:cubicBezTo>
                  <a:cubicBezTo>
                    <a:pt x="1922" y="536"/>
                    <a:pt x="1918" y="521"/>
                    <a:pt x="1906" y="522"/>
                  </a:cubicBezTo>
                  <a:cubicBezTo>
                    <a:pt x="1894" y="523"/>
                    <a:pt x="1862" y="529"/>
                    <a:pt x="1862" y="529"/>
                  </a:cubicBezTo>
                  <a:cubicBezTo>
                    <a:pt x="1862" y="529"/>
                    <a:pt x="1844" y="531"/>
                    <a:pt x="1845" y="542"/>
                  </a:cubicBezTo>
                  <a:cubicBezTo>
                    <a:pt x="1846" y="553"/>
                    <a:pt x="1878" y="571"/>
                    <a:pt x="1878" y="575"/>
                  </a:cubicBezTo>
                  <a:cubicBezTo>
                    <a:pt x="1878" y="579"/>
                    <a:pt x="1859" y="591"/>
                    <a:pt x="1859" y="591"/>
                  </a:cubicBezTo>
                  <a:cubicBezTo>
                    <a:pt x="1857" y="620"/>
                    <a:pt x="1857" y="620"/>
                    <a:pt x="1857" y="620"/>
                  </a:cubicBezTo>
                  <a:cubicBezTo>
                    <a:pt x="1829" y="634"/>
                    <a:pt x="1829" y="634"/>
                    <a:pt x="1829" y="634"/>
                  </a:cubicBezTo>
                  <a:cubicBezTo>
                    <a:pt x="1829" y="634"/>
                    <a:pt x="1823" y="655"/>
                    <a:pt x="1810" y="649"/>
                  </a:cubicBezTo>
                  <a:cubicBezTo>
                    <a:pt x="1797" y="643"/>
                    <a:pt x="1771" y="645"/>
                    <a:pt x="1771" y="645"/>
                  </a:cubicBezTo>
                  <a:cubicBezTo>
                    <a:pt x="1733" y="641"/>
                    <a:pt x="1733" y="641"/>
                    <a:pt x="1733" y="641"/>
                  </a:cubicBezTo>
                  <a:cubicBezTo>
                    <a:pt x="1733" y="641"/>
                    <a:pt x="1690" y="626"/>
                    <a:pt x="1701" y="625"/>
                  </a:cubicBezTo>
                  <a:cubicBezTo>
                    <a:pt x="1712" y="624"/>
                    <a:pt x="1735" y="623"/>
                    <a:pt x="1735" y="623"/>
                  </a:cubicBezTo>
                  <a:cubicBezTo>
                    <a:pt x="1748" y="627"/>
                    <a:pt x="1748" y="627"/>
                    <a:pt x="1748" y="627"/>
                  </a:cubicBezTo>
                  <a:cubicBezTo>
                    <a:pt x="1763" y="616"/>
                    <a:pt x="1763" y="616"/>
                    <a:pt x="1763" y="616"/>
                  </a:cubicBezTo>
                  <a:cubicBezTo>
                    <a:pt x="1763" y="616"/>
                    <a:pt x="1801" y="625"/>
                    <a:pt x="1801" y="614"/>
                  </a:cubicBezTo>
                  <a:cubicBezTo>
                    <a:pt x="1801" y="603"/>
                    <a:pt x="1803" y="588"/>
                    <a:pt x="1803" y="588"/>
                  </a:cubicBezTo>
                  <a:cubicBezTo>
                    <a:pt x="1819" y="583"/>
                    <a:pt x="1819" y="583"/>
                    <a:pt x="1819" y="583"/>
                  </a:cubicBezTo>
                  <a:cubicBezTo>
                    <a:pt x="1821" y="569"/>
                    <a:pt x="1821" y="569"/>
                    <a:pt x="1821" y="569"/>
                  </a:cubicBezTo>
                  <a:cubicBezTo>
                    <a:pt x="1810" y="567"/>
                    <a:pt x="1810" y="567"/>
                    <a:pt x="1810" y="567"/>
                  </a:cubicBezTo>
                  <a:cubicBezTo>
                    <a:pt x="1810" y="567"/>
                    <a:pt x="1826" y="547"/>
                    <a:pt x="1816" y="543"/>
                  </a:cubicBezTo>
                  <a:cubicBezTo>
                    <a:pt x="1806" y="539"/>
                    <a:pt x="1763" y="541"/>
                    <a:pt x="1761" y="525"/>
                  </a:cubicBezTo>
                  <a:cubicBezTo>
                    <a:pt x="1759" y="509"/>
                    <a:pt x="1761" y="490"/>
                    <a:pt x="1752" y="485"/>
                  </a:cubicBezTo>
                  <a:cubicBezTo>
                    <a:pt x="1743" y="480"/>
                    <a:pt x="1730" y="464"/>
                    <a:pt x="1730" y="464"/>
                  </a:cubicBezTo>
                  <a:cubicBezTo>
                    <a:pt x="1726" y="440"/>
                    <a:pt x="1726" y="440"/>
                    <a:pt x="1726" y="440"/>
                  </a:cubicBezTo>
                  <a:cubicBezTo>
                    <a:pt x="1684" y="417"/>
                    <a:pt x="1684" y="417"/>
                    <a:pt x="1684" y="417"/>
                  </a:cubicBezTo>
                  <a:cubicBezTo>
                    <a:pt x="1684" y="417"/>
                    <a:pt x="1711" y="396"/>
                    <a:pt x="1697" y="376"/>
                  </a:cubicBezTo>
                  <a:cubicBezTo>
                    <a:pt x="1683" y="356"/>
                    <a:pt x="1651" y="356"/>
                    <a:pt x="1651" y="356"/>
                  </a:cubicBezTo>
                  <a:cubicBezTo>
                    <a:pt x="1562" y="348"/>
                    <a:pt x="1562" y="348"/>
                    <a:pt x="1562" y="348"/>
                  </a:cubicBezTo>
                  <a:cubicBezTo>
                    <a:pt x="1555" y="368"/>
                    <a:pt x="1555" y="368"/>
                    <a:pt x="1555" y="368"/>
                  </a:cubicBezTo>
                  <a:cubicBezTo>
                    <a:pt x="1566" y="379"/>
                    <a:pt x="1566" y="379"/>
                    <a:pt x="1566" y="379"/>
                  </a:cubicBezTo>
                  <a:cubicBezTo>
                    <a:pt x="1561" y="402"/>
                    <a:pt x="1561" y="402"/>
                    <a:pt x="1561" y="402"/>
                  </a:cubicBezTo>
                  <a:cubicBezTo>
                    <a:pt x="1523" y="418"/>
                    <a:pt x="1523" y="418"/>
                    <a:pt x="1523" y="418"/>
                  </a:cubicBezTo>
                  <a:cubicBezTo>
                    <a:pt x="1517" y="437"/>
                    <a:pt x="1517" y="437"/>
                    <a:pt x="1517" y="437"/>
                  </a:cubicBezTo>
                  <a:cubicBezTo>
                    <a:pt x="1538" y="439"/>
                    <a:pt x="1538" y="439"/>
                    <a:pt x="1538" y="439"/>
                  </a:cubicBezTo>
                  <a:cubicBezTo>
                    <a:pt x="1561" y="474"/>
                    <a:pt x="1561" y="474"/>
                    <a:pt x="1561" y="474"/>
                  </a:cubicBezTo>
                  <a:cubicBezTo>
                    <a:pt x="1552" y="486"/>
                    <a:pt x="1552" y="486"/>
                    <a:pt x="1552" y="486"/>
                  </a:cubicBezTo>
                  <a:cubicBezTo>
                    <a:pt x="1571" y="501"/>
                    <a:pt x="1571" y="501"/>
                    <a:pt x="1571" y="501"/>
                  </a:cubicBezTo>
                  <a:cubicBezTo>
                    <a:pt x="1594" y="495"/>
                    <a:pt x="1594" y="495"/>
                    <a:pt x="1594" y="495"/>
                  </a:cubicBezTo>
                  <a:cubicBezTo>
                    <a:pt x="1594" y="495"/>
                    <a:pt x="1612" y="516"/>
                    <a:pt x="1625" y="519"/>
                  </a:cubicBezTo>
                  <a:cubicBezTo>
                    <a:pt x="1638" y="522"/>
                    <a:pt x="1651" y="522"/>
                    <a:pt x="1651" y="522"/>
                  </a:cubicBezTo>
                  <a:cubicBezTo>
                    <a:pt x="1648" y="559"/>
                    <a:pt x="1648" y="559"/>
                    <a:pt x="1648" y="559"/>
                  </a:cubicBezTo>
                  <a:cubicBezTo>
                    <a:pt x="1635" y="545"/>
                    <a:pt x="1635" y="545"/>
                    <a:pt x="1635" y="545"/>
                  </a:cubicBezTo>
                  <a:cubicBezTo>
                    <a:pt x="1625" y="551"/>
                    <a:pt x="1625" y="551"/>
                    <a:pt x="1625" y="551"/>
                  </a:cubicBezTo>
                  <a:cubicBezTo>
                    <a:pt x="1625" y="551"/>
                    <a:pt x="1572" y="524"/>
                    <a:pt x="1556" y="521"/>
                  </a:cubicBezTo>
                  <a:cubicBezTo>
                    <a:pt x="1540" y="518"/>
                    <a:pt x="1516" y="520"/>
                    <a:pt x="1516" y="520"/>
                  </a:cubicBezTo>
                  <a:cubicBezTo>
                    <a:pt x="1505" y="508"/>
                    <a:pt x="1505" y="508"/>
                    <a:pt x="1505" y="508"/>
                  </a:cubicBezTo>
                  <a:cubicBezTo>
                    <a:pt x="1499" y="522"/>
                    <a:pt x="1499" y="522"/>
                    <a:pt x="1499" y="522"/>
                  </a:cubicBezTo>
                  <a:cubicBezTo>
                    <a:pt x="1483" y="504"/>
                    <a:pt x="1483" y="504"/>
                    <a:pt x="1483" y="504"/>
                  </a:cubicBezTo>
                  <a:cubicBezTo>
                    <a:pt x="1483" y="504"/>
                    <a:pt x="1441" y="490"/>
                    <a:pt x="1434" y="490"/>
                  </a:cubicBezTo>
                  <a:cubicBezTo>
                    <a:pt x="1427" y="490"/>
                    <a:pt x="1406" y="491"/>
                    <a:pt x="1406" y="491"/>
                  </a:cubicBezTo>
                  <a:cubicBezTo>
                    <a:pt x="1406" y="491"/>
                    <a:pt x="1357" y="485"/>
                    <a:pt x="1353" y="488"/>
                  </a:cubicBezTo>
                  <a:cubicBezTo>
                    <a:pt x="1349" y="491"/>
                    <a:pt x="1340" y="491"/>
                    <a:pt x="1340" y="499"/>
                  </a:cubicBezTo>
                  <a:cubicBezTo>
                    <a:pt x="1340" y="507"/>
                    <a:pt x="1366" y="521"/>
                    <a:pt x="1366" y="521"/>
                  </a:cubicBezTo>
                  <a:cubicBezTo>
                    <a:pt x="1353" y="541"/>
                    <a:pt x="1353" y="541"/>
                    <a:pt x="1353" y="541"/>
                  </a:cubicBezTo>
                  <a:cubicBezTo>
                    <a:pt x="1344" y="534"/>
                    <a:pt x="1344" y="534"/>
                    <a:pt x="1344" y="534"/>
                  </a:cubicBezTo>
                  <a:cubicBezTo>
                    <a:pt x="1344" y="551"/>
                    <a:pt x="1344" y="551"/>
                    <a:pt x="1344" y="551"/>
                  </a:cubicBezTo>
                  <a:cubicBezTo>
                    <a:pt x="1344" y="551"/>
                    <a:pt x="1320" y="550"/>
                    <a:pt x="1320" y="545"/>
                  </a:cubicBezTo>
                  <a:cubicBezTo>
                    <a:pt x="1320" y="540"/>
                    <a:pt x="1325" y="518"/>
                    <a:pt x="1311" y="519"/>
                  </a:cubicBezTo>
                  <a:cubicBezTo>
                    <a:pt x="1297" y="520"/>
                    <a:pt x="1261" y="543"/>
                    <a:pt x="1256" y="546"/>
                  </a:cubicBezTo>
                  <a:cubicBezTo>
                    <a:pt x="1251" y="549"/>
                    <a:pt x="1240" y="535"/>
                    <a:pt x="1219" y="537"/>
                  </a:cubicBezTo>
                  <a:cubicBezTo>
                    <a:pt x="1198" y="539"/>
                    <a:pt x="1174" y="550"/>
                    <a:pt x="1172" y="558"/>
                  </a:cubicBezTo>
                  <a:cubicBezTo>
                    <a:pt x="1170" y="566"/>
                    <a:pt x="1123" y="562"/>
                    <a:pt x="1123" y="562"/>
                  </a:cubicBezTo>
                  <a:cubicBezTo>
                    <a:pt x="1131" y="545"/>
                    <a:pt x="1131" y="545"/>
                    <a:pt x="1131" y="545"/>
                  </a:cubicBezTo>
                  <a:cubicBezTo>
                    <a:pt x="1130" y="521"/>
                    <a:pt x="1130" y="521"/>
                    <a:pt x="1130" y="521"/>
                  </a:cubicBezTo>
                  <a:cubicBezTo>
                    <a:pt x="1130" y="521"/>
                    <a:pt x="1086" y="529"/>
                    <a:pt x="1086" y="538"/>
                  </a:cubicBezTo>
                  <a:cubicBezTo>
                    <a:pt x="1086" y="547"/>
                    <a:pt x="1092" y="554"/>
                    <a:pt x="1092" y="554"/>
                  </a:cubicBezTo>
                  <a:cubicBezTo>
                    <a:pt x="1074" y="555"/>
                    <a:pt x="1074" y="555"/>
                    <a:pt x="1074" y="555"/>
                  </a:cubicBezTo>
                  <a:cubicBezTo>
                    <a:pt x="1074" y="540"/>
                    <a:pt x="1074" y="540"/>
                    <a:pt x="1074" y="540"/>
                  </a:cubicBezTo>
                  <a:cubicBezTo>
                    <a:pt x="1060" y="545"/>
                    <a:pt x="1060" y="545"/>
                    <a:pt x="1060" y="545"/>
                  </a:cubicBezTo>
                  <a:cubicBezTo>
                    <a:pt x="1025" y="548"/>
                    <a:pt x="1025" y="548"/>
                    <a:pt x="1025" y="548"/>
                  </a:cubicBezTo>
                  <a:cubicBezTo>
                    <a:pt x="996" y="568"/>
                    <a:pt x="996" y="568"/>
                    <a:pt x="996" y="568"/>
                  </a:cubicBezTo>
                  <a:cubicBezTo>
                    <a:pt x="963" y="571"/>
                    <a:pt x="963" y="571"/>
                    <a:pt x="963" y="571"/>
                  </a:cubicBezTo>
                  <a:cubicBezTo>
                    <a:pt x="970" y="584"/>
                    <a:pt x="970" y="584"/>
                    <a:pt x="970" y="584"/>
                  </a:cubicBezTo>
                  <a:cubicBezTo>
                    <a:pt x="970" y="584"/>
                    <a:pt x="944" y="578"/>
                    <a:pt x="941" y="589"/>
                  </a:cubicBezTo>
                  <a:cubicBezTo>
                    <a:pt x="938" y="600"/>
                    <a:pt x="941" y="615"/>
                    <a:pt x="941" y="615"/>
                  </a:cubicBezTo>
                  <a:cubicBezTo>
                    <a:pt x="890" y="621"/>
                    <a:pt x="890" y="621"/>
                    <a:pt x="890" y="621"/>
                  </a:cubicBezTo>
                  <a:cubicBezTo>
                    <a:pt x="890" y="621"/>
                    <a:pt x="875" y="610"/>
                    <a:pt x="870" y="609"/>
                  </a:cubicBezTo>
                  <a:cubicBezTo>
                    <a:pt x="865" y="608"/>
                    <a:pt x="843" y="614"/>
                    <a:pt x="843" y="600"/>
                  </a:cubicBezTo>
                  <a:cubicBezTo>
                    <a:pt x="843" y="586"/>
                    <a:pt x="843" y="569"/>
                    <a:pt x="860" y="575"/>
                  </a:cubicBezTo>
                  <a:cubicBezTo>
                    <a:pt x="877" y="581"/>
                    <a:pt x="898" y="575"/>
                    <a:pt x="898" y="575"/>
                  </a:cubicBezTo>
                  <a:cubicBezTo>
                    <a:pt x="898" y="575"/>
                    <a:pt x="860" y="544"/>
                    <a:pt x="854" y="541"/>
                  </a:cubicBezTo>
                  <a:cubicBezTo>
                    <a:pt x="848" y="538"/>
                    <a:pt x="773" y="539"/>
                    <a:pt x="773" y="539"/>
                  </a:cubicBezTo>
                  <a:cubicBezTo>
                    <a:pt x="779" y="548"/>
                    <a:pt x="779" y="548"/>
                    <a:pt x="779" y="548"/>
                  </a:cubicBezTo>
                  <a:cubicBezTo>
                    <a:pt x="779" y="548"/>
                    <a:pt x="810" y="543"/>
                    <a:pt x="805" y="563"/>
                  </a:cubicBezTo>
                  <a:cubicBezTo>
                    <a:pt x="800" y="583"/>
                    <a:pt x="790" y="612"/>
                    <a:pt x="797" y="612"/>
                  </a:cubicBezTo>
                  <a:cubicBezTo>
                    <a:pt x="804" y="612"/>
                    <a:pt x="830" y="620"/>
                    <a:pt x="830" y="620"/>
                  </a:cubicBezTo>
                  <a:cubicBezTo>
                    <a:pt x="828" y="645"/>
                    <a:pt x="828" y="645"/>
                    <a:pt x="828" y="645"/>
                  </a:cubicBezTo>
                  <a:cubicBezTo>
                    <a:pt x="834" y="664"/>
                    <a:pt x="834" y="664"/>
                    <a:pt x="834" y="664"/>
                  </a:cubicBezTo>
                  <a:cubicBezTo>
                    <a:pt x="813" y="650"/>
                    <a:pt x="813" y="650"/>
                    <a:pt x="813" y="650"/>
                  </a:cubicBezTo>
                  <a:cubicBezTo>
                    <a:pt x="798" y="666"/>
                    <a:pt x="798" y="666"/>
                    <a:pt x="798" y="666"/>
                  </a:cubicBezTo>
                  <a:cubicBezTo>
                    <a:pt x="795" y="644"/>
                    <a:pt x="795" y="644"/>
                    <a:pt x="795" y="644"/>
                  </a:cubicBezTo>
                  <a:cubicBezTo>
                    <a:pt x="749" y="632"/>
                    <a:pt x="749" y="632"/>
                    <a:pt x="749" y="632"/>
                  </a:cubicBezTo>
                  <a:cubicBezTo>
                    <a:pt x="729" y="657"/>
                    <a:pt x="729" y="657"/>
                    <a:pt x="729" y="657"/>
                  </a:cubicBezTo>
                  <a:cubicBezTo>
                    <a:pt x="711" y="658"/>
                    <a:pt x="711" y="658"/>
                    <a:pt x="711" y="658"/>
                  </a:cubicBezTo>
                  <a:cubicBezTo>
                    <a:pt x="711" y="658"/>
                    <a:pt x="705" y="669"/>
                    <a:pt x="695" y="673"/>
                  </a:cubicBezTo>
                  <a:cubicBezTo>
                    <a:pt x="685" y="677"/>
                    <a:pt x="665" y="681"/>
                    <a:pt x="673" y="688"/>
                  </a:cubicBezTo>
                  <a:cubicBezTo>
                    <a:pt x="681" y="695"/>
                    <a:pt x="713" y="718"/>
                    <a:pt x="713" y="718"/>
                  </a:cubicBezTo>
                  <a:cubicBezTo>
                    <a:pt x="725" y="735"/>
                    <a:pt x="725" y="735"/>
                    <a:pt x="725" y="735"/>
                  </a:cubicBezTo>
                  <a:cubicBezTo>
                    <a:pt x="705" y="726"/>
                    <a:pt x="705" y="726"/>
                    <a:pt x="705" y="726"/>
                  </a:cubicBezTo>
                  <a:cubicBezTo>
                    <a:pt x="705" y="726"/>
                    <a:pt x="687" y="736"/>
                    <a:pt x="674" y="730"/>
                  </a:cubicBezTo>
                  <a:cubicBezTo>
                    <a:pt x="661" y="724"/>
                    <a:pt x="618" y="717"/>
                    <a:pt x="618" y="717"/>
                  </a:cubicBezTo>
                  <a:cubicBezTo>
                    <a:pt x="618" y="717"/>
                    <a:pt x="612" y="693"/>
                    <a:pt x="597" y="699"/>
                  </a:cubicBezTo>
                  <a:cubicBezTo>
                    <a:pt x="582" y="705"/>
                    <a:pt x="574" y="711"/>
                    <a:pt x="574" y="711"/>
                  </a:cubicBezTo>
                  <a:cubicBezTo>
                    <a:pt x="562" y="712"/>
                    <a:pt x="562" y="712"/>
                    <a:pt x="562" y="712"/>
                  </a:cubicBezTo>
                  <a:cubicBezTo>
                    <a:pt x="592" y="738"/>
                    <a:pt x="592" y="738"/>
                    <a:pt x="592" y="738"/>
                  </a:cubicBezTo>
                  <a:cubicBezTo>
                    <a:pt x="592" y="738"/>
                    <a:pt x="632" y="739"/>
                    <a:pt x="632" y="746"/>
                  </a:cubicBezTo>
                  <a:cubicBezTo>
                    <a:pt x="632" y="753"/>
                    <a:pt x="614" y="764"/>
                    <a:pt x="614" y="764"/>
                  </a:cubicBezTo>
                  <a:cubicBezTo>
                    <a:pt x="572" y="754"/>
                    <a:pt x="572" y="754"/>
                    <a:pt x="572" y="754"/>
                  </a:cubicBezTo>
                  <a:cubicBezTo>
                    <a:pt x="572" y="754"/>
                    <a:pt x="557" y="740"/>
                    <a:pt x="547" y="739"/>
                  </a:cubicBezTo>
                  <a:cubicBezTo>
                    <a:pt x="537" y="738"/>
                    <a:pt x="511" y="749"/>
                    <a:pt x="509" y="735"/>
                  </a:cubicBezTo>
                  <a:cubicBezTo>
                    <a:pt x="507" y="721"/>
                    <a:pt x="508" y="705"/>
                    <a:pt x="508" y="705"/>
                  </a:cubicBezTo>
                  <a:cubicBezTo>
                    <a:pt x="495" y="697"/>
                    <a:pt x="495" y="697"/>
                    <a:pt x="495" y="697"/>
                  </a:cubicBezTo>
                  <a:cubicBezTo>
                    <a:pt x="495" y="697"/>
                    <a:pt x="516" y="679"/>
                    <a:pt x="508" y="670"/>
                  </a:cubicBezTo>
                  <a:cubicBezTo>
                    <a:pt x="500" y="661"/>
                    <a:pt x="444" y="646"/>
                    <a:pt x="444" y="646"/>
                  </a:cubicBezTo>
                  <a:cubicBezTo>
                    <a:pt x="424" y="631"/>
                    <a:pt x="424" y="631"/>
                    <a:pt x="424" y="631"/>
                  </a:cubicBezTo>
                  <a:cubicBezTo>
                    <a:pt x="408" y="620"/>
                    <a:pt x="408" y="620"/>
                    <a:pt x="408" y="620"/>
                  </a:cubicBezTo>
                  <a:cubicBezTo>
                    <a:pt x="398" y="610"/>
                    <a:pt x="398" y="610"/>
                    <a:pt x="398" y="610"/>
                  </a:cubicBezTo>
                  <a:cubicBezTo>
                    <a:pt x="424" y="609"/>
                    <a:pt x="424" y="609"/>
                    <a:pt x="424" y="609"/>
                  </a:cubicBezTo>
                  <a:cubicBezTo>
                    <a:pt x="424" y="609"/>
                    <a:pt x="419" y="618"/>
                    <a:pt x="438" y="622"/>
                  </a:cubicBezTo>
                  <a:cubicBezTo>
                    <a:pt x="457" y="626"/>
                    <a:pt x="482" y="623"/>
                    <a:pt x="482" y="623"/>
                  </a:cubicBezTo>
                  <a:cubicBezTo>
                    <a:pt x="482" y="623"/>
                    <a:pt x="498" y="641"/>
                    <a:pt x="510" y="643"/>
                  </a:cubicBezTo>
                  <a:cubicBezTo>
                    <a:pt x="522" y="645"/>
                    <a:pt x="576" y="650"/>
                    <a:pt x="576" y="650"/>
                  </a:cubicBezTo>
                  <a:cubicBezTo>
                    <a:pt x="576" y="650"/>
                    <a:pt x="613" y="666"/>
                    <a:pt x="656" y="655"/>
                  </a:cubicBezTo>
                  <a:cubicBezTo>
                    <a:pt x="699" y="644"/>
                    <a:pt x="741" y="629"/>
                    <a:pt x="719" y="609"/>
                  </a:cubicBezTo>
                  <a:cubicBezTo>
                    <a:pt x="697" y="589"/>
                    <a:pt x="696" y="576"/>
                    <a:pt x="667" y="570"/>
                  </a:cubicBezTo>
                  <a:cubicBezTo>
                    <a:pt x="638" y="564"/>
                    <a:pt x="598" y="549"/>
                    <a:pt x="579" y="542"/>
                  </a:cubicBezTo>
                  <a:cubicBezTo>
                    <a:pt x="560" y="535"/>
                    <a:pt x="526" y="518"/>
                    <a:pt x="506" y="517"/>
                  </a:cubicBezTo>
                  <a:cubicBezTo>
                    <a:pt x="486" y="516"/>
                    <a:pt x="467" y="516"/>
                    <a:pt x="455" y="516"/>
                  </a:cubicBezTo>
                  <a:cubicBezTo>
                    <a:pt x="443" y="516"/>
                    <a:pt x="421" y="516"/>
                    <a:pt x="421" y="516"/>
                  </a:cubicBezTo>
                  <a:cubicBezTo>
                    <a:pt x="413" y="506"/>
                    <a:pt x="413" y="506"/>
                    <a:pt x="413" y="506"/>
                  </a:cubicBezTo>
                  <a:cubicBezTo>
                    <a:pt x="394" y="507"/>
                    <a:pt x="394" y="507"/>
                    <a:pt x="394" y="507"/>
                  </a:cubicBezTo>
                  <a:cubicBezTo>
                    <a:pt x="373" y="498"/>
                    <a:pt x="373" y="498"/>
                    <a:pt x="373" y="498"/>
                  </a:cubicBezTo>
                  <a:cubicBezTo>
                    <a:pt x="394" y="493"/>
                    <a:pt x="394" y="493"/>
                    <a:pt x="394" y="493"/>
                  </a:cubicBezTo>
                  <a:cubicBezTo>
                    <a:pt x="406" y="485"/>
                    <a:pt x="406" y="485"/>
                    <a:pt x="406" y="485"/>
                  </a:cubicBezTo>
                  <a:cubicBezTo>
                    <a:pt x="406" y="485"/>
                    <a:pt x="363" y="469"/>
                    <a:pt x="357" y="475"/>
                  </a:cubicBezTo>
                  <a:cubicBezTo>
                    <a:pt x="351" y="481"/>
                    <a:pt x="348" y="490"/>
                    <a:pt x="348" y="490"/>
                  </a:cubicBezTo>
                  <a:cubicBezTo>
                    <a:pt x="335" y="490"/>
                    <a:pt x="335" y="490"/>
                    <a:pt x="335" y="490"/>
                  </a:cubicBezTo>
                  <a:cubicBezTo>
                    <a:pt x="333" y="493"/>
                    <a:pt x="329" y="497"/>
                    <a:pt x="321" y="498"/>
                  </a:cubicBezTo>
                  <a:cubicBezTo>
                    <a:pt x="303" y="501"/>
                    <a:pt x="304" y="498"/>
                    <a:pt x="304" y="498"/>
                  </a:cubicBezTo>
                  <a:cubicBezTo>
                    <a:pt x="300" y="506"/>
                    <a:pt x="300" y="506"/>
                    <a:pt x="300" y="506"/>
                  </a:cubicBezTo>
                  <a:cubicBezTo>
                    <a:pt x="285" y="507"/>
                    <a:pt x="285" y="507"/>
                    <a:pt x="285" y="507"/>
                  </a:cubicBezTo>
                  <a:cubicBezTo>
                    <a:pt x="285" y="507"/>
                    <a:pt x="284" y="521"/>
                    <a:pt x="275" y="522"/>
                  </a:cubicBezTo>
                  <a:cubicBezTo>
                    <a:pt x="270" y="522"/>
                    <a:pt x="266" y="521"/>
                    <a:pt x="262" y="519"/>
                  </a:cubicBezTo>
                  <a:cubicBezTo>
                    <a:pt x="261" y="528"/>
                    <a:pt x="261" y="528"/>
                    <a:pt x="261" y="528"/>
                  </a:cubicBezTo>
                  <a:cubicBezTo>
                    <a:pt x="261" y="528"/>
                    <a:pt x="265" y="534"/>
                    <a:pt x="266" y="537"/>
                  </a:cubicBezTo>
                  <a:cubicBezTo>
                    <a:pt x="267" y="540"/>
                    <a:pt x="254" y="542"/>
                    <a:pt x="254" y="542"/>
                  </a:cubicBezTo>
                  <a:cubicBezTo>
                    <a:pt x="254" y="542"/>
                    <a:pt x="257" y="545"/>
                    <a:pt x="259" y="557"/>
                  </a:cubicBezTo>
                  <a:cubicBezTo>
                    <a:pt x="261" y="569"/>
                    <a:pt x="275" y="561"/>
                    <a:pt x="281" y="561"/>
                  </a:cubicBezTo>
                  <a:cubicBezTo>
                    <a:pt x="287" y="561"/>
                    <a:pt x="292" y="568"/>
                    <a:pt x="296" y="573"/>
                  </a:cubicBezTo>
                  <a:cubicBezTo>
                    <a:pt x="300" y="578"/>
                    <a:pt x="306" y="581"/>
                    <a:pt x="315" y="591"/>
                  </a:cubicBezTo>
                  <a:cubicBezTo>
                    <a:pt x="324" y="601"/>
                    <a:pt x="300" y="603"/>
                    <a:pt x="300" y="608"/>
                  </a:cubicBezTo>
                  <a:cubicBezTo>
                    <a:pt x="300" y="613"/>
                    <a:pt x="283" y="620"/>
                    <a:pt x="283" y="620"/>
                  </a:cubicBezTo>
                  <a:cubicBezTo>
                    <a:pt x="296" y="631"/>
                    <a:pt x="296" y="631"/>
                    <a:pt x="296" y="631"/>
                  </a:cubicBezTo>
                  <a:cubicBezTo>
                    <a:pt x="296" y="631"/>
                    <a:pt x="337" y="663"/>
                    <a:pt x="343" y="673"/>
                  </a:cubicBezTo>
                  <a:cubicBezTo>
                    <a:pt x="349" y="683"/>
                    <a:pt x="321" y="677"/>
                    <a:pt x="321" y="677"/>
                  </a:cubicBezTo>
                  <a:cubicBezTo>
                    <a:pt x="316" y="697"/>
                    <a:pt x="316" y="697"/>
                    <a:pt x="316" y="697"/>
                  </a:cubicBezTo>
                  <a:cubicBezTo>
                    <a:pt x="323" y="703"/>
                    <a:pt x="323" y="703"/>
                    <a:pt x="323" y="703"/>
                  </a:cubicBezTo>
                  <a:cubicBezTo>
                    <a:pt x="323" y="713"/>
                    <a:pt x="323" y="713"/>
                    <a:pt x="323" y="713"/>
                  </a:cubicBezTo>
                  <a:cubicBezTo>
                    <a:pt x="323" y="713"/>
                    <a:pt x="342" y="718"/>
                    <a:pt x="343" y="722"/>
                  </a:cubicBezTo>
                  <a:cubicBezTo>
                    <a:pt x="344" y="726"/>
                    <a:pt x="337" y="737"/>
                    <a:pt x="337" y="737"/>
                  </a:cubicBezTo>
                  <a:cubicBezTo>
                    <a:pt x="352" y="740"/>
                    <a:pt x="352" y="740"/>
                    <a:pt x="352" y="740"/>
                  </a:cubicBezTo>
                  <a:cubicBezTo>
                    <a:pt x="352" y="740"/>
                    <a:pt x="363" y="748"/>
                    <a:pt x="364" y="752"/>
                  </a:cubicBezTo>
                  <a:cubicBezTo>
                    <a:pt x="365" y="756"/>
                    <a:pt x="344" y="770"/>
                    <a:pt x="344" y="770"/>
                  </a:cubicBezTo>
                  <a:cubicBezTo>
                    <a:pt x="383" y="788"/>
                    <a:pt x="383" y="788"/>
                    <a:pt x="383" y="788"/>
                  </a:cubicBezTo>
                  <a:cubicBezTo>
                    <a:pt x="383" y="788"/>
                    <a:pt x="406" y="807"/>
                    <a:pt x="405" y="815"/>
                  </a:cubicBezTo>
                  <a:cubicBezTo>
                    <a:pt x="404" y="823"/>
                    <a:pt x="395" y="830"/>
                    <a:pt x="391" y="837"/>
                  </a:cubicBezTo>
                  <a:cubicBezTo>
                    <a:pt x="387" y="844"/>
                    <a:pt x="366" y="856"/>
                    <a:pt x="366" y="856"/>
                  </a:cubicBezTo>
                  <a:cubicBezTo>
                    <a:pt x="366" y="856"/>
                    <a:pt x="338" y="882"/>
                    <a:pt x="334" y="887"/>
                  </a:cubicBezTo>
                  <a:cubicBezTo>
                    <a:pt x="330" y="892"/>
                    <a:pt x="289" y="916"/>
                    <a:pt x="289" y="916"/>
                  </a:cubicBezTo>
                  <a:cubicBezTo>
                    <a:pt x="293" y="923"/>
                    <a:pt x="293" y="923"/>
                    <a:pt x="293" y="923"/>
                  </a:cubicBezTo>
                  <a:cubicBezTo>
                    <a:pt x="313" y="912"/>
                    <a:pt x="313" y="912"/>
                    <a:pt x="313" y="912"/>
                  </a:cubicBezTo>
                  <a:cubicBezTo>
                    <a:pt x="315" y="923"/>
                    <a:pt x="315" y="923"/>
                    <a:pt x="315" y="923"/>
                  </a:cubicBezTo>
                  <a:cubicBezTo>
                    <a:pt x="315" y="923"/>
                    <a:pt x="328" y="936"/>
                    <a:pt x="334" y="939"/>
                  </a:cubicBezTo>
                  <a:cubicBezTo>
                    <a:pt x="340" y="942"/>
                    <a:pt x="367" y="942"/>
                    <a:pt x="367" y="942"/>
                  </a:cubicBezTo>
                  <a:cubicBezTo>
                    <a:pt x="376" y="954"/>
                    <a:pt x="376" y="954"/>
                    <a:pt x="376" y="954"/>
                  </a:cubicBezTo>
                  <a:cubicBezTo>
                    <a:pt x="376" y="954"/>
                    <a:pt x="337" y="945"/>
                    <a:pt x="335" y="951"/>
                  </a:cubicBezTo>
                  <a:cubicBezTo>
                    <a:pt x="333" y="957"/>
                    <a:pt x="333" y="961"/>
                    <a:pt x="333" y="961"/>
                  </a:cubicBezTo>
                  <a:cubicBezTo>
                    <a:pt x="307" y="962"/>
                    <a:pt x="307" y="962"/>
                    <a:pt x="307" y="962"/>
                  </a:cubicBezTo>
                  <a:cubicBezTo>
                    <a:pt x="303" y="980"/>
                    <a:pt x="303" y="980"/>
                    <a:pt x="303" y="980"/>
                  </a:cubicBezTo>
                  <a:cubicBezTo>
                    <a:pt x="303" y="980"/>
                    <a:pt x="300" y="979"/>
                    <a:pt x="295" y="978"/>
                  </a:cubicBezTo>
                  <a:cubicBezTo>
                    <a:pt x="292" y="988"/>
                    <a:pt x="292" y="988"/>
                    <a:pt x="292" y="988"/>
                  </a:cubicBezTo>
                  <a:cubicBezTo>
                    <a:pt x="295" y="997"/>
                    <a:pt x="295" y="997"/>
                    <a:pt x="295" y="997"/>
                  </a:cubicBezTo>
                  <a:cubicBezTo>
                    <a:pt x="295" y="997"/>
                    <a:pt x="288" y="1001"/>
                    <a:pt x="284" y="1003"/>
                  </a:cubicBezTo>
                  <a:cubicBezTo>
                    <a:pt x="280" y="1005"/>
                    <a:pt x="281" y="1019"/>
                    <a:pt x="281" y="1019"/>
                  </a:cubicBezTo>
                  <a:cubicBezTo>
                    <a:pt x="290" y="1023"/>
                    <a:pt x="290" y="1023"/>
                    <a:pt x="290" y="1023"/>
                  </a:cubicBezTo>
                  <a:cubicBezTo>
                    <a:pt x="285" y="1041"/>
                    <a:pt x="285" y="1041"/>
                    <a:pt x="285" y="1041"/>
                  </a:cubicBezTo>
                  <a:cubicBezTo>
                    <a:pt x="292" y="1043"/>
                    <a:pt x="292" y="1043"/>
                    <a:pt x="292" y="1043"/>
                  </a:cubicBezTo>
                  <a:cubicBezTo>
                    <a:pt x="301" y="1055"/>
                    <a:pt x="301" y="1055"/>
                    <a:pt x="301" y="1055"/>
                  </a:cubicBezTo>
                  <a:cubicBezTo>
                    <a:pt x="288" y="1064"/>
                    <a:pt x="288" y="1064"/>
                    <a:pt x="288" y="1064"/>
                  </a:cubicBezTo>
                  <a:cubicBezTo>
                    <a:pt x="288" y="1072"/>
                    <a:pt x="288" y="1072"/>
                    <a:pt x="288" y="1072"/>
                  </a:cubicBezTo>
                  <a:cubicBezTo>
                    <a:pt x="288" y="1072"/>
                    <a:pt x="309" y="1082"/>
                    <a:pt x="310" y="1087"/>
                  </a:cubicBezTo>
                  <a:cubicBezTo>
                    <a:pt x="311" y="1092"/>
                    <a:pt x="298" y="1094"/>
                    <a:pt x="298" y="1094"/>
                  </a:cubicBezTo>
                  <a:cubicBezTo>
                    <a:pt x="297" y="1103"/>
                    <a:pt x="297" y="1103"/>
                    <a:pt x="297" y="1103"/>
                  </a:cubicBezTo>
                  <a:cubicBezTo>
                    <a:pt x="310" y="1107"/>
                    <a:pt x="310" y="1107"/>
                    <a:pt x="310" y="1107"/>
                  </a:cubicBezTo>
                  <a:cubicBezTo>
                    <a:pt x="310" y="1107"/>
                    <a:pt x="315" y="1118"/>
                    <a:pt x="322" y="1124"/>
                  </a:cubicBezTo>
                  <a:cubicBezTo>
                    <a:pt x="328" y="1129"/>
                    <a:pt x="328" y="1139"/>
                    <a:pt x="328" y="1143"/>
                  </a:cubicBezTo>
                  <a:cubicBezTo>
                    <a:pt x="332" y="1144"/>
                    <a:pt x="336" y="1144"/>
                    <a:pt x="339" y="1145"/>
                  </a:cubicBezTo>
                  <a:cubicBezTo>
                    <a:pt x="347" y="1146"/>
                    <a:pt x="348" y="1153"/>
                    <a:pt x="348" y="1153"/>
                  </a:cubicBezTo>
                  <a:cubicBezTo>
                    <a:pt x="354" y="1147"/>
                    <a:pt x="354" y="1147"/>
                    <a:pt x="354" y="1147"/>
                  </a:cubicBezTo>
                  <a:cubicBezTo>
                    <a:pt x="380" y="1153"/>
                    <a:pt x="380" y="1153"/>
                    <a:pt x="380" y="1153"/>
                  </a:cubicBezTo>
                  <a:cubicBezTo>
                    <a:pt x="382" y="1163"/>
                    <a:pt x="382" y="1163"/>
                    <a:pt x="382" y="1163"/>
                  </a:cubicBezTo>
                  <a:cubicBezTo>
                    <a:pt x="404" y="1151"/>
                    <a:pt x="404" y="1151"/>
                    <a:pt x="404" y="1151"/>
                  </a:cubicBezTo>
                  <a:cubicBezTo>
                    <a:pt x="404" y="1151"/>
                    <a:pt x="426" y="1162"/>
                    <a:pt x="437" y="1167"/>
                  </a:cubicBezTo>
                  <a:cubicBezTo>
                    <a:pt x="448" y="1172"/>
                    <a:pt x="434" y="1186"/>
                    <a:pt x="434" y="1186"/>
                  </a:cubicBezTo>
                  <a:cubicBezTo>
                    <a:pt x="442" y="1196"/>
                    <a:pt x="442" y="1196"/>
                    <a:pt x="442" y="1196"/>
                  </a:cubicBezTo>
                  <a:cubicBezTo>
                    <a:pt x="438" y="1208"/>
                    <a:pt x="438" y="1208"/>
                    <a:pt x="438" y="1208"/>
                  </a:cubicBezTo>
                  <a:cubicBezTo>
                    <a:pt x="438" y="1208"/>
                    <a:pt x="443" y="1213"/>
                    <a:pt x="451" y="1215"/>
                  </a:cubicBezTo>
                  <a:cubicBezTo>
                    <a:pt x="459" y="1217"/>
                    <a:pt x="462" y="1238"/>
                    <a:pt x="462" y="1238"/>
                  </a:cubicBezTo>
                  <a:cubicBezTo>
                    <a:pt x="482" y="1245"/>
                    <a:pt x="482" y="1245"/>
                    <a:pt x="482" y="1245"/>
                  </a:cubicBezTo>
                  <a:cubicBezTo>
                    <a:pt x="484" y="1260"/>
                    <a:pt x="484" y="1260"/>
                    <a:pt x="484" y="1260"/>
                  </a:cubicBezTo>
                  <a:cubicBezTo>
                    <a:pt x="484" y="1260"/>
                    <a:pt x="494" y="1258"/>
                    <a:pt x="507" y="1261"/>
                  </a:cubicBezTo>
                  <a:cubicBezTo>
                    <a:pt x="520" y="1264"/>
                    <a:pt x="512" y="1273"/>
                    <a:pt x="512" y="1273"/>
                  </a:cubicBezTo>
                  <a:cubicBezTo>
                    <a:pt x="526" y="1281"/>
                    <a:pt x="526" y="1281"/>
                    <a:pt x="526" y="1281"/>
                  </a:cubicBezTo>
                  <a:cubicBezTo>
                    <a:pt x="526" y="1281"/>
                    <a:pt x="517" y="1290"/>
                    <a:pt x="509" y="1297"/>
                  </a:cubicBezTo>
                  <a:cubicBezTo>
                    <a:pt x="501" y="1304"/>
                    <a:pt x="488" y="1296"/>
                    <a:pt x="488" y="1296"/>
                  </a:cubicBezTo>
                  <a:cubicBezTo>
                    <a:pt x="488" y="1296"/>
                    <a:pt x="486" y="1290"/>
                    <a:pt x="472" y="1293"/>
                  </a:cubicBezTo>
                  <a:cubicBezTo>
                    <a:pt x="458" y="1296"/>
                    <a:pt x="485" y="1318"/>
                    <a:pt x="485" y="1318"/>
                  </a:cubicBezTo>
                  <a:cubicBezTo>
                    <a:pt x="485" y="1318"/>
                    <a:pt x="485" y="1332"/>
                    <a:pt x="488" y="1333"/>
                  </a:cubicBezTo>
                  <a:cubicBezTo>
                    <a:pt x="490" y="1333"/>
                    <a:pt x="490" y="1343"/>
                    <a:pt x="491" y="1351"/>
                  </a:cubicBezTo>
                  <a:cubicBezTo>
                    <a:pt x="486" y="1351"/>
                    <a:pt x="481" y="1350"/>
                    <a:pt x="477" y="1349"/>
                  </a:cubicBezTo>
                  <a:cubicBezTo>
                    <a:pt x="490" y="1351"/>
                    <a:pt x="510" y="1355"/>
                    <a:pt x="516" y="1352"/>
                  </a:cubicBezTo>
                  <a:cubicBezTo>
                    <a:pt x="524" y="1348"/>
                    <a:pt x="520" y="1339"/>
                    <a:pt x="520" y="1339"/>
                  </a:cubicBezTo>
                  <a:cubicBezTo>
                    <a:pt x="538" y="1342"/>
                    <a:pt x="538" y="1342"/>
                    <a:pt x="538" y="1342"/>
                  </a:cubicBezTo>
                  <a:cubicBezTo>
                    <a:pt x="549" y="1337"/>
                    <a:pt x="549" y="1337"/>
                    <a:pt x="549" y="1337"/>
                  </a:cubicBezTo>
                  <a:cubicBezTo>
                    <a:pt x="579" y="1336"/>
                    <a:pt x="579" y="1336"/>
                    <a:pt x="579" y="1336"/>
                  </a:cubicBezTo>
                  <a:cubicBezTo>
                    <a:pt x="585" y="1350"/>
                    <a:pt x="585" y="1350"/>
                    <a:pt x="585" y="1350"/>
                  </a:cubicBezTo>
                  <a:cubicBezTo>
                    <a:pt x="585" y="1350"/>
                    <a:pt x="606" y="1356"/>
                    <a:pt x="604" y="1362"/>
                  </a:cubicBezTo>
                  <a:cubicBezTo>
                    <a:pt x="602" y="1368"/>
                    <a:pt x="594" y="1369"/>
                    <a:pt x="594" y="1369"/>
                  </a:cubicBezTo>
                  <a:cubicBezTo>
                    <a:pt x="599" y="1381"/>
                    <a:pt x="599" y="1381"/>
                    <a:pt x="599" y="1381"/>
                  </a:cubicBezTo>
                  <a:cubicBezTo>
                    <a:pt x="600" y="1392"/>
                    <a:pt x="600" y="1392"/>
                    <a:pt x="600" y="1392"/>
                  </a:cubicBezTo>
                  <a:cubicBezTo>
                    <a:pt x="623" y="1394"/>
                    <a:pt x="623" y="1394"/>
                    <a:pt x="623" y="1394"/>
                  </a:cubicBezTo>
                  <a:cubicBezTo>
                    <a:pt x="651" y="1406"/>
                    <a:pt x="651" y="1406"/>
                    <a:pt x="651" y="1406"/>
                  </a:cubicBezTo>
                  <a:cubicBezTo>
                    <a:pt x="658" y="1435"/>
                    <a:pt x="658" y="1435"/>
                    <a:pt x="658" y="1435"/>
                  </a:cubicBezTo>
                  <a:cubicBezTo>
                    <a:pt x="662" y="1438"/>
                    <a:pt x="662" y="1438"/>
                    <a:pt x="662" y="1438"/>
                  </a:cubicBezTo>
                  <a:cubicBezTo>
                    <a:pt x="680" y="1434"/>
                    <a:pt x="680" y="1434"/>
                    <a:pt x="680" y="1434"/>
                  </a:cubicBezTo>
                  <a:cubicBezTo>
                    <a:pt x="680" y="1434"/>
                    <a:pt x="688" y="1438"/>
                    <a:pt x="696" y="1442"/>
                  </a:cubicBezTo>
                  <a:cubicBezTo>
                    <a:pt x="704" y="1446"/>
                    <a:pt x="702" y="1441"/>
                    <a:pt x="713" y="1440"/>
                  </a:cubicBezTo>
                  <a:cubicBezTo>
                    <a:pt x="724" y="1439"/>
                    <a:pt x="733" y="1445"/>
                    <a:pt x="733" y="1445"/>
                  </a:cubicBezTo>
                  <a:cubicBezTo>
                    <a:pt x="733" y="1445"/>
                    <a:pt x="729" y="1435"/>
                    <a:pt x="738" y="1436"/>
                  </a:cubicBezTo>
                  <a:cubicBezTo>
                    <a:pt x="747" y="1437"/>
                    <a:pt x="749" y="1448"/>
                    <a:pt x="755" y="1452"/>
                  </a:cubicBezTo>
                  <a:cubicBezTo>
                    <a:pt x="761" y="1456"/>
                    <a:pt x="764" y="1461"/>
                    <a:pt x="764" y="1461"/>
                  </a:cubicBezTo>
                  <a:cubicBezTo>
                    <a:pt x="764" y="1461"/>
                    <a:pt x="776" y="1455"/>
                    <a:pt x="780" y="1455"/>
                  </a:cubicBezTo>
                  <a:cubicBezTo>
                    <a:pt x="784" y="1455"/>
                    <a:pt x="797" y="1464"/>
                    <a:pt x="797" y="1464"/>
                  </a:cubicBezTo>
                  <a:cubicBezTo>
                    <a:pt x="797" y="1464"/>
                    <a:pt x="811" y="1462"/>
                    <a:pt x="818" y="1464"/>
                  </a:cubicBezTo>
                  <a:cubicBezTo>
                    <a:pt x="825" y="1466"/>
                    <a:pt x="827" y="1472"/>
                    <a:pt x="827" y="1472"/>
                  </a:cubicBezTo>
                  <a:cubicBezTo>
                    <a:pt x="840" y="1481"/>
                    <a:pt x="840" y="1481"/>
                    <a:pt x="840" y="1481"/>
                  </a:cubicBezTo>
                  <a:cubicBezTo>
                    <a:pt x="840" y="1481"/>
                    <a:pt x="857" y="1475"/>
                    <a:pt x="858" y="1485"/>
                  </a:cubicBezTo>
                  <a:cubicBezTo>
                    <a:pt x="859" y="1495"/>
                    <a:pt x="860" y="1502"/>
                    <a:pt x="860" y="1502"/>
                  </a:cubicBezTo>
                  <a:cubicBezTo>
                    <a:pt x="846" y="1509"/>
                    <a:pt x="846" y="1509"/>
                    <a:pt x="846" y="1509"/>
                  </a:cubicBezTo>
                  <a:cubicBezTo>
                    <a:pt x="846" y="1509"/>
                    <a:pt x="863" y="1512"/>
                    <a:pt x="862" y="1518"/>
                  </a:cubicBezTo>
                  <a:cubicBezTo>
                    <a:pt x="861" y="1524"/>
                    <a:pt x="844" y="1522"/>
                    <a:pt x="845" y="1525"/>
                  </a:cubicBezTo>
                  <a:cubicBezTo>
                    <a:pt x="846" y="1528"/>
                    <a:pt x="858" y="1536"/>
                    <a:pt x="859" y="1542"/>
                  </a:cubicBezTo>
                  <a:cubicBezTo>
                    <a:pt x="860" y="1548"/>
                    <a:pt x="868" y="1561"/>
                    <a:pt x="856" y="1565"/>
                  </a:cubicBezTo>
                  <a:cubicBezTo>
                    <a:pt x="844" y="1569"/>
                    <a:pt x="821" y="1567"/>
                    <a:pt x="821" y="1567"/>
                  </a:cubicBezTo>
                  <a:cubicBezTo>
                    <a:pt x="821" y="1567"/>
                    <a:pt x="813" y="1576"/>
                    <a:pt x="810" y="1580"/>
                  </a:cubicBezTo>
                  <a:cubicBezTo>
                    <a:pt x="807" y="1584"/>
                    <a:pt x="794" y="1584"/>
                    <a:pt x="794" y="1584"/>
                  </a:cubicBezTo>
                  <a:cubicBezTo>
                    <a:pt x="797" y="1609"/>
                    <a:pt x="797" y="1609"/>
                    <a:pt x="797" y="1609"/>
                  </a:cubicBezTo>
                  <a:cubicBezTo>
                    <a:pt x="796" y="1610"/>
                    <a:pt x="795" y="1610"/>
                    <a:pt x="795" y="1610"/>
                  </a:cubicBezTo>
                  <a:cubicBezTo>
                    <a:pt x="796" y="1610"/>
                    <a:pt x="797" y="1609"/>
                    <a:pt x="799" y="1609"/>
                  </a:cubicBezTo>
                  <a:cubicBezTo>
                    <a:pt x="810" y="1603"/>
                    <a:pt x="839" y="1594"/>
                    <a:pt x="840" y="1603"/>
                  </a:cubicBezTo>
                  <a:cubicBezTo>
                    <a:pt x="841" y="1611"/>
                    <a:pt x="819" y="1627"/>
                    <a:pt x="819" y="1627"/>
                  </a:cubicBezTo>
                  <a:cubicBezTo>
                    <a:pt x="786" y="1637"/>
                    <a:pt x="786" y="1637"/>
                    <a:pt x="786" y="1637"/>
                  </a:cubicBezTo>
                  <a:cubicBezTo>
                    <a:pt x="816" y="1660"/>
                    <a:pt x="816" y="1660"/>
                    <a:pt x="816" y="1660"/>
                  </a:cubicBezTo>
                  <a:cubicBezTo>
                    <a:pt x="816" y="1660"/>
                    <a:pt x="792" y="1665"/>
                    <a:pt x="791" y="1675"/>
                  </a:cubicBezTo>
                  <a:cubicBezTo>
                    <a:pt x="790" y="1685"/>
                    <a:pt x="790" y="1696"/>
                    <a:pt x="790" y="1696"/>
                  </a:cubicBezTo>
                  <a:cubicBezTo>
                    <a:pt x="790" y="1696"/>
                    <a:pt x="777" y="1705"/>
                    <a:pt x="772" y="1705"/>
                  </a:cubicBezTo>
                  <a:cubicBezTo>
                    <a:pt x="767" y="1705"/>
                    <a:pt x="752" y="1694"/>
                    <a:pt x="752" y="1694"/>
                  </a:cubicBezTo>
                  <a:cubicBezTo>
                    <a:pt x="748" y="1705"/>
                    <a:pt x="748" y="1705"/>
                    <a:pt x="748" y="1705"/>
                  </a:cubicBezTo>
                  <a:cubicBezTo>
                    <a:pt x="748" y="1705"/>
                    <a:pt x="760" y="1718"/>
                    <a:pt x="763" y="1718"/>
                  </a:cubicBezTo>
                  <a:cubicBezTo>
                    <a:pt x="766" y="1718"/>
                    <a:pt x="775" y="1737"/>
                    <a:pt x="775" y="1737"/>
                  </a:cubicBezTo>
                  <a:cubicBezTo>
                    <a:pt x="800" y="1735"/>
                    <a:pt x="800" y="1735"/>
                    <a:pt x="800" y="1735"/>
                  </a:cubicBezTo>
                  <a:cubicBezTo>
                    <a:pt x="800" y="1735"/>
                    <a:pt x="818" y="1754"/>
                    <a:pt x="824" y="1754"/>
                  </a:cubicBezTo>
                  <a:cubicBezTo>
                    <a:pt x="830" y="1754"/>
                    <a:pt x="842" y="1755"/>
                    <a:pt x="842" y="1755"/>
                  </a:cubicBezTo>
                  <a:cubicBezTo>
                    <a:pt x="842" y="1755"/>
                    <a:pt x="873" y="1792"/>
                    <a:pt x="881" y="1795"/>
                  </a:cubicBezTo>
                  <a:cubicBezTo>
                    <a:pt x="889" y="1798"/>
                    <a:pt x="905" y="1805"/>
                    <a:pt x="905" y="1805"/>
                  </a:cubicBezTo>
                  <a:cubicBezTo>
                    <a:pt x="905" y="1805"/>
                    <a:pt x="904" y="1805"/>
                    <a:pt x="901" y="1804"/>
                  </a:cubicBezTo>
                  <a:cubicBezTo>
                    <a:pt x="914" y="1793"/>
                    <a:pt x="914" y="1793"/>
                    <a:pt x="914" y="1793"/>
                  </a:cubicBezTo>
                  <a:cubicBezTo>
                    <a:pt x="914" y="1793"/>
                    <a:pt x="939" y="1796"/>
                    <a:pt x="955" y="1803"/>
                  </a:cubicBezTo>
                  <a:cubicBezTo>
                    <a:pt x="971" y="1810"/>
                    <a:pt x="983" y="1812"/>
                    <a:pt x="996" y="1811"/>
                  </a:cubicBezTo>
                  <a:cubicBezTo>
                    <a:pt x="1009" y="1810"/>
                    <a:pt x="1029" y="1815"/>
                    <a:pt x="1029" y="1815"/>
                  </a:cubicBezTo>
                  <a:cubicBezTo>
                    <a:pt x="1061" y="1835"/>
                    <a:pt x="1061" y="1835"/>
                    <a:pt x="1061" y="1835"/>
                  </a:cubicBezTo>
                  <a:cubicBezTo>
                    <a:pt x="1061" y="1835"/>
                    <a:pt x="1061" y="1846"/>
                    <a:pt x="1080" y="1846"/>
                  </a:cubicBezTo>
                  <a:cubicBezTo>
                    <a:pt x="1099" y="1846"/>
                    <a:pt x="1091" y="1837"/>
                    <a:pt x="1109" y="1835"/>
                  </a:cubicBezTo>
                  <a:cubicBezTo>
                    <a:pt x="1127" y="1833"/>
                    <a:pt x="1137" y="1848"/>
                    <a:pt x="1137" y="1848"/>
                  </a:cubicBezTo>
                  <a:cubicBezTo>
                    <a:pt x="1157" y="1851"/>
                    <a:pt x="1157" y="1851"/>
                    <a:pt x="1157" y="1851"/>
                  </a:cubicBezTo>
                  <a:cubicBezTo>
                    <a:pt x="1157" y="1851"/>
                    <a:pt x="1152" y="1869"/>
                    <a:pt x="1152" y="1868"/>
                  </a:cubicBezTo>
                  <a:cubicBezTo>
                    <a:pt x="1169" y="1869"/>
                    <a:pt x="1180" y="1879"/>
                    <a:pt x="1187" y="1886"/>
                  </a:cubicBezTo>
                  <a:cubicBezTo>
                    <a:pt x="1187" y="1886"/>
                    <a:pt x="1187" y="1886"/>
                    <a:pt x="1187" y="1886"/>
                  </a:cubicBezTo>
                  <a:cubicBezTo>
                    <a:pt x="1194" y="1885"/>
                    <a:pt x="1205" y="1886"/>
                    <a:pt x="1214" y="1892"/>
                  </a:cubicBezTo>
                  <a:cubicBezTo>
                    <a:pt x="1227" y="1901"/>
                    <a:pt x="1236" y="1923"/>
                    <a:pt x="1252" y="1921"/>
                  </a:cubicBezTo>
                  <a:cubicBezTo>
                    <a:pt x="1268" y="1919"/>
                    <a:pt x="1262" y="1907"/>
                    <a:pt x="1262" y="1907"/>
                  </a:cubicBezTo>
                  <a:cubicBezTo>
                    <a:pt x="1262" y="1907"/>
                    <a:pt x="1278" y="1910"/>
                    <a:pt x="1279" y="1903"/>
                  </a:cubicBezTo>
                  <a:cubicBezTo>
                    <a:pt x="1280" y="1896"/>
                    <a:pt x="1281" y="1885"/>
                    <a:pt x="1281" y="1885"/>
                  </a:cubicBezTo>
                  <a:cubicBezTo>
                    <a:pt x="1274" y="1882"/>
                    <a:pt x="1274" y="1882"/>
                    <a:pt x="1274" y="1882"/>
                  </a:cubicBezTo>
                  <a:cubicBezTo>
                    <a:pt x="1274" y="1882"/>
                    <a:pt x="1269" y="1868"/>
                    <a:pt x="1264" y="1860"/>
                  </a:cubicBezTo>
                  <a:cubicBezTo>
                    <a:pt x="1259" y="1852"/>
                    <a:pt x="1240" y="1848"/>
                    <a:pt x="1240" y="1848"/>
                  </a:cubicBezTo>
                  <a:cubicBezTo>
                    <a:pt x="1240" y="1833"/>
                    <a:pt x="1240" y="1833"/>
                    <a:pt x="1240" y="1833"/>
                  </a:cubicBezTo>
                  <a:cubicBezTo>
                    <a:pt x="1240" y="1833"/>
                    <a:pt x="1232" y="1829"/>
                    <a:pt x="1223" y="1818"/>
                  </a:cubicBezTo>
                  <a:cubicBezTo>
                    <a:pt x="1214" y="1807"/>
                    <a:pt x="1226" y="1793"/>
                    <a:pt x="1221" y="1780"/>
                  </a:cubicBezTo>
                  <a:cubicBezTo>
                    <a:pt x="1216" y="1767"/>
                    <a:pt x="1195" y="1753"/>
                    <a:pt x="1195" y="1753"/>
                  </a:cubicBezTo>
                  <a:cubicBezTo>
                    <a:pt x="1195" y="1753"/>
                    <a:pt x="1186" y="1752"/>
                    <a:pt x="1177" y="1747"/>
                  </a:cubicBezTo>
                  <a:cubicBezTo>
                    <a:pt x="1168" y="1742"/>
                    <a:pt x="1190" y="1721"/>
                    <a:pt x="1190" y="1721"/>
                  </a:cubicBezTo>
                  <a:cubicBezTo>
                    <a:pt x="1190" y="1721"/>
                    <a:pt x="1205" y="1708"/>
                    <a:pt x="1208" y="1701"/>
                  </a:cubicBezTo>
                  <a:cubicBezTo>
                    <a:pt x="1211" y="1694"/>
                    <a:pt x="1197" y="1679"/>
                    <a:pt x="1197" y="1679"/>
                  </a:cubicBezTo>
                  <a:cubicBezTo>
                    <a:pt x="1197" y="1679"/>
                    <a:pt x="1211" y="1685"/>
                    <a:pt x="1214" y="1685"/>
                  </a:cubicBezTo>
                  <a:cubicBezTo>
                    <a:pt x="1217" y="1685"/>
                    <a:pt x="1229" y="1684"/>
                    <a:pt x="1232" y="1678"/>
                  </a:cubicBezTo>
                  <a:cubicBezTo>
                    <a:pt x="1235" y="1672"/>
                    <a:pt x="1238" y="1678"/>
                    <a:pt x="1250" y="1676"/>
                  </a:cubicBezTo>
                  <a:cubicBezTo>
                    <a:pt x="1262" y="1674"/>
                    <a:pt x="1245" y="1661"/>
                    <a:pt x="1245" y="1661"/>
                  </a:cubicBezTo>
                  <a:cubicBezTo>
                    <a:pt x="1245" y="1661"/>
                    <a:pt x="1261" y="1662"/>
                    <a:pt x="1264" y="1662"/>
                  </a:cubicBezTo>
                  <a:cubicBezTo>
                    <a:pt x="1266" y="1662"/>
                    <a:pt x="1265" y="1652"/>
                    <a:pt x="1264" y="1649"/>
                  </a:cubicBezTo>
                  <a:cubicBezTo>
                    <a:pt x="1257" y="1647"/>
                    <a:pt x="1231" y="1638"/>
                    <a:pt x="1231" y="1631"/>
                  </a:cubicBezTo>
                  <a:cubicBezTo>
                    <a:pt x="1231" y="1623"/>
                    <a:pt x="1254" y="1632"/>
                    <a:pt x="1254" y="1624"/>
                  </a:cubicBezTo>
                  <a:cubicBezTo>
                    <a:pt x="1254" y="1616"/>
                    <a:pt x="1215" y="1576"/>
                    <a:pt x="1210" y="1574"/>
                  </a:cubicBezTo>
                  <a:cubicBezTo>
                    <a:pt x="1205" y="1571"/>
                    <a:pt x="1181" y="1580"/>
                    <a:pt x="1169" y="1575"/>
                  </a:cubicBezTo>
                  <a:cubicBezTo>
                    <a:pt x="1157" y="1570"/>
                    <a:pt x="1171" y="1555"/>
                    <a:pt x="1159" y="1550"/>
                  </a:cubicBezTo>
                  <a:cubicBezTo>
                    <a:pt x="1147" y="1544"/>
                    <a:pt x="1137" y="1554"/>
                    <a:pt x="1137" y="1538"/>
                  </a:cubicBezTo>
                  <a:cubicBezTo>
                    <a:pt x="1137" y="1522"/>
                    <a:pt x="1145" y="1510"/>
                    <a:pt x="1145" y="1502"/>
                  </a:cubicBezTo>
                  <a:cubicBezTo>
                    <a:pt x="1145" y="1494"/>
                    <a:pt x="1139" y="1488"/>
                    <a:pt x="1139" y="1488"/>
                  </a:cubicBezTo>
                  <a:cubicBezTo>
                    <a:pt x="1137" y="1464"/>
                    <a:pt x="1137" y="1464"/>
                    <a:pt x="1137" y="1464"/>
                  </a:cubicBezTo>
                  <a:cubicBezTo>
                    <a:pt x="1137" y="1464"/>
                    <a:pt x="1150" y="1467"/>
                    <a:pt x="1150" y="1459"/>
                  </a:cubicBezTo>
                  <a:cubicBezTo>
                    <a:pt x="1150" y="1451"/>
                    <a:pt x="1142" y="1432"/>
                    <a:pt x="1154" y="1431"/>
                  </a:cubicBezTo>
                  <a:cubicBezTo>
                    <a:pt x="1166" y="1430"/>
                    <a:pt x="1194" y="1472"/>
                    <a:pt x="1209" y="1458"/>
                  </a:cubicBezTo>
                  <a:cubicBezTo>
                    <a:pt x="1223" y="1443"/>
                    <a:pt x="1205" y="1428"/>
                    <a:pt x="1205" y="1428"/>
                  </a:cubicBezTo>
                  <a:cubicBezTo>
                    <a:pt x="1223" y="1419"/>
                    <a:pt x="1223" y="1419"/>
                    <a:pt x="1223" y="1419"/>
                  </a:cubicBezTo>
                  <a:cubicBezTo>
                    <a:pt x="1223" y="1404"/>
                    <a:pt x="1223" y="1404"/>
                    <a:pt x="1223" y="1404"/>
                  </a:cubicBezTo>
                  <a:cubicBezTo>
                    <a:pt x="1223" y="1404"/>
                    <a:pt x="1251" y="1399"/>
                    <a:pt x="1259" y="1388"/>
                  </a:cubicBezTo>
                  <a:cubicBezTo>
                    <a:pt x="1267" y="1378"/>
                    <a:pt x="1245" y="1370"/>
                    <a:pt x="1267" y="1368"/>
                  </a:cubicBezTo>
                  <a:cubicBezTo>
                    <a:pt x="1290" y="1367"/>
                    <a:pt x="1282" y="1380"/>
                    <a:pt x="1298" y="1380"/>
                  </a:cubicBezTo>
                  <a:cubicBezTo>
                    <a:pt x="1314" y="1380"/>
                    <a:pt x="1327" y="1367"/>
                    <a:pt x="1334" y="1367"/>
                  </a:cubicBezTo>
                  <a:cubicBezTo>
                    <a:pt x="1341" y="1367"/>
                    <a:pt x="1342" y="1380"/>
                    <a:pt x="1351" y="1382"/>
                  </a:cubicBezTo>
                  <a:cubicBezTo>
                    <a:pt x="1361" y="1383"/>
                    <a:pt x="1385" y="1378"/>
                    <a:pt x="1389" y="1382"/>
                  </a:cubicBezTo>
                  <a:cubicBezTo>
                    <a:pt x="1393" y="1386"/>
                    <a:pt x="1395" y="1398"/>
                    <a:pt x="1395" y="1398"/>
                  </a:cubicBezTo>
                  <a:cubicBezTo>
                    <a:pt x="1419" y="1396"/>
                    <a:pt x="1419" y="1396"/>
                    <a:pt x="1419" y="1396"/>
                  </a:cubicBezTo>
                  <a:cubicBezTo>
                    <a:pt x="1426" y="1416"/>
                    <a:pt x="1426" y="1416"/>
                    <a:pt x="1426" y="1416"/>
                  </a:cubicBezTo>
                  <a:cubicBezTo>
                    <a:pt x="1426" y="1416"/>
                    <a:pt x="1434" y="1436"/>
                    <a:pt x="1442" y="1430"/>
                  </a:cubicBezTo>
                  <a:cubicBezTo>
                    <a:pt x="1450" y="1423"/>
                    <a:pt x="1427" y="1406"/>
                    <a:pt x="1438" y="1403"/>
                  </a:cubicBezTo>
                  <a:cubicBezTo>
                    <a:pt x="1449" y="1400"/>
                    <a:pt x="1490" y="1431"/>
                    <a:pt x="1493" y="1427"/>
                  </a:cubicBezTo>
                  <a:cubicBezTo>
                    <a:pt x="1495" y="1423"/>
                    <a:pt x="1513" y="1403"/>
                    <a:pt x="1522" y="1402"/>
                  </a:cubicBezTo>
                  <a:cubicBezTo>
                    <a:pt x="1531" y="1400"/>
                    <a:pt x="1542" y="1416"/>
                    <a:pt x="1558" y="1412"/>
                  </a:cubicBezTo>
                  <a:cubicBezTo>
                    <a:pt x="1574" y="1408"/>
                    <a:pt x="1585" y="1399"/>
                    <a:pt x="1593" y="1400"/>
                  </a:cubicBezTo>
                  <a:cubicBezTo>
                    <a:pt x="1601" y="1402"/>
                    <a:pt x="1613" y="1423"/>
                    <a:pt x="1623" y="1424"/>
                  </a:cubicBezTo>
                  <a:cubicBezTo>
                    <a:pt x="1634" y="1426"/>
                    <a:pt x="1657" y="1430"/>
                    <a:pt x="1657" y="1430"/>
                  </a:cubicBezTo>
                  <a:cubicBezTo>
                    <a:pt x="1663" y="1414"/>
                    <a:pt x="1663" y="1414"/>
                    <a:pt x="1663" y="1414"/>
                  </a:cubicBezTo>
                  <a:cubicBezTo>
                    <a:pt x="1663" y="1414"/>
                    <a:pt x="1723" y="1444"/>
                    <a:pt x="1719" y="1406"/>
                  </a:cubicBezTo>
                  <a:cubicBezTo>
                    <a:pt x="1715" y="1367"/>
                    <a:pt x="1665" y="1370"/>
                    <a:pt x="1665" y="1370"/>
                  </a:cubicBezTo>
                  <a:cubicBezTo>
                    <a:pt x="1642" y="1350"/>
                    <a:pt x="1642" y="1350"/>
                    <a:pt x="1642" y="1350"/>
                  </a:cubicBezTo>
                  <a:cubicBezTo>
                    <a:pt x="1642" y="1350"/>
                    <a:pt x="1675" y="1344"/>
                    <a:pt x="1677" y="1338"/>
                  </a:cubicBezTo>
                  <a:cubicBezTo>
                    <a:pt x="1678" y="1331"/>
                    <a:pt x="1665" y="1314"/>
                    <a:pt x="1665" y="1314"/>
                  </a:cubicBezTo>
                  <a:cubicBezTo>
                    <a:pt x="1671" y="1303"/>
                    <a:pt x="1671" y="1303"/>
                    <a:pt x="1671" y="1303"/>
                  </a:cubicBezTo>
                  <a:cubicBezTo>
                    <a:pt x="1671" y="1303"/>
                    <a:pt x="1709" y="1310"/>
                    <a:pt x="1709" y="1303"/>
                  </a:cubicBezTo>
                  <a:cubicBezTo>
                    <a:pt x="1709" y="1296"/>
                    <a:pt x="1666" y="1288"/>
                    <a:pt x="1666" y="1288"/>
                  </a:cubicBezTo>
                  <a:cubicBezTo>
                    <a:pt x="1677" y="1276"/>
                    <a:pt x="1677" y="1276"/>
                    <a:pt x="1677" y="1276"/>
                  </a:cubicBezTo>
                  <a:cubicBezTo>
                    <a:pt x="1658" y="1275"/>
                    <a:pt x="1658" y="1275"/>
                    <a:pt x="1658" y="1275"/>
                  </a:cubicBezTo>
                  <a:cubicBezTo>
                    <a:pt x="1658" y="1275"/>
                    <a:pt x="1642" y="1256"/>
                    <a:pt x="1687" y="1250"/>
                  </a:cubicBezTo>
                  <a:cubicBezTo>
                    <a:pt x="1733" y="1243"/>
                    <a:pt x="1765" y="1244"/>
                    <a:pt x="1765" y="1244"/>
                  </a:cubicBezTo>
                  <a:cubicBezTo>
                    <a:pt x="1769" y="1232"/>
                    <a:pt x="1769" y="1232"/>
                    <a:pt x="1769" y="1232"/>
                  </a:cubicBezTo>
                  <a:cubicBezTo>
                    <a:pt x="1811" y="1232"/>
                    <a:pt x="1811" y="1232"/>
                    <a:pt x="1811" y="1232"/>
                  </a:cubicBezTo>
                  <a:cubicBezTo>
                    <a:pt x="1811" y="1232"/>
                    <a:pt x="1811" y="1216"/>
                    <a:pt x="1819" y="1216"/>
                  </a:cubicBezTo>
                  <a:cubicBezTo>
                    <a:pt x="1827" y="1216"/>
                    <a:pt x="1855" y="1220"/>
                    <a:pt x="1877" y="1215"/>
                  </a:cubicBezTo>
                  <a:cubicBezTo>
                    <a:pt x="1898" y="1210"/>
                    <a:pt x="1918" y="1203"/>
                    <a:pt x="1918" y="1203"/>
                  </a:cubicBezTo>
                  <a:cubicBezTo>
                    <a:pt x="1918" y="1203"/>
                    <a:pt x="1915" y="1183"/>
                    <a:pt x="1949" y="1182"/>
                  </a:cubicBezTo>
                  <a:cubicBezTo>
                    <a:pt x="1982" y="1180"/>
                    <a:pt x="1995" y="1191"/>
                    <a:pt x="2001" y="1191"/>
                  </a:cubicBezTo>
                  <a:cubicBezTo>
                    <a:pt x="2006" y="1191"/>
                    <a:pt x="2013" y="1182"/>
                    <a:pt x="2021" y="1187"/>
                  </a:cubicBezTo>
                  <a:cubicBezTo>
                    <a:pt x="2029" y="1192"/>
                    <a:pt x="2034" y="1210"/>
                    <a:pt x="2034" y="1210"/>
                  </a:cubicBezTo>
                  <a:cubicBezTo>
                    <a:pt x="2034" y="1210"/>
                    <a:pt x="2046" y="1210"/>
                    <a:pt x="2046" y="1216"/>
                  </a:cubicBezTo>
                  <a:cubicBezTo>
                    <a:pt x="2046" y="1223"/>
                    <a:pt x="2045" y="1244"/>
                    <a:pt x="2050" y="1244"/>
                  </a:cubicBezTo>
                  <a:cubicBezTo>
                    <a:pt x="2055" y="1244"/>
                    <a:pt x="2083" y="1240"/>
                    <a:pt x="2083" y="1240"/>
                  </a:cubicBezTo>
                  <a:cubicBezTo>
                    <a:pt x="2090" y="1230"/>
                    <a:pt x="2090" y="1230"/>
                    <a:pt x="2090" y="1230"/>
                  </a:cubicBezTo>
                  <a:cubicBezTo>
                    <a:pt x="2109" y="1251"/>
                    <a:pt x="2109" y="1251"/>
                    <a:pt x="2109" y="1251"/>
                  </a:cubicBezTo>
                  <a:cubicBezTo>
                    <a:pt x="2122" y="1243"/>
                    <a:pt x="2122" y="1243"/>
                    <a:pt x="2122" y="1243"/>
                  </a:cubicBezTo>
                  <a:cubicBezTo>
                    <a:pt x="2139" y="1254"/>
                    <a:pt x="2139" y="1254"/>
                    <a:pt x="2139" y="1254"/>
                  </a:cubicBezTo>
                  <a:cubicBezTo>
                    <a:pt x="2139" y="1254"/>
                    <a:pt x="2145" y="1242"/>
                    <a:pt x="2154" y="1251"/>
                  </a:cubicBezTo>
                  <a:cubicBezTo>
                    <a:pt x="2163" y="1260"/>
                    <a:pt x="2142" y="1276"/>
                    <a:pt x="2153" y="1278"/>
                  </a:cubicBezTo>
                  <a:cubicBezTo>
                    <a:pt x="2163" y="1279"/>
                    <a:pt x="2165" y="1266"/>
                    <a:pt x="2171" y="1268"/>
                  </a:cubicBezTo>
                  <a:cubicBezTo>
                    <a:pt x="2178" y="1271"/>
                    <a:pt x="2193" y="1287"/>
                    <a:pt x="2201" y="1280"/>
                  </a:cubicBezTo>
                  <a:cubicBezTo>
                    <a:pt x="2209" y="1274"/>
                    <a:pt x="2201" y="1266"/>
                    <a:pt x="2207" y="1262"/>
                  </a:cubicBezTo>
                  <a:cubicBezTo>
                    <a:pt x="2214" y="1258"/>
                    <a:pt x="2222" y="1256"/>
                    <a:pt x="2222" y="1256"/>
                  </a:cubicBezTo>
                  <a:cubicBezTo>
                    <a:pt x="2231" y="1246"/>
                    <a:pt x="2231" y="1246"/>
                    <a:pt x="2231" y="1246"/>
                  </a:cubicBezTo>
                  <a:cubicBezTo>
                    <a:pt x="2255" y="1238"/>
                    <a:pt x="2255" y="1238"/>
                    <a:pt x="2255" y="1238"/>
                  </a:cubicBezTo>
                  <a:cubicBezTo>
                    <a:pt x="2255" y="1238"/>
                    <a:pt x="2267" y="1216"/>
                    <a:pt x="2275" y="1227"/>
                  </a:cubicBezTo>
                  <a:cubicBezTo>
                    <a:pt x="2283" y="1238"/>
                    <a:pt x="2263" y="1250"/>
                    <a:pt x="2263" y="1250"/>
                  </a:cubicBezTo>
                  <a:cubicBezTo>
                    <a:pt x="2263" y="1250"/>
                    <a:pt x="2331" y="1282"/>
                    <a:pt x="2337" y="1284"/>
                  </a:cubicBezTo>
                  <a:cubicBezTo>
                    <a:pt x="2342" y="1287"/>
                    <a:pt x="2414" y="1354"/>
                    <a:pt x="2429" y="1367"/>
                  </a:cubicBezTo>
                  <a:cubicBezTo>
                    <a:pt x="2443" y="1380"/>
                    <a:pt x="2467" y="1419"/>
                    <a:pt x="2485" y="1416"/>
                  </a:cubicBezTo>
                  <a:cubicBezTo>
                    <a:pt x="2502" y="1414"/>
                    <a:pt x="2498" y="1384"/>
                    <a:pt x="2509" y="1387"/>
                  </a:cubicBezTo>
                  <a:cubicBezTo>
                    <a:pt x="2519" y="1390"/>
                    <a:pt x="2515" y="1406"/>
                    <a:pt x="2519" y="1407"/>
                  </a:cubicBezTo>
                  <a:cubicBezTo>
                    <a:pt x="2523" y="1408"/>
                    <a:pt x="2541" y="1410"/>
                    <a:pt x="2541" y="1410"/>
                  </a:cubicBezTo>
                  <a:cubicBezTo>
                    <a:pt x="2541" y="1410"/>
                    <a:pt x="2555" y="1426"/>
                    <a:pt x="2567" y="1424"/>
                  </a:cubicBezTo>
                  <a:cubicBezTo>
                    <a:pt x="2579" y="1423"/>
                    <a:pt x="2595" y="1402"/>
                    <a:pt x="2618" y="1406"/>
                  </a:cubicBezTo>
                  <a:cubicBezTo>
                    <a:pt x="2641" y="1410"/>
                    <a:pt x="2662" y="1439"/>
                    <a:pt x="2662" y="1439"/>
                  </a:cubicBezTo>
                  <a:cubicBezTo>
                    <a:pt x="2662" y="1439"/>
                    <a:pt x="2697" y="1444"/>
                    <a:pt x="2698" y="1448"/>
                  </a:cubicBezTo>
                  <a:cubicBezTo>
                    <a:pt x="2699" y="1452"/>
                    <a:pt x="2715" y="1480"/>
                    <a:pt x="2715" y="1480"/>
                  </a:cubicBezTo>
                  <a:cubicBezTo>
                    <a:pt x="2762" y="1484"/>
                    <a:pt x="2762" y="1484"/>
                    <a:pt x="2762" y="1484"/>
                  </a:cubicBezTo>
                  <a:cubicBezTo>
                    <a:pt x="2773" y="1462"/>
                    <a:pt x="2773" y="1462"/>
                    <a:pt x="2773" y="1462"/>
                  </a:cubicBezTo>
                  <a:cubicBezTo>
                    <a:pt x="2786" y="1478"/>
                    <a:pt x="2786" y="1478"/>
                    <a:pt x="2786" y="1478"/>
                  </a:cubicBezTo>
                  <a:cubicBezTo>
                    <a:pt x="2810" y="1504"/>
                    <a:pt x="2810" y="1504"/>
                    <a:pt x="2810" y="1504"/>
                  </a:cubicBezTo>
                  <a:cubicBezTo>
                    <a:pt x="2815" y="1505"/>
                    <a:pt x="2819" y="1506"/>
                    <a:pt x="2819" y="1506"/>
                  </a:cubicBezTo>
                  <a:cubicBezTo>
                    <a:pt x="2819" y="1506"/>
                    <a:pt x="2832" y="1499"/>
                    <a:pt x="2840" y="1503"/>
                  </a:cubicBezTo>
                  <a:cubicBezTo>
                    <a:pt x="2847" y="1496"/>
                    <a:pt x="2847" y="1496"/>
                    <a:pt x="2847" y="1496"/>
                  </a:cubicBezTo>
                  <a:cubicBezTo>
                    <a:pt x="2846" y="1484"/>
                    <a:pt x="2846" y="1484"/>
                    <a:pt x="2846" y="1484"/>
                  </a:cubicBezTo>
                  <a:cubicBezTo>
                    <a:pt x="2887" y="1484"/>
                    <a:pt x="2887" y="1484"/>
                    <a:pt x="2887" y="1484"/>
                  </a:cubicBezTo>
                  <a:cubicBezTo>
                    <a:pt x="2885" y="1475"/>
                    <a:pt x="2885" y="1475"/>
                    <a:pt x="2885" y="1475"/>
                  </a:cubicBezTo>
                  <a:cubicBezTo>
                    <a:pt x="2901" y="1475"/>
                    <a:pt x="2901" y="1475"/>
                    <a:pt x="2901" y="1475"/>
                  </a:cubicBezTo>
                  <a:cubicBezTo>
                    <a:pt x="2901" y="1475"/>
                    <a:pt x="2892" y="1473"/>
                    <a:pt x="2901" y="1463"/>
                  </a:cubicBezTo>
                  <a:cubicBezTo>
                    <a:pt x="2910" y="1453"/>
                    <a:pt x="2921" y="1445"/>
                    <a:pt x="2921" y="1445"/>
                  </a:cubicBezTo>
                  <a:cubicBezTo>
                    <a:pt x="2930" y="1446"/>
                    <a:pt x="2930" y="1446"/>
                    <a:pt x="2930" y="1446"/>
                  </a:cubicBezTo>
                  <a:cubicBezTo>
                    <a:pt x="2941" y="1433"/>
                    <a:pt x="2941" y="1433"/>
                    <a:pt x="2941" y="1433"/>
                  </a:cubicBezTo>
                  <a:cubicBezTo>
                    <a:pt x="2957" y="1433"/>
                    <a:pt x="2957" y="1433"/>
                    <a:pt x="2957" y="1433"/>
                  </a:cubicBezTo>
                  <a:cubicBezTo>
                    <a:pt x="2957" y="1433"/>
                    <a:pt x="2958" y="1416"/>
                    <a:pt x="2965" y="1416"/>
                  </a:cubicBezTo>
                  <a:cubicBezTo>
                    <a:pt x="2972" y="1416"/>
                    <a:pt x="2981" y="1422"/>
                    <a:pt x="2981" y="1422"/>
                  </a:cubicBezTo>
                  <a:cubicBezTo>
                    <a:pt x="2993" y="1415"/>
                    <a:pt x="2993" y="1415"/>
                    <a:pt x="2993" y="1415"/>
                  </a:cubicBezTo>
                  <a:cubicBezTo>
                    <a:pt x="2993" y="1415"/>
                    <a:pt x="2993" y="1420"/>
                    <a:pt x="2996" y="1420"/>
                  </a:cubicBezTo>
                  <a:cubicBezTo>
                    <a:pt x="2999" y="1420"/>
                    <a:pt x="3015" y="1420"/>
                    <a:pt x="3015" y="1420"/>
                  </a:cubicBezTo>
                  <a:cubicBezTo>
                    <a:pt x="3020" y="1431"/>
                    <a:pt x="3020" y="1431"/>
                    <a:pt x="3020" y="1431"/>
                  </a:cubicBezTo>
                  <a:cubicBezTo>
                    <a:pt x="3020" y="1431"/>
                    <a:pt x="3064" y="1427"/>
                    <a:pt x="3071" y="1427"/>
                  </a:cubicBezTo>
                  <a:cubicBezTo>
                    <a:pt x="3078" y="1427"/>
                    <a:pt x="3076" y="1440"/>
                    <a:pt x="3085" y="1447"/>
                  </a:cubicBezTo>
                  <a:cubicBezTo>
                    <a:pt x="3094" y="1454"/>
                    <a:pt x="3116" y="1452"/>
                    <a:pt x="3116" y="1452"/>
                  </a:cubicBezTo>
                  <a:cubicBezTo>
                    <a:pt x="3118" y="1461"/>
                    <a:pt x="3118" y="1461"/>
                    <a:pt x="3118" y="1461"/>
                  </a:cubicBezTo>
                  <a:cubicBezTo>
                    <a:pt x="3137" y="1458"/>
                    <a:pt x="3137" y="1458"/>
                    <a:pt x="3137" y="1458"/>
                  </a:cubicBezTo>
                  <a:cubicBezTo>
                    <a:pt x="3139" y="1463"/>
                    <a:pt x="3139" y="1463"/>
                    <a:pt x="3139" y="1463"/>
                  </a:cubicBezTo>
                  <a:cubicBezTo>
                    <a:pt x="3139" y="1463"/>
                    <a:pt x="3141" y="1457"/>
                    <a:pt x="3152" y="1456"/>
                  </a:cubicBezTo>
                  <a:cubicBezTo>
                    <a:pt x="3163" y="1455"/>
                    <a:pt x="3172" y="1456"/>
                    <a:pt x="3172" y="1456"/>
                  </a:cubicBezTo>
                  <a:cubicBezTo>
                    <a:pt x="3173" y="1464"/>
                    <a:pt x="3173" y="1464"/>
                    <a:pt x="3173" y="1464"/>
                  </a:cubicBezTo>
                  <a:cubicBezTo>
                    <a:pt x="3203" y="1462"/>
                    <a:pt x="3203" y="1462"/>
                    <a:pt x="3203" y="1462"/>
                  </a:cubicBezTo>
                  <a:cubicBezTo>
                    <a:pt x="3203" y="1462"/>
                    <a:pt x="3197" y="1478"/>
                    <a:pt x="3214" y="1470"/>
                  </a:cubicBezTo>
                  <a:cubicBezTo>
                    <a:pt x="3231" y="1462"/>
                    <a:pt x="3229" y="1455"/>
                    <a:pt x="3229" y="1455"/>
                  </a:cubicBezTo>
                  <a:cubicBezTo>
                    <a:pt x="3229" y="1455"/>
                    <a:pt x="3241" y="1465"/>
                    <a:pt x="3241" y="1447"/>
                  </a:cubicBezTo>
                  <a:cubicBezTo>
                    <a:pt x="3241" y="1429"/>
                    <a:pt x="3226" y="1429"/>
                    <a:pt x="3226" y="1429"/>
                  </a:cubicBezTo>
                  <a:cubicBezTo>
                    <a:pt x="3210" y="1405"/>
                    <a:pt x="3210" y="1405"/>
                    <a:pt x="3210" y="1405"/>
                  </a:cubicBezTo>
                  <a:cubicBezTo>
                    <a:pt x="3206" y="1391"/>
                    <a:pt x="3206" y="1391"/>
                    <a:pt x="3206" y="1391"/>
                  </a:cubicBezTo>
                  <a:cubicBezTo>
                    <a:pt x="3206" y="1391"/>
                    <a:pt x="3200" y="1388"/>
                    <a:pt x="3200" y="1382"/>
                  </a:cubicBezTo>
                  <a:cubicBezTo>
                    <a:pt x="3200" y="1376"/>
                    <a:pt x="3211" y="1378"/>
                    <a:pt x="3211" y="1378"/>
                  </a:cubicBezTo>
                  <a:cubicBezTo>
                    <a:pt x="3209" y="1367"/>
                    <a:pt x="3209" y="1367"/>
                    <a:pt x="3209" y="1367"/>
                  </a:cubicBezTo>
                  <a:cubicBezTo>
                    <a:pt x="3209" y="1367"/>
                    <a:pt x="3213" y="1369"/>
                    <a:pt x="3218" y="1363"/>
                  </a:cubicBezTo>
                  <a:cubicBezTo>
                    <a:pt x="3223" y="1357"/>
                    <a:pt x="3222" y="1345"/>
                    <a:pt x="3222" y="1345"/>
                  </a:cubicBezTo>
                  <a:cubicBezTo>
                    <a:pt x="3231" y="1347"/>
                    <a:pt x="3231" y="1347"/>
                    <a:pt x="3231" y="1347"/>
                  </a:cubicBezTo>
                  <a:cubicBezTo>
                    <a:pt x="3231" y="1347"/>
                    <a:pt x="3254" y="1364"/>
                    <a:pt x="3272" y="1366"/>
                  </a:cubicBezTo>
                  <a:cubicBezTo>
                    <a:pt x="3290" y="1368"/>
                    <a:pt x="3310" y="1367"/>
                    <a:pt x="3310" y="1367"/>
                  </a:cubicBezTo>
                  <a:cubicBezTo>
                    <a:pt x="3310" y="1367"/>
                    <a:pt x="3329" y="1381"/>
                    <a:pt x="3339" y="1383"/>
                  </a:cubicBezTo>
                  <a:cubicBezTo>
                    <a:pt x="3349" y="1385"/>
                    <a:pt x="3361" y="1372"/>
                    <a:pt x="3370" y="1383"/>
                  </a:cubicBezTo>
                  <a:cubicBezTo>
                    <a:pt x="3379" y="1394"/>
                    <a:pt x="3401" y="1428"/>
                    <a:pt x="3401" y="1428"/>
                  </a:cubicBezTo>
                  <a:cubicBezTo>
                    <a:pt x="3416" y="1425"/>
                    <a:pt x="3416" y="1425"/>
                    <a:pt x="3416" y="1425"/>
                  </a:cubicBezTo>
                  <a:cubicBezTo>
                    <a:pt x="3416" y="1425"/>
                    <a:pt x="3418" y="1441"/>
                    <a:pt x="3428" y="1441"/>
                  </a:cubicBezTo>
                  <a:cubicBezTo>
                    <a:pt x="3438" y="1441"/>
                    <a:pt x="3445" y="1440"/>
                    <a:pt x="3445" y="1440"/>
                  </a:cubicBezTo>
                  <a:cubicBezTo>
                    <a:pt x="3445" y="1440"/>
                    <a:pt x="3462" y="1450"/>
                    <a:pt x="3475" y="1449"/>
                  </a:cubicBezTo>
                  <a:cubicBezTo>
                    <a:pt x="3488" y="1448"/>
                    <a:pt x="3506" y="1430"/>
                    <a:pt x="3535" y="1432"/>
                  </a:cubicBezTo>
                  <a:cubicBezTo>
                    <a:pt x="3564" y="1434"/>
                    <a:pt x="3566" y="1442"/>
                    <a:pt x="3566" y="1442"/>
                  </a:cubicBezTo>
                  <a:cubicBezTo>
                    <a:pt x="3593" y="1439"/>
                    <a:pt x="3593" y="1439"/>
                    <a:pt x="3593" y="1439"/>
                  </a:cubicBezTo>
                  <a:cubicBezTo>
                    <a:pt x="3593" y="1439"/>
                    <a:pt x="3604" y="1458"/>
                    <a:pt x="3616" y="1458"/>
                  </a:cubicBezTo>
                  <a:cubicBezTo>
                    <a:pt x="3628" y="1458"/>
                    <a:pt x="3647" y="1458"/>
                    <a:pt x="3650" y="1459"/>
                  </a:cubicBezTo>
                  <a:cubicBezTo>
                    <a:pt x="3653" y="1460"/>
                    <a:pt x="3661" y="1479"/>
                    <a:pt x="3664" y="1478"/>
                  </a:cubicBezTo>
                  <a:cubicBezTo>
                    <a:pt x="3667" y="1477"/>
                    <a:pt x="3678" y="1480"/>
                    <a:pt x="3678" y="1480"/>
                  </a:cubicBezTo>
                  <a:cubicBezTo>
                    <a:pt x="3678" y="1480"/>
                    <a:pt x="3673" y="1491"/>
                    <a:pt x="3693" y="1493"/>
                  </a:cubicBezTo>
                  <a:cubicBezTo>
                    <a:pt x="3713" y="1495"/>
                    <a:pt x="3723" y="1492"/>
                    <a:pt x="3723" y="1492"/>
                  </a:cubicBezTo>
                  <a:cubicBezTo>
                    <a:pt x="3723" y="1492"/>
                    <a:pt x="3730" y="1495"/>
                    <a:pt x="3733" y="1498"/>
                  </a:cubicBezTo>
                  <a:cubicBezTo>
                    <a:pt x="3736" y="1501"/>
                    <a:pt x="3760" y="1501"/>
                    <a:pt x="3760" y="1501"/>
                  </a:cubicBezTo>
                  <a:cubicBezTo>
                    <a:pt x="3760" y="1501"/>
                    <a:pt x="3772" y="1494"/>
                    <a:pt x="3776" y="1496"/>
                  </a:cubicBezTo>
                  <a:cubicBezTo>
                    <a:pt x="3780" y="1498"/>
                    <a:pt x="3788" y="1507"/>
                    <a:pt x="3793" y="1501"/>
                  </a:cubicBezTo>
                  <a:cubicBezTo>
                    <a:pt x="3798" y="1495"/>
                    <a:pt x="3796" y="1490"/>
                    <a:pt x="3805" y="1488"/>
                  </a:cubicBezTo>
                  <a:cubicBezTo>
                    <a:pt x="3814" y="1486"/>
                    <a:pt x="3831" y="1487"/>
                    <a:pt x="3831" y="1487"/>
                  </a:cubicBezTo>
                  <a:cubicBezTo>
                    <a:pt x="3841" y="1482"/>
                    <a:pt x="3841" y="1482"/>
                    <a:pt x="3841" y="1482"/>
                  </a:cubicBezTo>
                  <a:cubicBezTo>
                    <a:pt x="3841" y="1482"/>
                    <a:pt x="3853" y="1485"/>
                    <a:pt x="3863" y="1481"/>
                  </a:cubicBezTo>
                  <a:cubicBezTo>
                    <a:pt x="3873" y="1477"/>
                    <a:pt x="3870" y="1466"/>
                    <a:pt x="3870" y="1466"/>
                  </a:cubicBezTo>
                  <a:cubicBezTo>
                    <a:pt x="3893" y="1443"/>
                    <a:pt x="3893" y="1443"/>
                    <a:pt x="3893" y="1443"/>
                  </a:cubicBezTo>
                  <a:cubicBezTo>
                    <a:pt x="3893" y="1443"/>
                    <a:pt x="3920" y="1447"/>
                    <a:pt x="3929" y="1447"/>
                  </a:cubicBezTo>
                  <a:cubicBezTo>
                    <a:pt x="3938" y="1447"/>
                    <a:pt x="3948" y="1463"/>
                    <a:pt x="3962" y="1463"/>
                  </a:cubicBezTo>
                  <a:cubicBezTo>
                    <a:pt x="3976" y="1463"/>
                    <a:pt x="3982" y="1456"/>
                    <a:pt x="3982" y="1456"/>
                  </a:cubicBezTo>
                  <a:cubicBezTo>
                    <a:pt x="4000" y="1459"/>
                    <a:pt x="4000" y="1459"/>
                    <a:pt x="4000" y="1459"/>
                  </a:cubicBezTo>
                  <a:cubicBezTo>
                    <a:pt x="4011" y="1462"/>
                    <a:pt x="4011" y="1462"/>
                    <a:pt x="4011" y="1462"/>
                  </a:cubicBezTo>
                  <a:cubicBezTo>
                    <a:pt x="4034" y="1476"/>
                    <a:pt x="4034" y="1476"/>
                    <a:pt x="4034" y="1476"/>
                  </a:cubicBezTo>
                  <a:cubicBezTo>
                    <a:pt x="4058" y="1477"/>
                    <a:pt x="4058" y="1477"/>
                    <a:pt x="4058" y="1477"/>
                  </a:cubicBezTo>
                  <a:cubicBezTo>
                    <a:pt x="4058" y="1477"/>
                    <a:pt x="4061" y="1482"/>
                    <a:pt x="4071" y="1482"/>
                  </a:cubicBezTo>
                  <a:cubicBezTo>
                    <a:pt x="4081" y="1482"/>
                    <a:pt x="4085" y="1460"/>
                    <a:pt x="4085" y="1460"/>
                  </a:cubicBezTo>
                  <a:cubicBezTo>
                    <a:pt x="4085" y="1460"/>
                    <a:pt x="4096" y="1465"/>
                    <a:pt x="4109" y="1457"/>
                  </a:cubicBezTo>
                  <a:cubicBezTo>
                    <a:pt x="4122" y="1449"/>
                    <a:pt x="4098" y="1439"/>
                    <a:pt x="4098" y="1439"/>
                  </a:cubicBezTo>
                  <a:cubicBezTo>
                    <a:pt x="4097" y="1414"/>
                    <a:pt x="4097" y="1414"/>
                    <a:pt x="4097" y="1414"/>
                  </a:cubicBezTo>
                  <a:cubicBezTo>
                    <a:pt x="4097" y="1395"/>
                    <a:pt x="4097" y="1395"/>
                    <a:pt x="4097" y="1395"/>
                  </a:cubicBezTo>
                  <a:cubicBezTo>
                    <a:pt x="4097" y="1395"/>
                    <a:pt x="4092" y="1377"/>
                    <a:pt x="4094" y="1368"/>
                  </a:cubicBezTo>
                  <a:cubicBezTo>
                    <a:pt x="4096" y="1359"/>
                    <a:pt x="4108" y="1354"/>
                    <a:pt x="4109" y="1348"/>
                  </a:cubicBezTo>
                  <a:cubicBezTo>
                    <a:pt x="4110" y="1342"/>
                    <a:pt x="4083" y="1327"/>
                    <a:pt x="4083" y="1327"/>
                  </a:cubicBezTo>
                  <a:cubicBezTo>
                    <a:pt x="4083" y="1327"/>
                    <a:pt x="4071" y="1325"/>
                    <a:pt x="4056" y="1322"/>
                  </a:cubicBezTo>
                  <a:cubicBezTo>
                    <a:pt x="4041" y="1319"/>
                    <a:pt x="4063" y="1304"/>
                    <a:pt x="4063" y="1304"/>
                  </a:cubicBezTo>
                  <a:cubicBezTo>
                    <a:pt x="4083" y="1284"/>
                    <a:pt x="4083" y="1284"/>
                    <a:pt x="4083" y="1284"/>
                  </a:cubicBezTo>
                  <a:cubicBezTo>
                    <a:pt x="4107" y="1281"/>
                    <a:pt x="4107" y="1281"/>
                    <a:pt x="4107" y="1281"/>
                  </a:cubicBezTo>
                  <a:cubicBezTo>
                    <a:pt x="4111" y="1273"/>
                    <a:pt x="4111" y="1273"/>
                    <a:pt x="4111" y="1273"/>
                  </a:cubicBezTo>
                  <a:cubicBezTo>
                    <a:pt x="4139" y="1275"/>
                    <a:pt x="4139" y="1275"/>
                    <a:pt x="4139" y="1275"/>
                  </a:cubicBezTo>
                  <a:cubicBezTo>
                    <a:pt x="4174" y="1268"/>
                    <a:pt x="4174" y="1268"/>
                    <a:pt x="4174" y="1268"/>
                  </a:cubicBezTo>
                  <a:cubicBezTo>
                    <a:pt x="4199" y="1281"/>
                    <a:pt x="4199" y="1281"/>
                    <a:pt x="4199" y="1281"/>
                  </a:cubicBezTo>
                  <a:cubicBezTo>
                    <a:pt x="4225" y="1298"/>
                    <a:pt x="4225" y="1298"/>
                    <a:pt x="4225" y="1298"/>
                  </a:cubicBezTo>
                  <a:cubicBezTo>
                    <a:pt x="4240" y="1295"/>
                    <a:pt x="4240" y="1295"/>
                    <a:pt x="4240" y="1295"/>
                  </a:cubicBezTo>
                  <a:cubicBezTo>
                    <a:pt x="4240" y="1295"/>
                    <a:pt x="4259" y="1296"/>
                    <a:pt x="4266" y="1297"/>
                  </a:cubicBezTo>
                  <a:cubicBezTo>
                    <a:pt x="4273" y="1298"/>
                    <a:pt x="4294" y="1312"/>
                    <a:pt x="4294" y="1312"/>
                  </a:cubicBezTo>
                  <a:cubicBezTo>
                    <a:pt x="4296" y="1321"/>
                    <a:pt x="4296" y="1321"/>
                    <a:pt x="4296" y="1321"/>
                  </a:cubicBezTo>
                  <a:cubicBezTo>
                    <a:pt x="4296" y="1321"/>
                    <a:pt x="4314" y="1331"/>
                    <a:pt x="4319" y="1335"/>
                  </a:cubicBezTo>
                  <a:cubicBezTo>
                    <a:pt x="4324" y="1339"/>
                    <a:pt x="4339" y="1344"/>
                    <a:pt x="4339" y="1344"/>
                  </a:cubicBezTo>
                  <a:cubicBezTo>
                    <a:pt x="4342" y="1363"/>
                    <a:pt x="4342" y="1363"/>
                    <a:pt x="4342" y="1363"/>
                  </a:cubicBezTo>
                  <a:cubicBezTo>
                    <a:pt x="4374" y="1380"/>
                    <a:pt x="4374" y="1380"/>
                    <a:pt x="4374" y="1380"/>
                  </a:cubicBezTo>
                  <a:cubicBezTo>
                    <a:pt x="4385" y="1402"/>
                    <a:pt x="4385" y="1402"/>
                    <a:pt x="4385" y="1402"/>
                  </a:cubicBezTo>
                  <a:cubicBezTo>
                    <a:pt x="4385" y="1402"/>
                    <a:pt x="4406" y="1404"/>
                    <a:pt x="4416" y="1413"/>
                  </a:cubicBezTo>
                  <a:cubicBezTo>
                    <a:pt x="4426" y="1422"/>
                    <a:pt x="4444" y="1446"/>
                    <a:pt x="4444" y="1446"/>
                  </a:cubicBezTo>
                  <a:cubicBezTo>
                    <a:pt x="4451" y="1446"/>
                    <a:pt x="4451" y="1446"/>
                    <a:pt x="4451" y="1446"/>
                  </a:cubicBezTo>
                  <a:cubicBezTo>
                    <a:pt x="4455" y="1462"/>
                    <a:pt x="4455" y="1462"/>
                    <a:pt x="4455" y="1462"/>
                  </a:cubicBezTo>
                  <a:cubicBezTo>
                    <a:pt x="4455" y="1462"/>
                    <a:pt x="4474" y="1472"/>
                    <a:pt x="4482" y="1477"/>
                  </a:cubicBezTo>
                  <a:cubicBezTo>
                    <a:pt x="4490" y="1482"/>
                    <a:pt x="4507" y="1481"/>
                    <a:pt x="4517" y="1479"/>
                  </a:cubicBezTo>
                  <a:cubicBezTo>
                    <a:pt x="4527" y="1477"/>
                    <a:pt x="4543" y="1493"/>
                    <a:pt x="4543" y="1493"/>
                  </a:cubicBezTo>
                  <a:cubicBezTo>
                    <a:pt x="4543" y="1493"/>
                    <a:pt x="4551" y="1486"/>
                    <a:pt x="4555" y="1486"/>
                  </a:cubicBezTo>
                  <a:cubicBezTo>
                    <a:pt x="4559" y="1486"/>
                    <a:pt x="4597" y="1514"/>
                    <a:pt x="4597" y="1514"/>
                  </a:cubicBezTo>
                  <a:cubicBezTo>
                    <a:pt x="4621" y="1514"/>
                    <a:pt x="4621" y="1514"/>
                    <a:pt x="4621" y="1514"/>
                  </a:cubicBezTo>
                  <a:cubicBezTo>
                    <a:pt x="4630" y="1533"/>
                    <a:pt x="4630" y="1533"/>
                    <a:pt x="4630" y="1533"/>
                  </a:cubicBezTo>
                  <a:cubicBezTo>
                    <a:pt x="4630" y="1533"/>
                    <a:pt x="4646" y="1534"/>
                    <a:pt x="4649" y="1541"/>
                  </a:cubicBezTo>
                  <a:cubicBezTo>
                    <a:pt x="4652" y="1548"/>
                    <a:pt x="4653" y="1556"/>
                    <a:pt x="4653" y="1556"/>
                  </a:cubicBezTo>
                  <a:cubicBezTo>
                    <a:pt x="4678" y="1576"/>
                    <a:pt x="4678" y="1576"/>
                    <a:pt x="4678" y="1576"/>
                  </a:cubicBezTo>
                  <a:cubicBezTo>
                    <a:pt x="4695" y="1572"/>
                    <a:pt x="4695" y="1572"/>
                    <a:pt x="4695" y="1572"/>
                  </a:cubicBezTo>
                  <a:cubicBezTo>
                    <a:pt x="4703" y="1582"/>
                    <a:pt x="4703" y="1582"/>
                    <a:pt x="4703" y="1582"/>
                  </a:cubicBezTo>
                  <a:cubicBezTo>
                    <a:pt x="4716" y="1581"/>
                    <a:pt x="4716" y="1581"/>
                    <a:pt x="4716" y="1581"/>
                  </a:cubicBezTo>
                  <a:cubicBezTo>
                    <a:pt x="4716" y="1574"/>
                    <a:pt x="4716" y="1574"/>
                    <a:pt x="4716" y="1574"/>
                  </a:cubicBezTo>
                  <a:cubicBezTo>
                    <a:pt x="4735" y="1576"/>
                    <a:pt x="4735" y="1576"/>
                    <a:pt x="4735" y="1576"/>
                  </a:cubicBezTo>
                  <a:cubicBezTo>
                    <a:pt x="4735" y="1576"/>
                    <a:pt x="4736" y="1565"/>
                    <a:pt x="4739" y="1560"/>
                  </a:cubicBezTo>
                  <a:cubicBezTo>
                    <a:pt x="4742" y="1555"/>
                    <a:pt x="4770" y="1556"/>
                    <a:pt x="4770" y="1556"/>
                  </a:cubicBezTo>
                  <a:cubicBezTo>
                    <a:pt x="4775" y="1542"/>
                    <a:pt x="4775" y="1542"/>
                    <a:pt x="4775" y="1542"/>
                  </a:cubicBezTo>
                  <a:cubicBezTo>
                    <a:pt x="4775" y="1542"/>
                    <a:pt x="4800" y="1536"/>
                    <a:pt x="4810" y="1544"/>
                  </a:cubicBezTo>
                  <a:cubicBezTo>
                    <a:pt x="4820" y="1552"/>
                    <a:pt x="4814" y="1565"/>
                    <a:pt x="4814" y="1565"/>
                  </a:cubicBezTo>
                  <a:cubicBezTo>
                    <a:pt x="4832" y="1573"/>
                    <a:pt x="4832" y="1573"/>
                    <a:pt x="4832" y="1573"/>
                  </a:cubicBezTo>
                  <a:cubicBezTo>
                    <a:pt x="4832" y="1593"/>
                    <a:pt x="4832" y="1593"/>
                    <a:pt x="4832" y="1593"/>
                  </a:cubicBezTo>
                  <a:cubicBezTo>
                    <a:pt x="4820" y="1598"/>
                    <a:pt x="4820" y="1598"/>
                    <a:pt x="4820" y="1598"/>
                  </a:cubicBezTo>
                  <a:cubicBezTo>
                    <a:pt x="4828" y="1608"/>
                    <a:pt x="4828" y="1608"/>
                    <a:pt x="4828" y="1608"/>
                  </a:cubicBezTo>
                  <a:cubicBezTo>
                    <a:pt x="4828" y="1620"/>
                    <a:pt x="4828" y="1620"/>
                    <a:pt x="4828" y="1620"/>
                  </a:cubicBezTo>
                  <a:cubicBezTo>
                    <a:pt x="4835" y="1630"/>
                    <a:pt x="4835" y="1630"/>
                    <a:pt x="4835" y="1630"/>
                  </a:cubicBezTo>
                  <a:cubicBezTo>
                    <a:pt x="4835" y="1643"/>
                    <a:pt x="4835" y="1643"/>
                    <a:pt x="4835" y="1643"/>
                  </a:cubicBezTo>
                  <a:cubicBezTo>
                    <a:pt x="4846" y="1650"/>
                    <a:pt x="4846" y="1650"/>
                    <a:pt x="4846" y="1650"/>
                  </a:cubicBezTo>
                  <a:cubicBezTo>
                    <a:pt x="4843" y="1667"/>
                    <a:pt x="4843" y="1667"/>
                    <a:pt x="4843" y="1667"/>
                  </a:cubicBezTo>
                  <a:cubicBezTo>
                    <a:pt x="4846" y="1684"/>
                    <a:pt x="4846" y="1684"/>
                    <a:pt x="4846" y="1684"/>
                  </a:cubicBezTo>
                  <a:cubicBezTo>
                    <a:pt x="4846" y="1684"/>
                    <a:pt x="4834" y="1688"/>
                    <a:pt x="4839" y="1700"/>
                  </a:cubicBezTo>
                  <a:cubicBezTo>
                    <a:pt x="4844" y="1712"/>
                    <a:pt x="4846" y="1713"/>
                    <a:pt x="4839" y="1719"/>
                  </a:cubicBezTo>
                  <a:cubicBezTo>
                    <a:pt x="4832" y="1725"/>
                    <a:pt x="4796" y="1702"/>
                    <a:pt x="4785" y="1707"/>
                  </a:cubicBezTo>
                  <a:cubicBezTo>
                    <a:pt x="4774" y="1712"/>
                    <a:pt x="4786" y="1718"/>
                    <a:pt x="4784" y="1723"/>
                  </a:cubicBezTo>
                  <a:cubicBezTo>
                    <a:pt x="4782" y="1728"/>
                    <a:pt x="4769" y="1719"/>
                    <a:pt x="4766" y="1729"/>
                  </a:cubicBezTo>
                  <a:cubicBezTo>
                    <a:pt x="4763" y="1739"/>
                    <a:pt x="4778" y="1740"/>
                    <a:pt x="4792" y="1753"/>
                  </a:cubicBezTo>
                  <a:cubicBezTo>
                    <a:pt x="4806" y="1766"/>
                    <a:pt x="4810" y="1785"/>
                    <a:pt x="4812" y="1791"/>
                  </a:cubicBezTo>
                  <a:cubicBezTo>
                    <a:pt x="4814" y="1797"/>
                    <a:pt x="4825" y="1808"/>
                    <a:pt x="4825" y="1808"/>
                  </a:cubicBezTo>
                  <a:cubicBezTo>
                    <a:pt x="4826" y="1831"/>
                    <a:pt x="4826" y="1831"/>
                    <a:pt x="4826" y="1831"/>
                  </a:cubicBezTo>
                  <a:cubicBezTo>
                    <a:pt x="4809" y="1827"/>
                    <a:pt x="4809" y="1827"/>
                    <a:pt x="4809" y="1827"/>
                  </a:cubicBezTo>
                  <a:cubicBezTo>
                    <a:pt x="4802" y="1845"/>
                    <a:pt x="4802" y="1845"/>
                    <a:pt x="4802" y="1845"/>
                  </a:cubicBezTo>
                  <a:cubicBezTo>
                    <a:pt x="4821" y="1851"/>
                    <a:pt x="4821" y="1851"/>
                    <a:pt x="4821" y="1851"/>
                  </a:cubicBezTo>
                  <a:cubicBezTo>
                    <a:pt x="4844" y="1852"/>
                    <a:pt x="4844" y="1852"/>
                    <a:pt x="4844" y="1852"/>
                  </a:cubicBezTo>
                  <a:cubicBezTo>
                    <a:pt x="4844" y="1852"/>
                    <a:pt x="4838" y="1811"/>
                    <a:pt x="4847" y="1807"/>
                  </a:cubicBezTo>
                  <a:cubicBezTo>
                    <a:pt x="4856" y="1803"/>
                    <a:pt x="4863" y="1816"/>
                    <a:pt x="4863" y="1816"/>
                  </a:cubicBezTo>
                  <a:cubicBezTo>
                    <a:pt x="4872" y="1808"/>
                    <a:pt x="4872" y="1808"/>
                    <a:pt x="4872" y="1808"/>
                  </a:cubicBezTo>
                  <a:cubicBezTo>
                    <a:pt x="4872" y="1808"/>
                    <a:pt x="4888" y="1840"/>
                    <a:pt x="4896" y="1838"/>
                  </a:cubicBezTo>
                  <a:cubicBezTo>
                    <a:pt x="4904" y="1836"/>
                    <a:pt x="4923" y="1830"/>
                    <a:pt x="4923" y="1830"/>
                  </a:cubicBezTo>
                  <a:cubicBezTo>
                    <a:pt x="4923" y="1842"/>
                    <a:pt x="4923" y="1842"/>
                    <a:pt x="4923" y="1842"/>
                  </a:cubicBezTo>
                  <a:cubicBezTo>
                    <a:pt x="4923" y="1842"/>
                    <a:pt x="4978" y="1822"/>
                    <a:pt x="4980" y="1802"/>
                  </a:cubicBezTo>
                  <a:cubicBezTo>
                    <a:pt x="4982" y="1782"/>
                    <a:pt x="4985" y="1754"/>
                    <a:pt x="4985" y="1754"/>
                  </a:cubicBezTo>
                  <a:cubicBezTo>
                    <a:pt x="4999" y="1747"/>
                    <a:pt x="4999" y="1747"/>
                    <a:pt x="4999" y="1747"/>
                  </a:cubicBezTo>
                  <a:cubicBezTo>
                    <a:pt x="4999" y="1747"/>
                    <a:pt x="4997" y="1704"/>
                    <a:pt x="5006" y="1697"/>
                  </a:cubicBezTo>
                  <a:cubicBezTo>
                    <a:pt x="5015" y="1690"/>
                    <a:pt x="5017" y="1666"/>
                    <a:pt x="5019" y="1650"/>
                  </a:cubicBezTo>
                  <a:cubicBezTo>
                    <a:pt x="5021" y="1634"/>
                    <a:pt x="5010" y="1607"/>
                    <a:pt x="5010" y="1607"/>
                  </a:cubicBezTo>
                  <a:cubicBezTo>
                    <a:pt x="5010" y="1607"/>
                    <a:pt x="5024" y="1585"/>
                    <a:pt x="5024" y="1580"/>
                  </a:cubicBezTo>
                  <a:cubicBezTo>
                    <a:pt x="5024" y="1575"/>
                    <a:pt x="5016" y="1565"/>
                    <a:pt x="5016" y="1565"/>
                  </a:cubicBezTo>
                  <a:cubicBezTo>
                    <a:pt x="5016" y="1565"/>
                    <a:pt x="5033" y="1541"/>
                    <a:pt x="5029" y="1532"/>
                  </a:cubicBezTo>
                  <a:cubicBezTo>
                    <a:pt x="5025" y="1523"/>
                    <a:pt x="5013" y="1496"/>
                    <a:pt x="5013" y="1496"/>
                  </a:cubicBezTo>
                  <a:cubicBezTo>
                    <a:pt x="5013" y="1496"/>
                    <a:pt x="5005" y="1468"/>
                    <a:pt x="4998" y="1465"/>
                  </a:cubicBezTo>
                  <a:cubicBezTo>
                    <a:pt x="4991" y="1462"/>
                    <a:pt x="4986" y="1458"/>
                    <a:pt x="4986" y="1458"/>
                  </a:cubicBezTo>
                  <a:cubicBezTo>
                    <a:pt x="4990" y="1451"/>
                    <a:pt x="4990" y="1451"/>
                    <a:pt x="4990" y="1451"/>
                  </a:cubicBezTo>
                  <a:cubicBezTo>
                    <a:pt x="4990" y="1451"/>
                    <a:pt x="4971" y="1443"/>
                    <a:pt x="4965" y="1428"/>
                  </a:cubicBezTo>
                  <a:cubicBezTo>
                    <a:pt x="4959" y="1413"/>
                    <a:pt x="4957" y="1401"/>
                    <a:pt x="4957" y="1401"/>
                  </a:cubicBezTo>
                  <a:cubicBezTo>
                    <a:pt x="4948" y="1395"/>
                    <a:pt x="4948" y="1395"/>
                    <a:pt x="4948" y="1395"/>
                  </a:cubicBezTo>
                  <a:cubicBezTo>
                    <a:pt x="4948" y="1395"/>
                    <a:pt x="4955" y="1365"/>
                    <a:pt x="4948" y="1356"/>
                  </a:cubicBezTo>
                  <a:cubicBezTo>
                    <a:pt x="4941" y="1347"/>
                    <a:pt x="4936" y="1340"/>
                    <a:pt x="4936" y="1340"/>
                  </a:cubicBezTo>
                  <a:cubicBezTo>
                    <a:pt x="4924" y="1336"/>
                    <a:pt x="4924" y="1336"/>
                    <a:pt x="4924" y="1336"/>
                  </a:cubicBezTo>
                  <a:cubicBezTo>
                    <a:pt x="4924" y="1336"/>
                    <a:pt x="4920" y="1322"/>
                    <a:pt x="4913" y="1317"/>
                  </a:cubicBezTo>
                  <a:cubicBezTo>
                    <a:pt x="4906" y="1312"/>
                    <a:pt x="4889" y="1304"/>
                    <a:pt x="4889" y="1304"/>
                  </a:cubicBezTo>
                  <a:cubicBezTo>
                    <a:pt x="4875" y="1300"/>
                    <a:pt x="4875" y="1300"/>
                    <a:pt x="4875" y="1300"/>
                  </a:cubicBezTo>
                  <a:cubicBezTo>
                    <a:pt x="4872" y="1291"/>
                    <a:pt x="4872" y="1291"/>
                    <a:pt x="4872" y="1291"/>
                  </a:cubicBezTo>
                  <a:cubicBezTo>
                    <a:pt x="4872" y="1291"/>
                    <a:pt x="4900" y="1304"/>
                    <a:pt x="4903" y="1298"/>
                  </a:cubicBezTo>
                  <a:cubicBezTo>
                    <a:pt x="4906" y="1292"/>
                    <a:pt x="4885" y="1286"/>
                    <a:pt x="4885" y="1286"/>
                  </a:cubicBezTo>
                  <a:cubicBezTo>
                    <a:pt x="4830" y="1260"/>
                    <a:pt x="4830" y="1260"/>
                    <a:pt x="4830" y="1260"/>
                  </a:cubicBezTo>
                  <a:cubicBezTo>
                    <a:pt x="4830" y="1260"/>
                    <a:pt x="4802" y="1243"/>
                    <a:pt x="4794" y="1238"/>
                  </a:cubicBezTo>
                  <a:cubicBezTo>
                    <a:pt x="4786" y="1233"/>
                    <a:pt x="4772" y="1243"/>
                    <a:pt x="4772" y="1243"/>
                  </a:cubicBezTo>
                  <a:cubicBezTo>
                    <a:pt x="4746" y="1236"/>
                    <a:pt x="4746" y="1236"/>
                    <a:pt x="4746" y="1236"/>
                  </a:cubicBezTo>
                  <a:cubicBezTo>
                    <a:pt x="4771" y="1264"/>
                    <a:pt x="4771" y="1264"/>
                    <a:pt x="4771" y="1264"/>
                  </a:cubicBezTo>
                  <a:cubicBezTo>
                    <a:pt x="4767" y="1281"/>
                    <a:pt x="4767" y="1281"/>
                    <a:pt x="4767" y="1281"/>
                  </a:cubicBezTo>
                  <a:cubicBezTo>
                    <a:pt x="4759" y="1279"/>
                    <a:pt x="4759" y="1279"/>
                    <a:pt x="4759" y="1279"/>
                  </a:cubicBezTo>
                  <a:cubicBezTo>
                    <a:pt x="4758" y="1259"/>
                    <a:pt x="4758" y="1259"/>
                    <a:pt x="4758" y="1259"/>
                  </a:cubicBezTo>
                  <a:cubicBezTo>
                    <a:pt x="4748" y="1252"/>
                    <a:pt x="4748" y="1252"/>
                    <a:pt x="4748" y="1252"/>
                  </a:cubicBezTo>
                  <a:cubicBezTo>
                    <a:pt x="4746" y="1271"/>
                    <a:pt x="4746" y="1271"/>
                    <a:pt x="4746" y="1271"/>
                  </a:cubicBezTo>
                  <a:cubicBezTo>
                    <a:pt x="4717" y="1273"/>
                    <a:pt x="4717" y="1273"/>
                    <a:pt x="4717" y="1273"/>
                  </a:cubicBezTo>
                  <a:cubicBezTo>
                    <a:pt x="4717" y="1273"/>
                    <a:pt x="4724" y="1263"/>
                    <a:pt x="4719" y="1257"/>
                  </a:cubicBezTo>
                  <a:cubicBezTo>
                    <a:pt x="4714" y="1251"/>
                    <a:pt x="4701" y="1253"/>
                    <a:pt x="4701" y="1253"/>
                  </a:cubicBezTo>
                  <a:cubicBezTo>
                    <a:pt x="4696" y="1260"/>
                    <a:pt x="4696" y="1260"/>
                    <a:pt x="4696" y="1260"/>
                  </a:cubicBezTo>
                  <a:cubicBezTo>
                    <a:pt x="4681" y="1261"/>
                    <a:pt x="4681" y="1261"/>
                    <a:pt x="4681" y="1261"/>
                  </a:cubicBezTo>
                  <a:cubicBezTo>
                    <a:pt x="4672" y="1236"/>
                    <a:pt x="4672" y="1236"/>
                    <a:pt x="4672" y="1236"/>
                  </a:cubicBezTo>
                  <a:cubicBezTo>
                    <a:pt x="4668" y="1235"/>
                    <a:pt x="4668" y="1235"/>
                    <a:pt x="4668" y="1235"/>
                  </a:cubicBezTo>
                  <a:cubicBezTo>
                    <a:pt x="4660" y="1222"/>
                    <a:pt x="4660" y="1222"/>
                    <a:pt x="4660" y="1222"/>
                  </a:cubicBezTo>
                  <a:cubicBezTo>
                    <a:pt x="4612" y="1224"/>
                    <a:pt x="4612" y="1224"/>
                    <a:pt x="4612" y="1224"/>
                  </a:cubicBezTo>
                  <a:cubicBezTo>
                    <a:pt x="4606" y="1218"/>
                    <a:pt x="4606" y="1218"/>
                    <a:pt x="4606" y="1218"/>
                  </a:cubicBezTo>
                  <a:cubicBezTo>
                    <a:pt x="4606" y="1218"/>
                    <a:pt x="4580" y="1222"/>
                    <a:pt x="4580" y="1205"/>
                  </a:cubicBezTo>
                  <a:cubicBezTo>
                    <a:pt x="4580" y="1188"/>
                    <a:pt x="4602" y="1186"/>
                    <a:pt x="4602" y="1186"/>
                  </a:cubicBezTo>
                  <a:cubicBezTo>
                    <a:pt x="4602" y="1170"/>
                    <a:pt x="4602" y="1170"/>
                    <a:pt x="4602" y="1170"/>
                  </a:cubicBezTo>
                  <a:cubicBezTo>
                    <a:pt x="4602" y="1170"/>
                    <a:pt x="4621" y="1169"/>
                    <a:pt x="4622" y="1158"/>
                  </a:cubicBezTo>
                  <a:cubicBezTo>
                    <a:pt x="4623" y="1147"/>
                    <a:pt x="4633" y="1132"/>
                    <a:pt x="4633" y="1132"/>
                  </a:cubicBezTo>
                  <a:cubicBezTo>
                    <a:pt x="4623" y="1123"/>
                    <a:pt x="4623" y="1123"/>
                    <a:pt x="4623" y="1123"/>
                  </a:cubicBezTo>
                  <a:cubicBezTo>
                    <a:pt x="4630" y="1110"/>
                    <a:pt x="4630" y="1110"/>
                    <a:pt x="4630" y="1110"/>
                  </a:cubicBezTo>
                  <a:cubicBezTo>
                    <a:pt x="4623" y="1100"/>
                    <a:pt x="4623" y="1100"/>
                    <a:pt x="4623" y="1100"/>
                  </a:cubicBezTo>
                  <a:cubicBezTo>
                    <a:pt x="4637" y="1089"/>
                    <a:pt x="4637" y="1089"/>
                    <a:pt x="4637" y="1089"/>
                  </a:cubicBezTo>
                  <a:cubicBezTo>
                    <a:pt x="4651" y="1086"/>
                    <a:pt x="4651" y="1086"/>
                    <a:pt x="4651" y="1086"/>
                  </a:cubicBezTo>
                  <a:cubicBezTo>
                    <a:pt x="4645" y="1064"/>
                    <a:pt x="4645" y="1064"/>
                    <a:pt x="4645" y="1064"/>
                  </a:cubicBezTo>
                  <a:cubicBezTo>
                    <a:pt x="4660" y="1059"/>
                    <a:pt x="4660" y="1059"/>
                    <a:pt x="4660" y="1059"/>
                  </a:cubicBezTo>
                  <a:cubicBezTo>
                    <a:pt x="4642" y="1036"/>
                    <a:pt x="4642" y="1036"/>
                    <a:pt x="4642" y="1036"/>
                  </a:cubicBezTo>
                  <a:cubicBezTo>
                    <a:pt x="4664" y="1027"/>
                    <a:pt x="4664" y="1027"/>
                    <a:pt x="4664" y="1027"/>
                  </a:cubicBezTo>
                  <a:cubicBezTo>
                    <a:pt x="4664" y="1027"/>
                    <a:pt x="4657" y="997"/>
                    <a:pt x="4673" y="987"/>
                  </a:cubicBezTo>
                  <a:cubicBezTo>
                    <a:pt x="4689" y="977"/>
                    <a:pt x="4695" y="976"/>
                    <a:pt x="4695" y="976"/>
                  </a:cubicBezTo>
                  <a:cubicBezTo>
                    <a:pt x="4695" y="976"/>
                    <a:pt x="4720" y="980"/>
                    <a:pt x="4732" y="979"/>
                  </a:cubicBezTo>
                  <a:cubicBezTo>
                    <a:pt x="4744" y="978"/>
                    <a:pt x="4796" y="982"/>
                    <a:pt x="4796" y="982"/>
                  </a:cubicBezTo>
                  <a:cubicBezTo>
                    <a:pt x="4807" y="993"/>
                    <a:pt x="4807" y="993"/>
                    <a:pt x="4807" y="993"/>
                  </a:cubicBezTo>
                  <a:cubicBezTo>
                    <a:pt x="4820" y="988"/>
                    <a:pt x="4820" y="988"/>
                    <a:pt x="4820" y="988"/>
                  </a:cubicBezTo>
                  <a:cubicBezTo>
                    <a:pt x="4815" y="976"/>
                    <a:pt x="4815" y="976"/>
                    <a:pt x="4815" y="976"/>
                  </a:cubicBezTo>
                  <a:cubicBezTo>
                    <a:pt x="4865" y="989"/>
                    <a:pt x="4865" y="989"/>
                    <a:pt x="4865" y="989"/>
                  </a:cubicBezTo>
                  <a:cubicBezTo>
                    <a:pt x="4885" y="977"/>
                    <a:pt x="4885" y="977"/>
                    <a:pt x="4885" y="977"/>
                  </a:cubicBezTo>
                  <a:cubicBezTo>
                    <a:pt x="4904" y="992"/>
                    <a:pt x="4904" y="992"/>
                    <a:pt x="4904" y="992"/>
                  </a:cubicBezTo>
                  <a:cubicBezTo>
                    <a:pt x="4909" y="968"/>
                    <a:pt x="4909" y="968"/>
                    <a:pt x="4909" y="968"/>
                  </a:cubicBezTo>
                  <a:cubicBezTo>
                    <a:pt x="4909" y="968"/>
                    <a:pt x="4932" y="966"/>
                    <a:pt x="4948" y="967"/>
                  </a:cubicBezTo>
                  <a:cubicBezTo>
                    <a:pt x="4964" y="968"/>
                    <a:pt x="4970" y="982"/>
                    <a:pt x="4976" y="980"/>
                  </a:cubicBezTo>
                  <a:cubicBezTo>
                    <a:pt x="4982" y="978"/>
                    <a:pt x="5000" y="967"/>
                    <a:pt x="5000" y="967"/>
                  </a:cubicBezTo>
                  <a:cubicBezTo>
                    <a:pt x="5016" y="981"/>
                    <a:pt x="5016" y="981"/>
                    <a:pt x="5016" y="981"/>
                  </a:cubicBezTo>
                  <a:cubicBezTo>
                    <a:pt x="5044" y="986"/>
                    <a:pt x="5044" y="986"/>
                    <a:pt x="5044" y="986"/>
                  </a:cubicBezTo>
                  <a:cubicBezTo>
                    <a:pt x="5008" y="993"/>
                    <a:pt x="5008" y="993"/>
                    <a:pt x="5008" y="993"/>
                  </a:cubicBezTo>
                  <a:cubicBezTo>
                    <a:pt x="5008" y="993"/>
                    <a:pt x="5019" y="1014"/>
                    <a:pt x="5030" y="1009"/>
                  </a:cubicBezTo>
                  <a:cubicBezTo>
                    <a:pt x="5041" y="1004"/>
                    <a:pt x="5061" y="996"/>
                    <a:pt x="5061" y="996"/>
                  </a:cubicBezTo>
                  <a:cubicBezTo>
                    <a:pt x="5079" y="1005"/>
                    <a:pt x="5079" y="1005"/>
                    <a:pt x="5079" y="1005"/>
                  </a:cubicBezTo>
                  <a:cubicBezTo>
                    <a:pt x="5094" y="993"/>
                    <a:pt x="5094" y="993"/>
                    <a:pt x="5094" y="993"/>
                  </a:cubicBezTo>
                  <a:cubicBezTo>
                    <a:pt x="5094" y="993"/>
                    <a:pt x="5121" y="1002"/>
                    <a:pt x="5129" y="998"/>
                  </a:cubicBezTo>
                  <a:cubicBezTo>
                    <a:pt x="5137" y="994"/>
                    <a:pt x="5131" y="986"/>
                    <a:pt x="5131" y="986"/>
                  </a:cubicBezTo>
                  <a:cubicBezTo>
                    <a:pt x="5155" y="988"/>
                    <a:pt x="5155" y="988"/>
                    <a:pt x="5155" y="988"/>
                  </a:cubicBezTo>
                  <a:cubicBezTo>
                    <a:pt x="5122" y="970"/>
                    <a:pt x="5122" y="970"/>
                    <a:pt x="5122" y="970"/>
                  </a:cubicBezTo>
                  <a:cubicBezTo>
                    <a:pt x="5104" y="977"/>
                    <a:pt x="5104" y="977"/>
                    <a:pt x="5104" y="977"/>
                  </a:cubicBezTo>
                  <a:cubicBezTo>
                    <a:pt x="5099" y="965"/>
                    <a:pt x="5099" y="965"/>
                    <a:pt x="5099" y="965"/>
                  </a:cubicBezTo>
                  <a:cubicBezTo>
                    <a:pt x="5099" y="965"/>
                    <a:pt x="5084" y="942"/>
                    <a:pt x="5086" y="937"/>
                  </a:cubicBezTo>
                  <a:cubicBezTo>
                    <a:pt x="5088" y="932"/>
                    <a:pt x="5105" y="918"/>
                    <a:pt x="5105" y="918"/>
                  </a:cubicBezTo>
                  <a:cubicBezTo>
                    <a:pt x="5101" y="898"/>
                    <a:pt x="5101" y="898"/>
                    <a:pt x="5101" y="898"/>
                  </a:cubicBezTo>
                  <a:cubicBezTo>
                    <a:pt x="5110" y="890"/>
                    <a:pt x="5110" y="890"/>
                    <a:pt x="5110" y="890"/>
                  </a:cubicBezTo>
                  <a:cubicBezTo>
                    <a:pt x="5110" y="890"/>
                    <a:pt x="5084" y="877"/>
                    <a:pt x="5101" y="866"/>
                  </a:cubicBezTo>
                  <a:cubicBezTo>
                    <a:pt x="5118" y="855"/>
                    <a:pt x="5154" y="866"/>
                    <a:pt x="5154" y="866"/>
                  </a:cubicBezTo>
                  <a:cubicBezTo>
                    <a:pt x="5168" y="852"/>
                    <a:pt x="5168" y="852"/>
                    <a:pt x="5168" y="852"/>
                  </a:cubicBezTo>
                  <a:cubicBezTo>
                    <a:pt x="5190" y="871"/>
                    <a:pt x="5190" y="871"/>
                    <a:pt x="5190" y="871"/>
                  </a:cubicBezTo>
                  <a:cubicBezTo>
                    <a:pt x="5209" y="860"/>
                    <a:pt x="5209" y="860"/>
                    <a:pt x="5209" y="860"/>
                  </a:cubicBezTo>
                  <a:cubicBezTo>
                    <a:pt x="5209" y="860"/>
                    <a:pt x="5222" y="893"/>
                    <a:pt x="5229" y="896"/>
                  </a:cubicBezTo>
                  <a:cubicBezTo>
                    <a:pt x="5236" y="899"/>
                    <a:pt x="5257" y="895"/>
                    <a:pt x="5257" y="895"/>
                  </a:cubicBezTo>
                  <a:cubicBezTo>
                    <a:pt x="5257" y="895"/>
                    <a:pt x="5257" y="926"/>
                    <a:pt x="5268" y="922"/>
                  </a:cubicBezTo>
                  <a:cubicBezTo>
                    <a:pt x="5279" y="918"/>
                    <a:pt x="5294" y="878"/>
                    <a:pt x="5294" y="878"/>
                  </a:cubicBezTo>
                  <a:cubicBezTo>
                    <a:pt x="5310" y="869"/>
                    <a:pt x="5310" y="869"/>
                    <a:pt x="5310" y="869"/>
                  </a:cubicBezTo>
                  <a:cubicBezTo>
                    <a:pt x="5330" y="876"/>
                    <a:pt x="5330" y="876"/>
                    <a:pt x="5330" y="876"/>
                  </a:cubicBezTo>
                  <a:cubicBezTo>
                    <a:pt x="5329" y="867"/>
                    <a:pt x="5329" y="867"/>
                    <a:pt x="5329" y="867"/>
                  </a:cubicBezTo>
                  <a:cubicBezTo>
                    <a:pt x="5310" y="857"/>
                    <a:pt x="5310" y="857"/>
                    <a:pt x="5310" y="857"/>
                  </a:cubicBezTo>
                  <a:cubicBezTo>
                    <a:pt x="5310" y="857"/>
                    <a:pt x="5263" y="823"/>
                    <a:pt x="5274" y="822"/>
                  </a:cubicBezTo>
                  <a:cubicBezTo>
                    <a:pt x="5285" y="821"/>
                    <a:pt x="5339" y="823"/>
                    <a:pt x="5339" y="823"/>
                  </a:cubicBezTo>
                  <a:cubicBezTo>
                    <a:pt x="5373" y="823"/>
                    <a:pt x="5373" y="823"/>
                    <a:pt x="5373" y="823"/>
                  </a:cubicBezTo>
                  <a:cubicBezTo>
                    <a:pt x="5373" y="823"/>
                    <a:pt x="5376" y="837"/>
                    <a:pt x="5372" y="836"/>
                  </a:cubicBezTo>
                  <a:cubicBezTo>
                    <a:pt x="5368" y="835"/>
                    <a:pt x="5329" y="823"/>
                    <a:pt x="5331" y="837"/>
                  </a:cubicBezTo>
                  <a:cubicBezTo>
                    <a:pt x="5333" y="851"/>
                    <a:pt x="5356" y="864"/>
                    <a:pt x="5356" y="864"/>
                  </a:cubicBezTo>
                  <a:cubicBezTo>
                    <a:pt x="5358" y="881"/>
                    <a:pt x="5358" y="881"/>
                    <a:pt x="5358" y="881"/>
                  </a:cubicBezTo>
                  <a:cubicBezTo>
                    <a:pt x="5378" y="884"/>
                    <a:pt x="5378" y="884"/>
                    <a:pt x="5378" y="884"/>
                  </a:cubicBezTo>
                  <a:cubicBezTo>
                    <a:pt x="5374" y="897"/>
                    <a:pt x="5374" y="897"/>
                    <a:pt x="5374" y="897"/>
                  </a:cubicBezTo>
                  <a:cubicBezTo>
                    <a:pt x="5387" y="908"/>
                    <a:pt x="5387" y="908"/>
                    <a:pt x="5387" y="908"/>
                  </a:cubicBezTo>
                  <a:cubicBezTo>
                    <a:pt x="5369" y="911"/>
                    <a:pt x="5369" y="911"/>
                    <a:pt x="5369" y="911"/>
                  </a:cubicBezTo>
                  <a:cubicBezTo>
                    <a:pt x="5364" y="922"/>
                    <a:pt x="5364" y="922"/>
                    <a:pt x="5364" y="922"/>
                  </a:cubicBezTo>
                  <a:cubicBezTo>
                    <a:pt x="5352" y="926"/>
                    <a:pt x="5352" y="926"/>
                    <a:pt x="5352" y="926"/>
                  </a:cubicBezTo>
                  <a:cubicBezTo>
                    <a:pt x="5352" y="926"/>
                    <a:pt x="5365" y="948"/>
                    <a:pt x="5358" y="960"/>
                  </a:cubicBezTo>
                  <a:cubicBezTo>
                    <a:pt x="5351" y="972"/>
                    <a:pt x="5340" y="992"/>
                    <a:pt x="5340" y="999"/>
                  </a:cubicBezTo>
                  <a:cubicBezTo>
                    <a:pt x="5340" y="1006"/>
                    <a:pt x="5358" y="1012"/>
                    <a:pt x="5345" y="1029"/>
                  </a:cubicBezTo>
                  <a:cubicBezTo>
                    <a:pt x="5332" y="1046"/>
                    <a:pt x="5310" y="1051"/>
                    <a:pt x="5310" y="1051"/>
                  </a:cubicBezTo>
                  <a:cubicBezTo>
                    <a:pt x="5313" y="1063"/>
                    <a:pt x="5313" y="1063"/>
                    <a:pt x="5313" y="1063"/>
                  </a:cubicBezTo>
                  <a:cubicBezTo>
                    <a:pt x="5300" y="1063"/>
                    <a:pt x="5300" y="1063"/>
                    <a:pt x="5300" y="1063"/>
                  </a:cubicBezTo>
                  <a:cubicBezTo>
                    <a:pt x="5300" y="1063"/>
                    <a:pt x="5324" y="1073"/>
                    <a:pt x="5322" y="1090"/>
                  </a:cubicBezTo>
                  <a:cubicBezTo>
                    <a:pt x="5320" y="1107"/>
                    <a:pt x="5313" y="1118"/>
                    <a:pt x="5320" y="1135"/>
                  </a:cubicBezTo>
                  <a:cubicBezTo>
                    <a:pt x="5327" y="1152"/>
                    <a:pt x="5392" y="1206"/>
                    <a:pt x="5392" y="1206"/>
                  </a:cubicBezTo>
                  <a:cubicBezTo>
                    <a:pt x="5432" y="1247"/>
                    <a:pt x="5432" y="1247"/>
                    <a:pt x="5432" y="1247"/>
                  </a:cubicBezTo>
                  <a:cubicBezTo>
                    <a:pt x="5441" y="1244"/>
                    <a:pt x="5441" y="1244"/>
                    <a:pt x="5441" y="1244"/>
                  </a:cubicBezTo>
                  <a:cubicBezTo>
                    <a:pt x="5494" y="1308"/>
                    <a:pt x="5494" y="1308"/>
                    <a:pt x="5494" y="1308"/>
                  </a:cubicBezTo>
                  <a:cubicBezTo>
                    <a:pt x="5529" y="1319"/>
                    <a:pt x="5529" y="1319"/>
                    <a:pt x="5529" y="1319"/>
                  </a:cubicBezTo>
                  <a:cubicBezTo>
                    <a:pt x="5544" y="1337"/>
                    <a:pt x="5544" y="1337"/>
                    <a:pt x="5544" y="1337"/>
                  </a:cubicBezTo>
                  <a:cubicBezTo>
                    <a:pt x="5544" y="1337"/>
                    <a:pt x="5583" y="1385"/>
                    <a:pt x="5590" y="1389"/>
                  </a:cubicBezTo>
                  <a:cubicBezTo>
                    <a:pt x="5597" y="1393"/>
                    <a:pt x="5608" y="1393"/>
                    <a:pt x="5608" y="1393"/>
                  </a:cubicBezTo>
                  <a:cubicBezTo>
                    <a:pt x="5608" y="1393"/>
                    <a:pt x="5602" y="1411"/>
                    <a:pt x="5617" y="1405"/>
                  </a:cubicBezTo>
                  <a:cubicBezTo>
                    <a:pt x="5632" y="1399"/>
                    <a:pt x="5630" y="1386"/>
                    <a:pt x="5630" y="1386"/>
                  </a:cubicBezTo>
                  <a:cubicBezTo>
                    <a:pt x="5623" y="1378"/>
                    <a:pt x="5623" y="1378"/>
                    <a:pt x="5623" y="1378"/>
                  </a:cubicBezTo>
                  <a:cubicBezTo>
                    <a:pt x="5623" y="1378"/>
                    <a:pt x="5638" y="1358"/>
                    <a:pt x="5635" y="1349"/>
                  </a:cubicBezTo>
                  <a:cubicBezTo>
                    <a:pt x="5632" y="1340"/>
                    <a:pt x="5601" y="1323"/>
                    <a:pt x="5608" y="1310"/>
                  </a:cubicBezTo>
                  <a:cubicBezTo>
                    <a:pt x="5615" y="1297"/>
                    <a:pt x="5624" y="1289"/>
                    <a:pt x="5627" y="1288"/>
                  </a:cubicBezTo>
                  <a:cubicBezTo>
                    <a:pt x="5630" y="1287"/>
                    <a:pt x="5650" y="1295"/>
                    <a:pt x="5650" y="1295"/>
                  </a:cubicBezTo>
                  <a:cubicBezTo>
                    <a:pt x="5650" y="1295"/>
                    <a:pt x="5628" y="1269"/>
                    <a:pt x="5622" y="1265"/>
                  </a:cubicBezTo>
                  <a:cubicBezTo>
                    <a:pt x="5616" y="1261"/>
                    <a:pt x="5601" y="1255"/>
                    <a:pt x="5604" y="1240"/>
                  </a:cubicBezTo>
                  <a:cubicBezTo>
                    <a:pt x="5607" y="1225"/>
                    <a:pt x="5625" y="1220"/>
                    <a:pt x="5625" y="1220"/>
                  </a:cubicBezTo>
                  <a:cubicBezTo>
                    <a:pt x="5625" y="1220"/>
                    <a:pt x="5654" y="1232"/>
                    <a:pt x="5652" y="1217"/>
                  </a:cubicBezTo>
                  <a:cubicBezTo>
                    <a:pt x="5650" y="1202"/>
                    <a:pt x="5637" y="1198"/>
                    <a:pt x="5621" y="1190"/>
                  </a:cubicBezTo>
                  <a:cubicBezTo>
                    <a:pt x="5605" y="1182"/>
                    <a:pt x="5591" y="1163"/>
                    <a:pt x="5590" y="1152"/>
                  </a:cubicBezTo>
                  <a:cubicBezTo>
                    <a:pt x="5589" y="1141"/>
                    <a:pt x="5583" y="1129"/>
                    <a:pt x="5583" y="1129"/>
                  </a:cubicBezTo>
                  <a:cubicBezTo>
                    <a:pt x="5590" y="1126"/>
                    <a:pt x="5590" y="1126"/>
                    <a:pt x="5590" y="1126"/>
                  </a:cubicBezTo>
                  <a:cubicBezTo>
                    <a:pt x="5590" y="1126"/>
                    <a:pt x="5616" y="1151"/>
                    <a:pt x="5622" y="1146"/>
                  </a:cubicBezTo>
                  <a:cubicBezTo>
                    <a:pt x="5628" y="1141"/>
                    <a:pt x="5604" y="1114"/>
                    <a:pt x="5604" y="1114"/>
                  </a:cubicBezTo>
                  <a:cubicBezTo>
                    <a:pt x="5581" y="1111"/>
                    <a:pt x="5581" y="1111"/>
                    <a:pt x="5581" y="1111"/>
                  </a:cubicBezTo>
                  <a:cubicBezTo>
                    <a:pt x="5548" y="1083"/>
                    <a:pt x="5548" y="1083"/>
                    <a:pt x="5548" y="1083"/>
                  </a:cubicBezTo>
                  <a:cubicBezTo>
                    <a:pt x="5548" y="1083"/>
                    <a:pt x="5552" y="1062"/>
                    <a:pt x="5536" y="1055"/>
                  </a:cubicBezTo>
                  <a:cubicBezTo>
                    <a:pt x="5520" y="1048"/>
                    <a:pt x="5508" y="1048"/>
                    <a:pt x="5508" y="1048"/>
                  </a:cubicBezTo>
                  <a:cubicBezTo>
                    <a:pt x="5509" y="1060"/>
                    <a:pt x="5509" y="1060"/>
                    <a:pt x="5509" y="1060"/>
                  </a:cubicBezTo>
                  <a:cubicBezTo>
                    <a:pt x="5509" y="1060"/>
                    <a:pt x="5465" y="1050"/>
                    <a:pt x="5464" y="1034"/>
                  </a:cubicBezTo>
                  <a:cubicBezTo>
                    <a:pt x="5463" y="1018"/>
                    <a:pt x="5471" y="1007"/>
                    <a:pt x="5463" y="992"/>
                  </a:cubicBezTo>
                  <a:cubicBezTo>
                    <a:pt x="5455" y="977"/>
                    <a:pt x="5439" y="969"/>
                    <a:pt x="5439" y="969"/>
                  </a:cubicBezTo>
                  <a:cubicBezTo>
                    <a:pt x="5439" y="969"/>
                    <a:pt x="5441" y="953"/>
                    <a:pt x="5445" y="951"/>
                  </a:cubicBezTo>
                  <a:cubicBezTo>
                    <a:pt x="5449" y="949"/>
                    <a:pt x="5458" y="956"/>
                    <a:pt x="5458" y="956"/>
                  </a:cubicBezTo>
                  <a:cubicBezTo>
                    <a:pt x="5467" y="945"/>
                    <a:pt x="5467" y="945"/>
                    <a:pt x="5467" y="945"/>
                  </a:cubicBezTo>
                  <a:cubicBezTo>
                    <a:pt x="5492" y="964"/>
                    <a:pt x="5492" y="964"/>
                    <a:pt x="5492" y="964"/>
                  </a:cubicBezTo>
                  <a:cubicBezTo>
                    <a:pt x="5497" y="959"/>
                    <a:pt x="5497" y="959"/>
                    <a:pt x="5497" y="959"/>
                  </a:cubicBezTo>
                  <a:cubicBezTo>
                    <a:pt x="5489" y="951"/>
                    <a:pt x="5489" y="951"/>
                    <a:pt x="5489" y="951"/>
                  </a:cubicBezTo>
                  <a:cubicBezTo>
                    <a:pt x="5489" y="951"/>
                    <a:pt x="5495" y="919"/>
                    <a:pt x="5506" y="925"/>
                  </a:cubicBezTo>
                  <a:cubicBezTo>
                    <a:pt x="5517" y="931"/>
                    <a:pt x="5544" y="964"/>
                    <a:pt x="5544" y="964"/>
                  </a:cubicBezTo>
                  <a:cubicBezTo>
                    <a:pt x="5551" y="931"/>
                    <a:pt x="5551" y="931"/>
                    <a:pt x="5551" y="931"/>
                  </a:cubicBezTo>
                  <a:cubicBezTo>
                    <a:pt x="5551" y="931"/>
                    <a:pt x="5608" y="924"/>
                    <a:pt x="5617" y="924"/>
                  </a:cubicBezTo>
                  <a:cubicBezTo>
                    <a:pt x="5626" y="924"/>
                    <a:pt x="5663" y="944"/>
                    <a:pt x="5663" y="944"/>
                  </a:cubicBezTo>
                  <a:cubicBezTo>
                    <a:pt x="5691" y="955"/>
                    <a:pt x="5691" y="955"/>
                    <a:pt x="5691" y="955"/>
                  </a:cubicBezTo>
                  <a:cubicBezTo>
                    <a:pt x="5671" y="915"/>
                    <a:pt x="5671" y="915"/>
                    <a:pt x="5671" y="915"/>
                  </a:cubicBezTo>
                  <a:cubicBezTo>
                    <a:pt x="5671" y="915"/>
                    <a:pt x="5703" y="916"/>
                    <a:pt x="5705" y="905"/>
                  </a:cubicBezTo>
                  <a:cubicBezTo>
                    <a:pt x="5707" y="894"/>
                    <a:pt x="5697" y="876"/>
                    <a:pt x="5697" y="876"/>
                  </a:cubicBezTo>
                  <a:cubicBezTo>
                    <a:pt x="5710" y="877"/>
                    <a:pt x="5710" y="877"/>
                    <a:pt x="5710" y="877"/>
                  </a:cubicBezTo>
                  <a:cubicBezTo>
                    <a:pt x="5713" y="861"/>
                    <a:pt x="5713" y="861"/>
                    <a:pt x="5713" y="861"/>
                  </a:cubicBezTo>
                  <a:cubicBezTo>
                    <a:pt x="5713" y="861"/>
                    <a:pt x="5752" y="870"/>
                    <a:pt x="5758" y="855"/>
                  </a:cubicBezTo>
                  <a:cubicBezTo>
                    <a:pt x="5764" y="840"/>
                    <a:pt x="5784" y="828"/>
                    <a:pt x="5784" y="828"/>
                  </a:cubicBezTo>
                  <a:cubicBezTo>
                    <a:pt x="5770" y="811"/>
                    <a:pt x="5770" y="811"/>
                    <a:pt x="5770" y="811"/>
                  </a:cubicBezTo>
                  <a:cubicBezTo>
                    <a:pt x="5791" y="813"/>
                    <a:pt x="5791" y="813"/>
                    <a:pt x="5791" y="813"/>
                  </a:cubicBezTo>
                  <a:cubicBezTo>
                    <a:pt x="5794" y="825"/>
                    <a:pt x="5794" y="825"/>
                    <a:pt x="5794" y="825"/>
                  </a:cubicBezTo>
                  <a:cubicBezTo>
                    <a:pt x="5835" y="828"/>
                    <a:pt x="5835" y="828"/>
                    <a:pt x="5835" y="828"/>
                  </a:cubicBezTo>
                  <a:cubicBezTo>
                    <a:pt x="5835" y="828"/>
                    <a:pt x="5877" y="838"/>
                    <a:pt x="5877" y="832"/>
                  </a:cubicBezTo>
                  <a:cubicBezTo>
                    <a:pt x="5877" y="826"/>
                    <a:pt x="5873" y="814"/>
                    <a:pt x="5873" y="814"/>
                  </a:cubicBezTo>
                  <a:cubicBezTo>
                    <a:pt x="5848" y="811"/>
                    <a:pt x="5848" y="811"/>
                    <a:pt x="5848" y="811"/>
                  </a:cubicBezTo>
                  <a:cubicBezTo>
                    <a:pt x="5844" y="797"/>
                    <a:pt x="5844" y="797"/>
                    <a:pt x="5844" y="797"/>
                  </a:cubicBezTo>
                  <a:cubicBezTo>
                    <a:pt x="5844" y="797"/>
                    <a:pt x="5807" y="784"/>
                    <a:pt x="5795" y="780"/>
                  </a:cubicBezTo>
                  <a:cubicBezTo>
                    <a:pt x="5783" y="776"/>
                    <a:pt x="5774" y="782"/>
                    <a:pt x="5774" y="782"/>
                  </a:cubicBezTo>
                  <a:cubicBezTo>
                    <a:pt x="5778" y="770"/>
                    <a:pt x="5778" y="770"/>
                    <a:pt x="5778" y="770"/>
                  </a:cubicBezTo>
                  <a:cubicBezTo>
                    <a:pt x="5730" y="736"/>
                    <a:pt x="5730" y="736"/>
                    <a:pt x="5730" y="736"/>
                  </a:cubicBezTo>
                  <a:cubicBezTo>
                    <a:pt x="5719" y="747"/>
                    <a:pt x="5719" y="747"/>
                    <a:pt x="5719" y="747"/>
                  </a:cubicBezTo>
                  <a:cubicBezTo>
                    <a:pt x="5719" y="747"/>
                    <a:pt x="5699" y="742"/>
                    <a:pt x="5691" y="739"/>
                  </a:cubicBezTo>
                  <a:cubicBezTo>
                    <a:pt x="5683" y="736"/>
                    <a:pt x="5672" y="727"/>
                    <a:pt x="5672" y="727"/>
                  </a:cubicBezTo>
                  <a:cubicBezTo>
                    <a:pt x="5649" y="732"/>
                    <a:pt x="5649" y="732"/>
                    <a:pt x="5649" y="732"/>
                  </a:cubicBezTo>
                  <a:cubicBezTo>
                    <a:pt x="5630" y="730"/>
                    <a:pt x="5630" y="730"/>
                    <a:pt x="5630" y="730"/>
                  </a:cubicBezTo>
                  <a:cubicBezTo>
                    <a:pt x="5630" y="730"/>
                    <a:pt x="5599" y="712"/>
                    <a:pt x="5611" y="709"/>
                  </a:cubicBezTo>
                  <a:cubicBezTo>
                    <a:pt x="5623" y="706"/>
                    <a:pt x="5635" y="713"/>
                    <a:pt x="5644" y="715"/>
                  </a:cubicBezTo>
                  <a:cubicBezTo>
                    <a:pt x="5653" y="717"/>
                    <a:pt x="5697" y="724"/>
                    <a:pt x="5697" y="724"/>
                  </a:cubicBezTo>
                  <a:cubicBezTo>
                    <a:pt x="5697" y="724"/>
                    <a:pt x="5749" y="709"/>
                    <a:pt x="5749" y="702"/>
                  </a:cubicBezTo>
                  <a:cubicBezTo>
                    <a:pt x="5749" y="695"/>
                    <a:pt x="5719" y="679"/>
                    <a:pt x="5716" y="677"/>
                  </a:cubicBezTo>
                  <a:cubicBezTo>
                    <a:pt x="5713" y="675"/>
                    <a:pt x="5664" y="658"/>
                    <a:pt x="5679" y="649"/>
                  </a:cubicBezTo>
                  <a:cubicBezTo>
                    <a:pt x="5694" y="640"/>
                    <a:pt x="5719" y="660"/>
                    <a:pt x="5719" y="660"/>
                  </a:cubicBezTo>
                  <a:cubicBezTo>
                    <a:pt x="5719" y="660"/>
                    <a:pt x="5766" y="689"/>
                    <a:pt x="5780" y="687"/>
                  </a:cubicBezTo>
                  <a:cubicBezTo>
                    <a:pt x="5794" y="685"/>
                    <a:pt x="5799" y="671"/>
                    <a:pt x="5838" y="684"/>
                  </a:cubicBezTo>
                  <a:cubicBezTo>
                    <a:pt x="5877" y="697"/>
                    <a:pt x="5911" y="711"/>
                    <a:pt x="5922" y="713"/>
                  </a:cubicBezTo>
                  <a:cubicBezTo>
                    <a:pt x="5933" y="715"/>
                    <a:pt x="5976" y="727"/>
                    <a:pt x="5976" y="727"/>
                  </a:cubicBezTo>
                  <a:cubicBezTo>
                    <a:pt x="5976" y="727"/>
                    <a:pt x="6035" y="762"/>
                    <a:pt x="6031" y="744"/>
                  </a:cubicBezTo>
                  <a:cubicBezTo>
                    <a:pt x="6027" y="726"/>
                    <a:pt x="6007" y="715"/>
                    <a:pt x="6007" y="715"/>
                  </a:cubicBezTo>
                  <a:cubicBezTo>
                    <a:pt x="6019" y="706"/>
                    <a:pt x="6019" y="706"/>
                    <a:pt x="6019" y="706"/>
                  </a:cubicBezTo>
                  <a:cubicBezTo>
                    <a:pt x="5989" y="693"/>
                    <a:pt x="5989" y="693"/>
                    <a:pt x="5989" y="693"/>
                  </a:cubicBezTo>
                  <a:cubicBezTo>
                    <a:pt x="5995" y="689"/>
                    <a:pt x="5995" y="689"/>
                    <a:pt x="5995" y="689"/>
                  </a:cubicBezTo>
                  <a:cubicBezTo>
                    <a:pt x="5962" y="672"/>
                    <a:pt x="5962" y="672"/>
                    <a:pt x="5962" y="672"/>
                  </a:cubicBezTo>
                  <a:cubicBezTo>
                    <a:pt x="5998" y="679"/>
                    <a:pt x="5998" y="679"/>
                    <a:pt x="5998" y="679"/>
                  </a:cubicBezTo>
                  <a:cubicBezTo>
                    <a:pt x="5994" y="666"/>
                    <a:pt x="5994" y="666"/>
                    <a:pt x="5994" y="666"/>
                  </a:cubicBezTo>
                  <a:cubicBezTo>
                    <a:pt x="5994" y="666"/>
                    <a:pt x="6045" y="678"/>
                    <a:pt x="6034" y="664"/>
                  </a:cubicBezTo>
                  <a:close/>
                  <a:moveTo>
                    <a:pt x="3574" y="1289"/>
                  </a:moveTo>
                  <a:cubicBezTo>
                    <a:pt x="3574" y="1289"/>
                    <a:pt x="3571" y="1303"/>
                    <a:pt x="3570" y="1306"/>
                  </a:cubicBezTo>
                  <a:cubicBezTo>
                    <a:pt x="3569" y="1309"/>
                    <a:pt x="3556" y="1316"/>
                    <a:pt x="3556" y="1316"/>
                  </a:cubicBezTo>
                  <a:cubicBezTo>
                    <a:pt x="3556" y="1316"/>
                    <a:pt x="3544" y="1322"/>
                    <a:pt x="3540" y="1322"/>
                  </a:cubicBezTo>
                  <a:cubicBezTo>
                    <a:pt x="3535" y="1322"/>
                    <a:pt x="3536" y="1334"/>
                    <a:pt x="3536" y="1334"/>
                  </a:cubicBezTo>
                  <a:cubicBezTo>
                    <a:pt x="3536" y="1334"/>
                    <a:pt x="3534" y="1327"/>
                    <a:pt x="3514" y="1334"/>
                  </a:cubicBezTo>
                  <a:cubicBezTo>
                    <a:pt x="3493" y="1340"/>
                    <a:pt x="3522" y="1350"/>
                    <a:pt x="3522" y="1350"/>
                  </a:cubicBezTo>
                  <a:cubicBezTo>
                    <a:pt x="3522" y="1350"/>
                    <a:pt x="3512" y="1358"/>
                    <a:pt x="3510" y="1367"/>
                  </a:cubicBezTo>
                  <a:cubicBezTo>
                    <a:pt x="3509" y="1377"/>
                    <a:pt x="3494" y="1368"/>
                    <a:pt x="3494" y="1368"/>
                  </a:cubicBezTo>
                  <a:cubicBezTo>
                    <a:pt x="3494" y="1368"/>
                    <a:pt x="3491" y="1382"/>
                    <a:pt x="3471" y="1382"/>
                  </a:cubicBezTo>
                  <a:cubicBezTo>
                    <a:pt x="3450" y="1382"/>
                    <a:pt x="3451" y="1377"/>
                    <a:pt x="3451" y="1377"/>
                  </a:cubicBezTo>
                  <a:cubicBezTo>
                    <a:pt x="3428" y="1371"/>
                    <a:pt x="3428" y="1371"/>
                    <a:pt x="3428" y="1371"/>
                  </a:cubicBezTo>
                  <a:cubicBezTo>
                    <a:pt x="3439" y="1365"/>
                    <a:pt x="3439" y="1365"/>
                    <a:pt x="3439" y="1365"/>
                  </a:cubicBezTo>
                  <a:cubicBezTo>
                    <a:pt x="3461" y="1365"/>
                    <a:pt x="3461" y="1365"/>
                    <a:pt x="3461" y="1365"/>
                  </a:cubicBezTo>
                  <a:cubicBezTo>
                    <a:pt x="3462" y="1360"/>
                    <a:pt x="3462" y="1360"/>
                    <a:pt x="3462" y="1360"/>
                  </a:cubicBezTo>
                  <a:cubicBezTo>
                    <a:pt x="3462" y="1360"/>
                    <a:pt x="3478" y="1360"/>
                    <a:pt x="3485" y="1353"/>
                  </a:cubicBezTo>
                  <a:cubicBezTo>
                    <a:pt x="3491" y="1347"/>
                    <a:pt x="3492" y="1328"/>
                    <a:pt x="3492" y="1328"/>
                  </a:cubicBezTo>
                  <a:cubicBezTo>
                    <a:pt x="3492" y="1328"/>
                    <a:pt x="3496" y="1327"/>
                    <a:pt x="3505" y="1325"/>
                  </a:cubicBezTo>
                  <a:cubicBezTo>
                    <a:pt x="3514" y="1323"/>
                    <a:pt x="3514" y="1307"/>
                    <a:pt x="3514" y="1307"/>
                  </a:cubicBezTo>
                  <a:cubicBezTo>
                    <a:pt x="3514" y="1307"/>
                    <a:pt x="3507" y="1303"/>
                    <a:pt x="3508" y="1297"/>
                  </a:cubicBezTo>
                  <a:cubicBezTo>
                    <a:pt x="3509" y="1292"/>
                    <a:pt x="3528" y="1275"/>
                    <a:pt x="3528" y="1275"/>
                  </a:cubicBezTo>
                  <a:cubicBezTo>
                    <a:pt x="3528" y="1264"/>
                    <a:pt x="3528" y="1264"/>
                    <a:pt x="3528" y="1264"/>
                  </a:cubicBezTo>
                  <a:cubicBezTo>
                    <a:pt x="3542" y="1251"/>
                    <a:pt x="3542" y="1251"/>
                    <a:pt x="3542" y="1251"/>
                  </a:cubicBezTo>
                  <a:cubicBezTo>
                    <a:pt x="3534" y="1240"/>
                    <a:pt x="3534" y="1240"/>
                    <a:pt x="3534" y="1240"/>
                  </a:cubicBezTo>
                  <a:cubicBezTo>
                    <a:pt x="3533" y="1187"/>
                    <a:pt x="3533" y="1187"/>
                    <a:pt x="3533" y="1187"/>
                  </a:cubicBezTo>
                  <a:cubicBezTo>
                    <a:pt x="3533" y="1187"/>
                    <a:pt x="3518" y="1165"/>
                    <a:pt x="3536" y="1160"/>
                  </a:cubicBezTo>
                  <a:cubicBezTo>
                    <a:pt x="3555" y="1156"/>
                    <a:pt x="3551" y="1181"/>
                    <a:pt x="3551" y="1181"/>
                  </a:cubicBezTo>
                  <a:cubicBezTo>
                    <a:pt x="3551" y="1181"/>
                    <a:pt x="3560" y="1188"/>
                    <a:pt x="3564" y="1203"/>
                  </a:cubicBezTo>
                  <a:cubicBezTo>
                    <a:pt x="3569" y="1219"/>
                    <a:pt x="3571" y="1229"/>
                    <a:pt x="3571" y="1229"/>
                  </a:cubicBezTo>
                  <a:cubicBezTo>
                    <a:pt x="3585" y="1248"/>
                    <a:pt x="3585" y="1248"/>
                    <a:pt x="3585" y="1248"/>
                  </a:cubicBezTo>
                  <a:cubicBezTo>
                    <a:pt x="3579" y="1259"/>
                    <a:pt x="3579" y="1259"/>
                    <a:pt x="3579" y="1259"/>
                  </a:cubicBezTo>
                  <a:cubicBezTo>
                    <a:pt x="3579" y="1259"/>
                    <a:pt x="3566" y="1265"/>
                    <a:pt x="3568" y="1272"/>
                  </a:cubicBezTo>
                  <a:cubicBezTo>
                    <a:pt x="3569" y="1280"/>
                    <a:pt x="3585" y="1271"/>
                    <a:pt x="3585" y="1271"/>
                  </a:cubicBezTo>
                  <a:cubicBezTo>
                    <a:pt x="3587" y="1282"/>
                    <a:pt x="3587" y="1282"/>
                    <a:pt x="3587" y="1282"/>
                  </a:cubicBezTo>
                  <a:lnTo>
                    <a:pt x="3574" y="1289"/>
                  </a:lnTo>
                  <a:close/>
                  <a:moveTo>
                    <a:pt x="4656" y="1185"/>
                  </a:moveTo>
                  <a:cubicBezTo>
                    <a:pt x="4650" y="1193"/>
                    <a:pt x="4662" y="1221"/>
                    <a:pt x="4684" y="1223"/>
                  </a:cubicBezTo>
                  <a:cubicBezTo>
                    <a:pt x="4702" y="1225"/>
                    <a:pt x="4662" y="1177"/>
                    <a:pt x="4656" y="1185"/>
                  </a:cubicBezTo>
                  <a:close/>
                  <a:moveTo>
                    <a:pt x="1020" y="0"/>
                  </a:moveTo>
                  <a:cubicBezTo>
                    <a:pt x="986" y="0"/>
                    <a:pt x="986" y="0"/>
                    <a:pt x="986" y="0"/>
                  </a:cubicBezTo>
                  <a:cubicBezTo>
                    <a:pt x="986" y="10"/>
                    <a:pt x="986" y="10"/>
                    <a:pt x="986" y="10"/>
                  </a:cubicBezTo>
                  <a:cubicBezTo>
                    <a:pt x="1007" y="11"/>
                    <a:pt x="1007" y="11"/>
                    <a:pt x="1007" y="11"/>
                  </a:cubicBezTo>
                  <a:cubicBezTo>
                    <a:pt x="1021" y="10"/>
                    <a:pt x="1020" y="0"/>
                    <a:pt x="1020" y="0"/>
                  </a:cubicBezTo>
                  <a:close/>
                  <a:moveTo>
                    <a:pt x="1012" y="37"/>
                  </a:moveTo>
                  <a:cubicBezTo>
                    <a:pt x="1026" y="35"/>
                    <a:pt x="1035" y="23"/>
                    <a:pt x="1017" y="23"/>
                  </a:cubicBezTo>
                  <a:cubicBezTo>
                    <a:pt x="999" y="23"/>
                    <a:pt x="1002" y="38"/>
                    <a:pt x="1012" y="37"/>
                  </a:cubicBezTo>
                  <a:close/>
                  <a:moveTo>
                    <a:pt x="943" y="537"/>
                  </a:moveTo>
                  <a:cubicBezTo>
                    <a:pt x="965" y="542"/>
                    <a:pt x="973" y="535"/>
                    <a:pt x="980" y="531"/>
                  </a:cubicBezTo>
                  <a:cubicBezTo>
                    <a:pt x="987" y="527"/>
                    <a:pt x="993" y="519"/>
                    <a:pt x="993" y="519"/>
                  </a:cubicBezTo>
                  <a:cubicBezTo>
                    <a:pt x="1002" y="518"/>
                    <a:pt x="1002" y="518"/>
                    <a:pt x="1002" y="518"/>
                  </a:cubicBezTo>
                  <a:cubicBezTo>
                    <a:pt x="1002" y="518"/>
                    <a:pt x="994" y="507"/>
                    <a:pt x="968" y="501"/>
                  </a:cubicBezTo>
                  <a:cubicBezTo>
                    <a:pt x="942" y="495"/>
                    <a:pt x="927" y="518"/>
                    <a:pt x="927" y="518"/>
                  </a:cubicBezTo>
                  <a:cubicBezTo>
                    <a:pt x="927" y="521"/>
                    <a:pt x="921" y="533"/>
                    <a:pt x="943" y="537"/>
                  </a:cubicBezTo>
                  <a:close/>
                  <a:moveTo>
                    <a:pt x="996" y="48"/>
                  </a:moveTo>
                  <a:cubicBezTo>
                    <a:pt x="1007" y="61"/>
                    <a:pt x="1000" y="62"/>
                    <a:pt x="1023" y="55"/>
                  </a:cubicBezTo>
                  <a:cubicBezTo>
                    <a:pt x="1045" y="48"/>
                    <a:pt x="1020" y="45"/>
                    <a:pt x="1016" y="45"/>
                  </a:cubicBezTo>
                  <a:cubicBezTo>
                    <a:pt x="1012" y="45"/>
                    <a:pt x="996" y="48"/>
                    <a:pt x="996" y="48"/>
                  </a:cubicBezTo>
                  <a:close/>
                  <a:moveTo>
                    <a:pt x="966" y="65"/>
                  </a:moveTo>
                  <a:cubicBezTo>
                    <a:pt x="976" y="65"/>
                    <a:pt x="1009" y="63"/>
                    <a:pt x="1003" y="62"/>
                  </a:cubicBezTo>
                  <a:cubicBezTo>
                    <a:pt x="997" y="61"/>
                    <a:pt x="985" y="52"/>
                    <a:pt x="985" y="52"/>
                  </a:cubicBezTo>
                  <a:cubicBezTo>
                    <a:pt x="954" y="52"/>
                    <a:pt x="954" y="52"/>
                    <a:pt x="954" y="52"/>
                  </a:cubicBezTo>
                  <a:cubicBezTo>
                    <a:pt x="954" y="52"/>
                    <a:pt x="957" y="65"/>
                    <a:pt x="966" y="65"/>
                  </a:cubicBezTo>
                  <a:close/>
                  <a:moveTo>
                    <a:pt x="893" y="23"/>
                  </a:moveTo>
                  <a:cubicBezTo>
                    <a:pt x="876" y="24"/>
                    <a:pt x="885" y="35"/>
                    <a:pt x="885" y="35"/>
                  </a:cubicBezTo>
                  <a:cubicBezTo>
                    <a:pt x="910" y="30"/>
                    <a:pt x="910" y="21"/>
                    <a:pt x="893" y="23"/>
                  </a:cubicBezTo>
                  <a:close/>
                  <a:moveTo>
                    <a:pt x="940" y="48"/>
                  </a:moveTo>
                  <a:cubicBezTo>
                    <a:pt x="924" y="45"/>
                    <a:pt x="924" y="45"/>
                    <a:pt x="924" y="45"/>
                  </a:cubicBezTo>
                  <a:cubicBezTo>
                    <a:pt x="930" y="61"/>
                    <a:pt x="930" y="61"/>
                    <a:pt x="930" y="61"/>
                  </a:cubicBezTo>
                  <a:lnTo>
                    <a:pt x="940" y="48"/>
                  </a:lnTo>
                  <a:close/>
                  <a:moveTo>
                    <a:pt x="972" y="10"/>
                  </a:moveTo>
                  <a:cubicBezTo>
                    <a:pt x="972" y="27"/>
                    <a:pt x="972" y="27"/>
                    <a:pt x="972" y="27"/>
                  </a:cubicBezTo>
                  <a:cubicBezTo>
                    <a:pt x="995" y="20"/>
                    <a:pt x="995" y="20"/>
                    <a:pt x="995" y="20"/>
                  </a:cubicBezTo>
                  <a:lnTo>
                    <a:pt x="972" y="10"/>
                  </a:lnTo>
                  <a:close/>
                  <a:moveTo>
                    <a:pt x="936" y="31"/>
                  </a:moveTo>
                  <a:cubicBezTo>
                    <a:pt x="936" y="31"/>
                    <a:pt x="931" y="25"/>
                    <a:pt x="924" y="25"/>
                  </a:cubicBezTo>
                  <a:cubicBezTo>
                    <a:pt x="917" y="25"/>
                    <a:pt x="919" y="38"/>
                    <a:pt x="919" y="38"/>
                  </a:cubicBezTo>
                  <a:lnTo>
                    <a:pt x="936" y="31"/>
                  </a:lnTo>
                  <a:close/>
                  <a:moveTo>
                    <a:pt x="957" y="31"/>
                  </a:moveTo>
                  <a:cubicBezTo>
                    <a:pt x="938" y="39"/>
                    <a:pt x="938" y="39"/>
                    <a:pt x="938" y="39"/>
                  </a:cubicBezTo>
                  <a:cubicBezTo>
                    <a:pt x="957" y="39"/>
                    <a:pt x="957" y="39"/>
                    <a:pt x="957" y="39"/>
                  </a:cubicBezTo>
                  <a:lnTo>
                    <a:pt x="957" y="31"/>
                  </a:lnTo>
                  <a:close/>
                  <a:moveTo>
                    <a:pt x="979" y="42"/>
                  </a:moveTo>
                  <a:cubicBezTo>
                    <a:pt x="995" y="47"/>
                    <a:pt x="1009" y="30"/>
                    <a:pt x="990" y="28"/>
                  </a:cubicBezTo>
                  <a:cubicBezTo>
                    <a:pt x="972" y="27"/>
                    <a:pt x="964" y="38"/>
                    <a:pt x="979" y="42"/>
                  </a:cubicBezTo>
                  <a:close/>
                  <a:moveTo>
                    <a:pt x="966" y="23"/>
                  </a:moveTo>
                  <a:cubicBezTo>
                    <a:pt x="965" y="7"/>
                    <a:pt x="965" y="7"/>
                    <a:pt x="965" y="7"/>
                  </a:cubicBezTo>
                  <a:cubicBezTo>
                    <a:pt x="938" y="14"/>
                    <a:pt x="938" y="14"/>
                    <a:pt x="938" y="14"/>
                  </a:cubicBezTo>
                  <a:cubicBezTo>
                    <a:pt x="944" y="24"/>
                    <a:pt x="944" y="24"/>
                    <a:pt x="944" y="24"/>
                  </a:cubicBezTo>
                  <a:lnTo>
                    <a:pt x="966" y="23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19" name="Freeform 135"/>
            <p:cNvSpPr>
              <a:spLocks noEditPoints="1"/>
            </p:cNvSpPr>
            <p:nvPr/>
          </p:nvSpPr>
          <p:spPr bwMode="auto">
            <a:xfrm>
              <a:off x="2872" y="1383"/>
              <a:ext cx="174" cy="252"/>
            </a:xfrm>
            <a:custGeom>
              <a:avLst/>
              <a:gdLst>
                <a:gd name="T0" fmla="*/ 0 w 459"/>
                <a:gd name="T1" fmla="*/ 0 h 664"/>
                <a:gd name="T2" fmla="*/ 0 w 459"/>
                <a:gd name="T3" fmla="*/ 0 h 664"/>
                <a:gd name="T4" fmla="*/ 0 w 459"/>
                <a:gd name="T5" fmla="*/ 0 h 664"/>
                <a:gd name="T6" fmla="*/ 0 w 459"/>
                <a:gd name="T7" fmla="*/ 0 h 664"/>
                <a:gd name="T8" fmla="*/ 0 w 459"/>
                <a:gd name="T9" fmla="*/ 0 h 664"/>
                <a:gd name="T10" fmla="*/ 0 w 459"/>
                <a:gd name="T11" fmla="*/ 0 h 664"/>
                <a:gd name="T12" fmla="*/ 0 w 459"/>
                <a:gd name="T13" fmla="*/ 0 h 664"/>
                <a:gd name="T14" fmla="*/ 0 w 459"/>
                <a:gd name="T15" fmla="*/ 0 h 664"/>
                <a:gd name="T16" fmla="*/ 0 w 459"/>
                <a:gd name="T17" fmla="*/ 0 h 664"/>
                <a:gd name="T18" fmla="*/ 0 w 459"/>
                <a:gd name="T19" fmla="*/ 0 h 664"/>
                <a:gd name="T20" fmla="*/ 0 w 459"/>
                <a:gd name="T21" fmla="*/ 0 h 664"/>
                <a:gd name="T22" fmla="*/ 0 w 459"/>
                <a:gd name="T23" fmla="*/ 0 h 664"/>
                <a:gd name="T24" fmla="*/ 0 w 459"/>
                <a:gd name="T25" fmla="*/ 0 h 664"/>
                <a:gd name="T26" fmla="*/ 0 w 459"/>
                <a:gd name="T27" fmla="*/ 0 h 664"/>
                <a:gd name="T28" fmla="*/ 0 w 459"/>
                <a:gd name="T29" fmla="*/ 0 h 664"/>
                <a:gd name="T30" fmla="*/ 0 w 459"/>
                <a:gd name="T31" fmla="*/ 0 h 664"/>
                <a:gd name="T32" fmla="*/ 0 w 459"/>
                <a:gd name="T33" fmla="*/ 0 h 664"/>
                <a:gd name="T34" fmla="*/ 0 w 459"/>
                <a:gd name="T35" fmla="*/ 0 h 664"/>
                <a:gd name="T36" fmla="*/ 0 w 459"/>
                <a:gd name="T37" fmla="*/ 0 h 664"/>
                <a:gd name="T38" fmla="*/ 0 w 459"/>
                <a:gd name="T39" fmla="*/ 0 h 664"/>
                <a:gd name="T40" fmla="*/ 0 w 459"/>
                <a:gd name="T41" fmla="*/ 0 h 664"/>
                <a:gd name="T42" fmla="*/ 0 w 459"/>
                <a:gd name="T43" fmla="*/ 0 h 664"/>
                <a:gd name="T44" fmla="*/ 0 w 459"/>
                <a:gd name="T45" fmla="*/ 0 h 664"/>
                <a:gd name="T46" fmla="*/ 0 w 459"/>
                <a:gd name="T47" fmla="*/ 0 h 664"/>
                <a:gd name="T48" fmla="*/ 0 w 459"/>
                <a:gd name="T49" fmla="*/ 0 h 664"/>
                <a:gd name="T50" fmla="*/ 0 w 459"/>
                <a:gd name="T51" fmla="*/ 0 h 664"/>
                <a:gd name="T52" fmla="*/ 0 w 459"/>
                <a:gd name="T53" fmla="*/ 0 h 664"/>
                <a:gd name="T54" fmla="*/ 0 w 459"/>
                <a:gd name="T55" fmla="*/ 0 h 664"/>
                <a:gd name="T56" fmla="*/ 0 w 459"/>
                <a:gd name="T57" fmla="*/ 0 h 664"/>
                <a:gd name="T58" fmla="*/ 0 w 459"/>
                <a:gd name="T59" fmla="*/ 0 h 664"/>
                <a:gd name="T60" fmla="*/ 0 w 459"/>
                <a:gd name="T61" fmla="*/ 0 h 664"/>
                <a:gd name="T62" fmla="*/ 0 w 459"/>
                <a:gd name="T63" fmla="*/ 0 h 664"/>
                <a:gd name="T64" fmla="*/ 0 w 459"/>
                <a:gd name="T65" fmla="*/ 0 h 664"/>
                <a:gd name="T66" fmla="*/ 0 w 459"/>
                <a:gd name="T67" fmla="*/ 0 h 664"/>
                <a:gd name="T68" fmla="*/ 0 w 459"/>
                <a:gd name="T69" fmla="*/ 0 h 664"/>
                <a:gd name="T70" fmla="*/ 0 w 459"/>
                <a:gd name="T71" fmla="*/ 0 h 664"/>
                <a:gd name="T72" fmla="*/ 0 w 459"/>
                <a:gd name="T73" fmla="*/ 0 h 664"/>
                <a:gd name="T74" fmla="*/ 0 w 459"/>
                <a:gd name="T75" fmla="*/ 0 h 664"/>
                <a:gd name="T76" fmla="*/ 0 w 459"/>
                <a:gd name="T77" fmla="*/ 0 h 664"/>
                <a:gd name="T78" fmla="*/ 0 w 459"/>
                <a:gd name="T79" fmla="*/ 0 h 664"/>
                <a:gd name="T80" fmla="*/ 0 w 459"/>
                <a:gd name="T81" fmla="*/ 0 h 664"/>
                <a:gd name="T82" fmla="*/ 0 w 459"/>
                <a:gd name="T83" fmla="*/ 0 h 664"/>
                <a:gd name="T84" fmla="*/ 0 w 459"/>
                <a:gd name="T85" fmla="*/ 0 h 664"/>
                <a:gd name="T86" fmla="*/ 0 w 459"/>
                <a:gd name="T87" fmla="*/ 0 h 66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59"/>
                <a:gd name="T133" fmla="*/ 0 h 664"/>
                <a:gd name="T134" fmla="*/ 459 w 459"/>
                <a:gd name="T135" fmla="*/ 664 h 66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59" h="664">
                  <a:moveTo>
                    <a:pt x="451" y="136"/>
                  </a:moveTo>
                  <a:cubicBezTo>
                    <a:pt x="451" y="136"/>
                    <a:pt x="436" y="126"/>
                    <a:pt x="434" y="118"/>
                  </a:cubicBezTo>
                  <a:cubicBezTo>
                    <a:pt x="432" y="110"/>
                    <a:pt x="445" y="95"/>
                    <a:pt x="445" y="95"/>
                  </a:cubicBezTo>
                  <a:cubicBezTo>
                    <a:pt x="428" y="85"/>
                    <a:pt x="428" y="85"/>
                    <a:pt x="428" y="85"/>
                  </a:cubicBezTo>
                  <a:cubicBezTo>
                    <a:pt x="432" y="72"/>
                    <a:pt x="432" y="72"/>
                    <a:pt x="432" y="72"/>
                  </a:cubicBezTo>
                  <a:cubicBezTo>
                    <a:pt x="424" y="67"/>
                    <a:pt x="424" y="67"/>
                    <a:pt x="424" y="67"/>
                  </a:cubicBezTo>
                  <a:cubicBezTo>
                    <a:pt x="424" y="67"/>
                    <a:pt x="429" y="53"/>
                    <a:pt x="430" y="48"/>
                  </a:cubicBezTo>
                  <a:cubicBezTo>
                    <a:pt x="431" y="43"/>
                    <a:pt x="413" y="38"/>
                    <a:pt x="413" y="38"/>
                  </a:cubicBezTo>
                  <a:cubicBezTo>
                    <a:pt x="391" y="26"/>
                    <a:pt x="391" y="26"/>
                    <a:pt x="391" y="26"/>
                  </a:cubicBezTo>
                  <a:cubicBezTo>
                    <a:pt x="369" y="25"/>
                    <a:pt x="369" y="25"/>
                    <a:pt x="369" y="25"/>
                  </a:cubicBezTo>
                  <a:cubicBezTo>
                    <a:pt x="361" y="17"/>
                    <a:pt x="361" y="17"/>
                    <a:pt x="361" y="17"/>
                  </a:cubicBezTo>
                  <a:cubicBezTo>
                    <a:pt x="361" y="17"/>
                    <a:pt x="348" y="13"/>
                    <a:pt x="338" y="9"/>
                  </a:cubicBezTo>
                  <a:cubicBezTo>
                    <a:pt x="332" y="7"/>
                    <a:pt x="327" y="3"/>
                    <a:pt x="324" y="1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305" y="14"/>
                    <a:pt x="305" y="14"/>
                    <a:pt x="305" y="14"/>
                  </a:cubicBezTo>
                  <a:cubicBezTo>
                    <a:pt x="305" y="14"/>
                    <a:pt x="298" y="11"/>
                    <a:pt x="298" y="16"/>
                  </a:cubicBezTo>
                  <a:cubicBezTo>
                    <a:pt x="298" y="21"/>
                    <a:pt x="311" y="27"/>
                    <a:pt x="303" y="29"/>
                  </a:cubicBezTo>
                  <a:cubicBezTo>
                    <a:pt x="295" y="31"/>
                    <a:pt x="284" y="25"/>
                    <a:pt x="284" y="25"/>
                  </a:cubicBezTo>
                  <a:cubicBezTo>
                    <a:pt x="275" y="25"/>
                    <a:pt x="275" y="25"/>
                    <a:pt x="275" y="25"/>
                  </a:cubicBezTo>
                  <a:cubicBezTo>
                    <a:pt x="262" y="21"/>
                    <a:pt x="262" y="21"/>
                    <a:pt x="262" y="21"/>
                  </a:cubicBezTo>
                  <a:cubicBezTo>
                    <a:pt x="243" y="25"/>
                    <a:pt x="243" y="25"/>
                    <a:pt x="243" y="25"/>
                  </a:cubicBezTo>
                  <a:cubicBezTo>
                    <a:pt x="243" y="25"/>
                    <a:pt x="243" y="12"/>
                    <a:pt x="235" y="18"/>
                  </a:cubicBezTo>
                  <a:cubicBezTo>
                    <a:pt x="227" y="24"/>
                    <a:pt x="237" y="35"/>
                    <a:pt x="234" y="40"/>
                  </a:cubicBezTo>
                  <a:cubicBezTo>
                    <a:pt x="231" y="45"/>
                    <a:pt x="216" y="45"/>
                    <a:pt x="216" y="45"/>
                  </a:cubicBezTo>
                  <a:cubicBezTo>
                    <a:pt x="190" y="49"/>
                    <a:pt x="190" y="49"/>
                    <a:pt x="190" y="49"/>
                  </a:cubicBezTo>
                  <a:cubicBezTo>
                    <a:pt x="181" y="59"/>
                    <a:pt x="181" y="59"/>
                    <a:pt x="181" y="59"/>
                  </a:cubicBezTo>
                  <a:cubicBezTo>
                    <a:pt x="181" y="59"/>
                    <a:pt x="164" y="67"/>
                    <a:pt x="165" y="71"/>
                  </a:cubicBezTo>
                  <a:cubicBezTo>
                    <a:pt x="166" y="75"/>
                    <a:pt x="177" y="83"/>
                    <a:pt x="177" y="83"/>
                  </a:cubicBezTo>
                  <a:cubicBezTo>
                    <a:pt x="172" y="93"/>
                    <a:pt x="172" y="93"/>
                    <a:pt x="172" y="93"/>
                  </a:cubicBezTo>
                  <a:cubicBezTo>
                    <a:pt x="172" y="93"/>
                    <a:pt x="167" y="94"/>
                    <a:pt x="161" y="99"/>
                  </a:cubicBezTo>
                  <a:cubicBezTo>
                    <a:pt x="155" y="104"/>
                    <a:pt x="153" y="111"/>
                    <a:pt x="153" y="111"/>
                  </a:cubicBezTo>
                  <a:cubicBezTo>
                    <a:pt x="139" y="112"/>
                    <a:pt x="139" y="112"/>
                    <a:pt x="139" y="112"/>
                  </a:cubicBezTo>
                  <a:cubicBezTo>
                    <a:pt x="139" y="112"/>
                    <a:pt x="153" y="126"/>
                    <a:pt x="146" y="128"/>
                  </a:cubicBezTo>
                  <a:cubicBezTo>
                    <a:pt x="139" y="130"/>
                    <a:pt x="130" y="135"/>
                    <a:pt x="130" y="135"/>
                  </a:cubicBezTo>
                  <a:cubicBezTo>
                    <a:pt x="116" y="128"/>
                    <a:pt x="116" y="128"/>
                    <a:pt x="116" y="128"/>
                  </a:cubicBezTo>
                  <a:cubicBezTo>
                    <a:pt x="118" y="144"/>
                    <a:pt x="118" y="144"/>
                    <a:pt x="118" y="144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1" y="178"/>
                    <a:pt x="111" y="178"/>
                    <a:pt x="111" y="178"/>
                  </a:cubicBezTo>
                  <a:cubicBezTo>
                    <a:pt x="111" y="178"/>
                    <a:pt x="101" y="190"/>
                    <a:pt x="96" y="194"/>
                  </a:cubicBezTo>
                  <a:cubicBezTo>
                    <a:pt x="91" y="198"/>
                    <a:pt x="82" y="204"/>
                    <a:pt x="82" y="204"/>
                  </a:cubicBezTo>
                  <a:cubicBezTo>
                    <a:pt x="82" y="204"/>
                    <a:pt x="103" y="214"/>
                    <a:pt x="99" y="223"/>
                  </a:cubicBezTo>
                  <a:cubicBezTo>
                    <a:pt x="95" y="232"/>
                    <a:pt x="68" y="227"/>
                    <a:pt x="68" y="227"/>
                  </a:cubicBezTo>
                  <a:cubicBezTo>
                    <a:pt x="68" y="227"/>
                    <a:pt x="53" y="239"/>
                    <a:pt x="46" y="244"/>
                  </a:cubicBezTo>
                  <a:cubicBezTo>
                    <a:pt x="39" y="249"/>
                    <a:pt x="33" y="254"/>
                    <a:pt x="33" y="254"/>
                  </a:cubicBezTo>
                  <a:cubicBezTo>
                    <a:pt x="28" y="260"/>
                    <a:pt x="28" y="260"/>
                    <a:pt x="28" y="260"/>
                  </a:cubicBezTo>
                  <a:cubicBezTo>
                    <a:pt x="28" y="260"/>
                    <a:pt x="22" y="265"/>
                    <a:pt x="22" y="268"/>
                  </a:cubicBezTo>
                  <a:cubicBezTo>
                    <a:pt x="22" y="271"/>
                    <a:pt x="40" y="271"/>
                    <a:pt x="34" y="277"/>
                  </a:cubicBezTo>
                  <a:cubicBezTo>
                    <a:pt x="28" y="283"/>
                    <a:pt x="19" y="285"/>
                    <a:pt x="21" y="290"/>
                  </a:cubicBezTo>
                  <a:cubicBezTo>
                    <a:pt x="23" y="295"/>
                    <a:pt x="29" y="303"/>
                    <a:pt x="29" y="303"/>
                  </a:cubicBezTo>
                  <a:cubicBezTo>
                    <a:pt x="29" y="303"/>
                    <a:pt x="40" y="310"/>
                    <a:pt x="39" y="315"/>
                  </a:cubicBezTo>
                  <a:cubicBezTo>
                    <a:pt x="38" y="320"/>
                    <a:pt x="32" y="327"/>
                    <a:pt x="33" y="334"/>
                  </a:cubicBezTo>
                  <a:cubicBezTo>
                    <a:pt x="34" y="341"/>
                    <a:pt x="42" y="348"/>
                    <a:pt x="42" y="348"/>
                  </a:cubicBezTo>
                  <a:cubicBezTo>
                    <a:pt x="42" y="348"/>
                    <a:pt x="61" y="354"/>
                    <a:pt x="59" y="361"/>
                  </a:cubicBezTo>
                  <a:cubicBezTo>
                    <a:pt x="57" y="368"/>
                    <a:pt x="50" y="374"/>
                    <a:pt x="50" y="374"/>
                  </a:cubicBezTo>
                  <a:cubicBezTo>
                    <a:pt x="35" y="377"/>
                    <a:pt x="35" y="377"/>
                    <a:pt x="35" y="377"/>
                  </a:cubicBezTo>
                  <a:cubicBezTo>
                    <a:pt x="35" y="377"/>
                    <a:pt x="41" y="394"/>
                    <a:pt x="44" y="397"/>
                  </a:cubicBezTo>
                  <a:cubicBezTo>
                    <a:pt x="47" y="400"/>
                    <a:pt x="51" y="409"/>
                    <a:pt x="51" y="409"/>
                  </a:cubicBezTo>
                  <a:cubicBezTo>
                    <a:pt x="44" y="409"/>
                    <a:pt x="44" y="409"/>
                    <a:pt x="44" y="409"/>
                  </a:cubicBezTo>
                  <a:cubicBezTo>
                    <a:pt x="44" y="426"/>
                    <a:pt x="44" y="426"/>
                    <a:pt x="44" y="426"/>
                  </a:cubicBezTo>
                  <a:cubicBezTo>
                    <a:pt x="44" y="426"/>
                    <a:pt x="41" y="431"/>
                    <a:pt x="36" y="431"/>
                  </a:cubicBezTo>
                  <a:cubicBezTo>
                    <a:pt x="31" y="431"/>
                    <a:pt x="17" y="425"/>
                    <a:pt x="19" y="431"/>
                  </a:cubicBezTo>
                  <a:cubicBezTo>
                    <a:pt x="21" y="437"/>
                    <a:pt x="21" y="441"/>
                    <a:pt x="21" y="441"/>
                  </a:cubicBezTo>
                  <a:cubicBezTo>
                    <a:pt x="21" y="441"/>
                    <a:pt x="12" y="444"/>
                    <a:pt x="15" y="452"/>
                  </a:cubicBezTo>
                  <a:cubicBezTo>
                    <a:pt x="18" y="460"/>
                    <a:pt x="24" y="461"/>
                    <a:pt x="22" y="466"/>
                  </a:cubicBezTo>
                  <a:cubicBezTo>
                    <a:pt x="20" y="471"/>
                    <a:pt x="14" y="482"/>
                    <a:pt x="14" y="482"/>
                  </a:cubicBezTo>
                  <a:cubicBezTo>
                    <a:pt x="0" y="469"/>
                    <a:pt x="0" y="469"/>
                    <a:pt x="0" y="469"/>
                  </a:cubicBezTo>
                  <a:cubicBezTo>
                    <a:pt x="2" y="510"/>
                    <a:pt x="2" y="510"/>
                    <a:pt x="2" y="510"/>
                  </a:cubicBezTo>
                  <a:cubicBezTo>
                    <a:pt x="2" y="510"/>
                    <a:pt x="16" y="499"/>
                    <a:pt x="23" y="511"/>
                  </a:cubicBezTo>
                  <a:cubicBezTo>
                    <a:pt x="30" y="523"/>
                    <a:pt x="19" y="515"/>
                    <a:pt x="19" y="515"/>
                  </a:cubicBezTo>
                  <a:cubicBezTo>
                    <a:pt x="19" y="515"/>
                    <a:pt x="14" y="549"/>
                    <a:pt x="18" y="553"/>
                  </a:cubicBezTo>
                  <a:cubicBezTo>
                    <a:pt x="22" y="557"/>
                    <a:pt x="34" y="562"/>
                    <a:pt x="34" y="562"/>
                  </a:cubicBezTo>
                  <a:cubicBezTo>
                    <a:pt x="34" y="562"/>
                    <a:pt x="43" y="579"/>
                    <a:pt x="49" y="586"/>
                  </a:cubicBezTo>
                  <a:cubicBezTo>
                    <a:pt x="55" y="593"/>
                    <a:pt x="66" y="597"/>
                    <a:pt x="66" y="597"/>
                  </a:cubicBezTo>
                  <a:cubicBezTo>
                    <a:pt x="65" y="605"/>
                    <a:pt x="65" y="605"/>
                    <a:pt x="65" y="605"/>
                  </a:cubicBezTo>
                  <a:cubicBezTo>
                    <a:pt x="53" y="607"/>
                    <a:pt x="53" y="607"/>
                    <a:pt x="53" y="607"/>
                  </a:cubicBezTo>
                  <a:cubicBezTo>
                    <a:pt x="53" y="607"/>
                    <a:pt x="51" y="615"/>
                    <a:pt x="52" y="621"/>
                  </a:cubicBezTo>
                  <a:cubicBezTo>
                    <a:pt x="53" y="627"/>
                    <a:pt x="68" y="640"/>
                    <a:pt x="68" y="640"/>
                  </a:cubicBezTo>
                  <a:cubicBezTo>
                    <a:pt x="68" y="640"/>
                    <a:pt x="64" y="653"/>
                    <a:pt x="69" y="656"/>
                  </a:cubicBezTo>
                  <a:cubicBezTo>
                    <a:pt x="74" y="659"/>
                    <a:pt x="94" y="657"/>
                    <a:pt x="94" y="657"/>
                  </a:cubicBezTo>
                  <a:cubicBezTo>
                    <a:pt x="94" y="657"/>
                    <a:pt x="122" y="664"/>
                    <a:pt x="121" y="655"/>
                  </a:cubicBezTo>
                  <a:cubicBezTo>
                    <a:pt x="120" y="646"/>
                    <a:pt x="120" y="631"/>
                    <a:pt x="120" y="631"/>
                  </a:cubicBezTo>
                  <a:cubicBezTo>
                    <a:pt x="132" y="625"/>
                    <a:pt x="132" y="625"/>
                    <a:pt x="132" y="625"/>
                  </a:cubicBezTo>
                  <a:cubicBezTo>
                    <a:pt x="133" y="615"/>
                    <a:pt x="133" y="615"/>
                    <a:pt x="133" y="615"/>
                  </a:cubicBezTo>
                  <a:cubicBezTo>
                    <a:pt x="176" y="618"/>
                    <a:pt x="176" y="618"/>
                    <a:pt x="176" y="618"/>
                  </a:cubicBezTo>
                  <a:cubicBezTo>
                    <a:pt x="185" y="623"/>
                    <a:pt x="185" y="623"/>
                    <a:pt x="185" y="623"/>
                  </a:cubicBezTo>
                  <a:cubicBezTo>
                    <a:pt x="199" y="581"/>
                    <a:pt x="199" y="581"/>
                    <a:pt x="199" y="581"/>
                  </a:cubicBezTo>
                  <a:cubicBezTo>
                    <a:pt x="199" y="581"/>
                    <a:pt x="208" y="555"/>
                    <a:pt x="206" y="549"/>
                  </a:cubicBezTo>
                  <a:cubicBezTo>
                    <a:pt x="204" y="543"/>
                    <a:pt x="198" y="532"/>
                    <a:pt x="198" y="532"/>
                  </a:cubicBezTo>
                  <a:cubicBezTo>
                    <a:pt x="198" y="532"/>
                    <a:pt x="219" y="529"/>
                    <a:pt x="217" y="518"/>
                  </a:cubicBezTo>
                  <a:cubicBezTo>
                    <a:pt x="215" y="507"/>
                    <a:pt x="196" y="507"/>
                    <a:pt x="196" y="507"/>
                  </a:cubicBezTo>
                  <a:cubicBezTo>
                    <a:pt x="209" y="502"/>
                    <a:pt x="209" y="502"/>
                    <a:pt x="209" y="502"/>
                  </a:cubicBezTo>
                  <a:cubicBezTo>
                    <a:pt x="200" y="498"/>
                    <a:pt x="200" y="498"/>
                    <a:pt x="200" y="498"/>
                  </a:cubicBezTo>
                  <a:cubicBezTo>
                    <a:pt x="200" y="498"/>
                    <a:pt x="234" y="500"/>
                    <a:pt x="237" y="489"/>
                  </a:cubicBezTo>
                  <a:cubicBezTo>
                    <a:pt x="240" y="478"/>
                    <a:pt x="245" y="472"/>
                    <a:pt x="245" y="472"/>
                  </a:cubicBezTo>
                  <a:cubicBezTo>
                    <a:pt x="245" y="472"/>
                    <a:pt x="256" y="490"/>
                    <a:pt x="266" y="478"/>
                  </a:cubicBezTo>
                  <a:cubicBezTo>
                    <a:pt x="276" y="466"/>
                    <a:pt x="270" y="456"/>
                    <a:pt x="270" y="456"/>
                  </a:cubicBezTo>
                  <a:cubicBezTo>
                    <a:pt x="270" y="456"/>
                    <a:pt x="297" y="451"/>
                    <a:pt x="290" y="437"/>
                  </a:cubicBezTo>
                  <a:cubicBezTo>
                    <a:pt x="283" y="423"/>
                    <a:pt x="271" y="420"/>
                    <a:pt x="271" y="420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47" y="399"/>
                    <a:pt x="247" y="399"/>
                    <a:pt x="247" y="399"/>
                  </a:cubicBezTo>
                  <a:cubicBezTo>
                    <a:pt x="247" y="399"/>
                    <a:pt x="236" y="406"/>
                    <a:pt x="228" y="399"/>
                  </a:cubicBezTo>
                  <a:cubicBezTo>
                    <a:pt x="220" y="392"/>
                    <a:pt x="217" y="350"/>
                    <a:pt x="217" y="350"/>
                  </a:cubicBezTo>
                  <a:cubicBezTo>
                    <a:pt x="217" y="350"/>
                    <a:pt x="228" y="340"/>
                    <a:pt x="229" y="329"/>
                  </a:cubicBezTo>
                  <a:cubicBezTo>
                    <a:pt x="230" y="318"/>
                    <a:pt x="219" y="308"/>
                    <a:pt x="219" y="308"/>
                  </a:cubicBezTo>
                  <a:cubicBezTo>
                    <a:pt x="219" y="308"/>
                    <a:pt x="233" y="311"/>
                    <a:pt x="237" y="303"/>
                  </a:cubicBezTo>
                  <a:cubicBezTo>
                    <a:pt x="241" y="295"/>
                    <a:pt x="232" y="283"/>
                    <a:pt x="232" y="283"/>
                  </a:cubicBezTo>
                  <a:cubicBezTo>
                    <a:pt x="232" y="283"/>
                    <a:pt x="249" y="292"/>
                    <a:pt x="254" y="287"/>
                  </a:cubicBezTo>
                  <a:cubicBezTo>
                    <a:pt x="259" y="282"/>
                    <a:pt x="271" y="270"/>
                    <a:pt x="271" y="270"/>
                  </a:cubicBezTo>
                  <a:cubicBezTo>
                    <a:pt x="291" y="273"/>
                    <a:pt x="291" y="273"/>
                    <a:pt x="291" y="273"/>
                  </a:cubicBezTo>
                  <a:cubicBezTo>
                    <a:pt x="299" y="258"/>
                    <a:pt x="299" y="258"/>
                    <a:pt x="299" y="258"/>
                  </a:cubicBezTo>
                  <a:cubicBezTo>
                    <a:pt x="299" y="258"/>
                    <a:pt x="330" y="259"/>
                    <a:pt x="340" y="249"/>
                  </a:cubicBezTo>
                  <a:cubicBezTo>
                    <a:pt x="350" y="239"/>
                    <a:pt x="364" y="213"/>
                    <a:pt x="364" y="213"/>
                  </a:cubicBezTo>
                  <a:cubicBezTo>
                    <a:pt x="352" y="198"/>
                    <a:pt x="352" y="198"/>
                    <a:pt x="352" y="198"/>
                  </a:cubicBezTo>
                  <a:cubicBezTo>
                    <a:pt x="372" y="175"/>
                    <a:pt x="372" y="175"/>
                    <a:pt x="372" y="175"/>
                  </a:cubicBezTo>
                  <a:cubicBezTo>
                    <a:pt x="361" y="162"/>
                    <a:pt x="361" y="162"/>
                    <a:pt x="361" y="162"/>
                  </a:cubicBezTo>
                  <a:cubicBezTo>
                    <a:pt x="386" y="156"/>
                    <a:pt x="386" y="156"/>
                    <a:pt x="386" y="156"/>
                  </a:cubicBezTo>
                  <a:cubicBezTo>
                    <a:pt x="396" y="144"/>
                    <a:pt x="396" y="144"/>
                    <a:pt x="396" y="144"/>
                  </a:cubicBezTo>
                  <a:cubicBezTo>
                    <a:pt x="449" y="146"/>
                    <a:pt x="449" y="146"/>
                    <a:pt x="449" y="146"/>
                  </a:cubicBezTo>
                  <a:cubicBezTo>
                    <a:pt x="457" y="159"/>
                    <a:pt x="457" y="159"/>
                    <a:pt x="457" y="159"/>
                  </a:cubicBezTo>
                  <a:cubicBezTo>
                    <a:pt x="459" y="157"/>
                    <a:pt x="459" y="157"/>
                    <a:pt x="459" y="157"/>
                  </a:cubicBezTo>
                  <a:lnTo>
                    <a:pt x="451" y="136"/>
                  </a:lnTo>
                  <a:close/>
                  <a:moveTo>
                    <a:pt x="262" y="549"/>
                  </a:moveTo>
                  <a:cubicBezTo>
                    <a:pt x="259" y="560"/>
                    <a:pt x="271" y="583"/>
                    <a:pt x="271" y="583"/>
                  </a:cubicBezTo>
                  <a:cubicBezTo>
                    <a:pt x="279" y="566"/>
                    <a:pt x="279" y="566"/>
                    <a:pt x="279" y="566"/>
                  </a:cubicBezTo>
                  <a:cubicBezTo>
                    <a:pt x="279" y="566"/>
                    <a:pt x="285" y="569"/>
                    <a:pt x="290" y="560"/>
                  </a:cubicBezTo>
                  <a:cubicBezTo>
                    <a:pt x="296" y="552"/>
                    <a:pt x="290" y="543"/>
                    <a:pt x="290" y="543"/>
                  </a:cubicBezTo>
                  <a:cubicBezTo>
                    <a:pt x="302" y="531"/>
                    <a:pt x="302" y="531"/>
                    <a:pt x="302" y="531"/>
                  </a:cubicBezTo>
                  <a:cubicBezTo>
                    <a:pt x="302" y="531"/>
                    <a:pt x="265" y="538"/>
                    <a:pt x="262" y="549"/>
                  </a:cubicBezTo>
                  <a:close/>
                  <a:moveTo>
                    <a:pt x="200" y="597"/>
                  </a:moveTo>
                  <a:cubicBezTo>
                    <a:pt x="200" y="602"/>
                    <a:pt x="199" y="615"/>
                    <a:pt x="199" y="615"/>
                  </a:cubicBezTo>
                  <a:cubicBezTo>
                    <a:pt x="207" y="615"/>
                    <a:pt x="216" y="584"/>
                    <a:pt x="216" y="584"/>
                  </a:cubicBezTo>
                  <a:cubicBezTo>
                    <a:pt x="230" y="570"/>
                    <a:pt x="230" y="570"/>
                    <a:pt x="230" y="570"/>
                  </a:cubicBezTo>
                  <a:cubicBezTo>
                    <a:pt x="226" y="557"/>
                    <a:pt x="226" y="557"/>
                    <a:pt x="226" y="557"/>
                  </a:cubicBezTo>
                  <a:cubicBezTo>
                    <a:pt x="226" y="557"/>
                    <a:pt x="200" y="591"/>
                    <a:pt x="200" y="597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20" name="Freeform 136"/>
            <p:cNvSpPr>
              <a:spLocks noEditPoints="1"/>
            </p:cNvSpPr>
            <p:nvPr/>
          </p:nvSpPr>
          <p:spPr bwMode="auto">
            <a:xfrm>
              <a:off x="2783" y="1201"/>
              <a:ext cx="344" cy="384"/>
            </a:xfrm>
            <a:custGeom>
              <a:avLst/>
              <a:gdLst>
                <a:gd name="T0" fmla="*/ 0 w 905"/>
                <a:gd name="T1" fmla="*/ 0 h 1010"/>
                <a:gd name="T2" fmla="*/ 0 w 905"/>
                <a:gd name="T3" fmla="*/ 0 h 1010"/>
                <a:gd name="T4" fmla="*/ 0 w 905"/>
                <a:gd name="T5" fmla="*/ 0 h 1010"/>
                <a:gd name="T6" fmla="*/ 0 w 905"/>
                <a:gd name="T7" fmla="*/ 0 h 1010"/>
                <a:gd name="T8" fmla="*/ 0 w 905"/>
                <a:gd name="T9" fmla="*/ 0 h 1010"/>
                <a:gd name="T10" fmla="*/ 0 w 905"/>
                <a:gd name="T11" fmla="*/ 0 h 1010"/>
                <a:gd name="T12" fmla="*/ 0 w 905"/>
                <a:gd name="T13" fmla="*/ 0 h 1010"/>
                <a:gd name="T14" fmla="*/ 0 w 905"/>
                <a:gd name="T15" fmla="*/ 0 h 1010"/>
                <a:gd name="T16" fmla="*/ 0 w 905"/>
                <a:gd name="T17" fmla="*/ 0 h 1010"/>
                <a:gd name="T18" fmla="*/ 0 w 905"/>
                <a:gd name="T19" fmla="*/ 0 h 1010"/>
                <a:gd name="T20" fmla="*/ 0 w 905"/>
                <a:gd name="T21" fmla="*/ 0 h 1010"/>
                <a:gd name="T22" fmla="*/ 0 w 905"/>
                <a:gd name="T23" fmla="*/ 0 h 1010"/>
                <a:gd name="T24" fmla="*/ 0 w 905"/>
                <a:gd name="T25" fmla="*/ 0 h 1010"/>
                <a:gd name="T26" fmla="*/ 0 w 905"/>
                <a:gd name="T27" fmla="*/ 0 h 1010"/>
                <a:gd name="T28" fmla="*/ 0 w 905"/>
                <a:gd name="T29" fmla="*/ 0 h 1010"/>
                <a:gd name="T30" fmla="*/ 0 w 905"/>
                <a:gd name="T31" fmla="*/ 0 h 1010"/>
                <a:gd name="T32" fmla="*/ 0 w 905"/>
                <a:gd name="T33" fmla="*/ 0 h 1010"/>
                <a:gd name="T34" fmla="*/ 0 w 905"/>
                <a:gd name="T35" fmla="*/ 0 h 1010"/>
                <a:gd name="T36" fmla="*/ 0 w 905"/>
                <a:gd name="T37" fmla="*/ 0 h 1010"/>
                <a:gd name="T38" fmla="*/ 0 w 905"/>
                <a:gd name="T39" fmla="*/ 0 h 1010"/>
                <a:gd name="T40" fmla="*/ 0 w 905"/>
                <a:gd name="T41" fmla="*/ 0 h 1010"/>
                <a:gd name="T42" fmla="*/ 0 w 905"/>
                <a:gd name="T43" fmla="*/ 0 h 1010"/>
                <a:gd name="T44" fmla="*/ 0 w 905"/>
                <a:gd name="T45" fmla="*/ 0 h 1010"/>
                <a:gd name="T46" fmla="*/ 0 w 905"/>
                <a:gd name="T47" fmla="*/ 0 h 1010"/>
                <a:gd name="T48" fmla="*/ 0 w 905"/>
                <a:gd name="T49" fmla="*/ 0 h 1010"/>
                <a:gd name="T50" fmla="*/ 0 w 905"/>
                <a:gd name="T51" fmla="*/ 0 h 1010"/>
                <a:gd name="T52" fmla="*/ 0 w 905"/>
                <a:gd name="T53" fmla="*/ 0 h 1010"/>
                <a:gd name="T54" fmla="*/ 0 w 905"/>
                <a:gd name="T55" fmla="*/ 0 h 1010"/>
                <a:gd name="T56" fmla="*/ 0 w 905"/>
                <a:gd name="T57" fmla="*/ 0 h 1010"/>
                <a:gd name="T58" fmla="*/ 0 w 905"/>
                <a:gd name="T59" fmla="*/ 0 h 1010"/>
                <a:gd name="T60" fmla="*/ 0 w 905"/>
                <a:gd name="T61" fmla="*/ 0 h 1010"/>
                <a:gd name="T62" fmla="*/ 0 w 905"/>
                <a:gd name="T63" fmla="*/ 0 h 1010"/>
                <a:gd name="T64" fmla="*/ 0 w 905"/>
                <a:gd name="T65" fmla="*/ 0 h 1010"/>
                <a:gd name="T66" fmla="*/ 0 w 905"/>
                <a:gd name="T67" fmla="*/ 0 h 1010"/>
                <a:gd name="T68" fmla="*/ 0 w 905"/>
                <a:gd name="T69" fmla="*/ 0 h 1010"/>
                <a:gd name="T70" fmla="*/ 0 w 905"/>
                <a:gd name="T71" fmla="*/ 0 h 1010"/>
                <a:gd name="T72" fmla="*/ 0 w 905"/>
                <a:gd name="T73" fmla="*/ 0 h 1010"/>
                <a:gd name="T74" fmla="*/ 0 w 905"/>
                <a:gd name="T75" fmla="*/ 0 h 1010"/>
                <a:gd name="T76" fmla="*/ 0 w 905"/>
                <a:gd name="T77" fmla="*/ 0 h 1010"/>
                <a:gd name="T78" fmla="*/ 0 w 905"/>
                <a:gd name="T79" fmla="*/ 0 h 1010"/>
                <a:gd name="T80" fmla="*/ 0 w 905"/>
                <a:gd name="T81" fmla="*/ 0 h 1010"/>
                <a:gd name="T82" fmla="*/ 0 w 905"/>
                <a:gd name="T83" fmla="*/ 0 h 1010"/>
                <a:gd name="T84" fmla="*/ 0 w 905"/>
                <a:gd name="T85" fmla="*/ 0 h 1010"/>
                <a:gd name="T86" fmla="*/ 0 w 905"/>
                <a:gd name="T87" fmla="*/ 0 h 1010"/>
                <a:gd name="T88" fmla="*/ 0 w 905"/>
                <a:gd name="T89" fmla="*/ 0 h 1010"/>
                <a:gd name="T90" fmla="*/ 0 w 905"/>
                <a:gd name="T91" fmla="*/ 0 h 1010"/>
                <a:gd name="T92" fmla="*/ 0 w 905"/>
                <a:gd name="T93" fmla="*/ 0 h 1010"/>
                <a:gd name="T94" fmla="*/ 0 w 905"/>
                <a:gd name="T95" fmla="*/ 0 h 1010"/>
                <a:gd name="T96" fmla="*/ 0 w 905"/>
                <a:gd name="T97" fmla="*/ 0 h 1010"/>
                <a:gd name="T98" fmla="*/ 0 w 905"/>
                <a:gd name="T99" fmla="*/ 0 h 1010"/>
                <a:gd name="T100" fmla="*/ 0 w 905"/>
                <a:gd name="T101" fmla="*/ 0 h 1010"/>
                <a:gd name="T102" fmla="*/ 0 w 905"/>
                <a:gd name="T103" fmla="*/ 0 h 1010"/>
                <a:gd name="T104" fmla="*/ 0 w 905"/>
                <a:gd name="T105" fmla="*/ 0 h 1010"/>
                <a:gd name="T106" fmla="*/ 0 w 905"/>
                <a:gd name="T107" fmla="*/ 0 h 1010"/>
                <a:gd name="T108" fmla="*/ 0 w 905"/>
                <a:gd name="T109" fmla="*/ 0 h 1010"/>
                <a:gd name="T110" fmla="*/ 0 w 905"/>
                <a:gd name="T111" fmla="*/ 0 h 1010"/>
                <a:gd name="T112" fmla="*/ 0 w 905"/>
                <a:gd name="T113" fmla="*/ 0 h 1010"/>
                <a:gd name="T114" fmla="*/ 0 w 905"/>
                <a:gd name="T115" fmla="*/ 0 h 10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05"/>
                <a:gd name="T175" fmla="*/ 0 h 1010"/>
                <a:gd name="T176" fmla="*/ 905 w 905"/>
                <a:gd name="T177" fmla="*/ 1010 h 10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05" h="1010">
                  <a:moveTo>
                    <a:pt x="215" y="87"/>
                  </a:moveTo>
                  <a:cubicBezTo>
                    <a:pt x="229" y="97"/>
                    <a:pt x="250" y="93"/>
                    <a:pt x="250" y="93"/>
                  </a:cubicBezTo>
                  <a:cubicBezTo>
                    <a:pt x="228" y="82"/>
                    <a:pt x="228" y="82"/>
                    <a:pt x="228" y="82"/>
                  </a:cubicBezTo>
                  <a:cubicBezTo>
                    <a:pt x="195" y="65"/>
                    <a:pt x="195" y="65"/>
                    <a:pt x="195" y="65"/>
                  </a:cubicBezTo>
                  <a:cubicBezTo>
                    <a:pt x="191" y="78"/>
                    <a:pt x="201" y="78"/>
                    <a:pt x="215" y="87"/>
                  </a:cubicBezTo>
                  <a:close/>
                  <a:moveTo>
                    <a:pt x="453" y="40"/>
                  </a:moveTo>
                  <a:cubicBezTo>
                    <a:pt x="481" y="40"/>
                    <a:pt x="481" y="40"/>
                    <a:pt x="481" y="40"/>
                  </a:cubicBezTo>
                  <a:cubicBezTo>
                    <a:pt x="481" y="40"/>
                    <a:pt x="512" y="51"/>
                    <a:pt x="516" y="49"/>
                  </a:cubicBezTo>
                  <a:cubicBezTo>
                    <a:pt x="520" y="48"/>
                    <a:pt x="542" y="44"/>
                    <a:pt x="547" y="44"/>
                  </a:cubicBezTo>
                  <a:cubicBezTo>
                    <a:pt x="553" y="44"/>
                    <a:pt x="599" y="62"/>
                    <a:pt x="599" y="62"/>
                  </a:cubicBezTo>
                  <a:cubicBezTo>
                    <a:pt x="613" y="47"/>
                    <a:pt x="613" y="47"/>
                    <a:pt x="613" y="47"/>
                  </a:cubicBezTo>
                  <a:cubicBezTo>
                    <a:pt x="653" y="48"/>
                    <a:pt x="653" y="48"/>
                    <a:pt x="653" y="48"/>
                  </a:cubicBezTo>
                  <a:cubicBezTo>
                    <a:pt x="656" y="35"/>
                    <a:pt x="656" y="35"/>
                    <a:pt x="656" y="35"/>
                  </a:cubicBezTo>
                  <a:cubicBezTo>
                    <a:pt x="656" y="35"/>
                    <a:pt x="677" y="42"/>
                    <a:pt x="688" y="21"/>
                  </a:cubicBezTo>
                  <a:cubicBezTo>
                    <a:pt x="699" y="0"/>
                    <a:pt x="653" y="17"/>
                    <a:pt x="653" y="17"/>
                  </a:cubicBezTo>
                  <a:cubicBezTo>
                    <a:pt x="653" y="17"/>
                    <a:pt x="650" y="7"/>
                    <a:pt x="626" y="7"/>
                  </a:cubicBezTo>
                  <a:cubicBezTo>
                    <a:pt x="602" y="7"/>
                    <a:pt x="585" y="19"/>
                    <a:pt x="578" y="17"/>
                  </a:cubicBezTo>
                  <a:cubicBezTo>
                    <a:pt x="571" y="16"/>
                    <a:pt x="577" y="4"/>
                    <a:pt x="558" y="4"/>
                  </a:cubicBezTo>
                  <a:cubicBezTo>
                    <a:pt x="540" y="4"/>
                    <a:pt x="535" y="20"/>
                    <a:pt x="535" y="20"/>
                  </a:cubicBezTo>
                  <a:cubicBezTo>
                    <a:pt x="491" y="4"/>
                    <a:pt x="491" y="4"/>
                    <a:pt x="491" y="4"/>
                  </a:cubicBezTo>
                  <a:cubicBezTo>
                    <a:pt x="491" y="4"/>
                    <a:pt x="470" y="11"/>
                    <a:pt x="447" y="16"/>
                  </a:cubicBezTo>
                  <a:cubicBezTo>
                    <a:pt x="425" y="20"/>
                    <a:pt x="440" y="4"/>
                    <a:pt x="440" y="4"/>
                  </a:cubicBezTo>
                  <a:cubicBezTo>
                    <a:pt x="419" y="14"/>
                    <a:pt x="419" y="14"/>
                    <a:pt x="419" y="14"/>
                  </a:cubicBezTo>
                  <a:cubicBezTo>
                    <a:pt x="429" y="28"/>
                    <a:pt x="429" y="28"/>
                    <a:pt x="429" y="28"/>
                  </a:cubicBezTo>
                  <a:lnTo>
                    <a:pt x="453" y="40"/>
                  </a:lnTo>
                  <a:close/>
                  <a:moveTo>
                    <a:pt x="214" y="49"/>
                  </a:moveTo>
                  <a:cubicBezTo>
                    <a:pt x="221" y="54"/>
                    <a:pt x="236" y="51"/>
                    <a:pt x="239" y="55"/>
                  </a:cubicBezTo>
                  <a:cubicBezTo>
                    <a:pt x="242" y="59"/>
                    <a:pt x="223" y="69"/>
                    <a:pt x="223" y="69"/>
                  </a:cubicBezTo>
                  <a:cubicBezTo>
                    <a:pt x="252" y="80"/>
                    <a:pt x="252" y="80"/>
                    <a:pt x="252" y="80"/>
                  </a:cubicBezTo>
                  <a:cubicBezTo>
                    <a:pt x="252" y="80"/>
                    <a:pt x="267" y="90"/>
                    <a:pt x="281" y="93"/>
                  </a:cubicBezTo>
                  <a:cubicBezTo>
                    <a:pt x="295" y="96"/>
                    <a:pt x="305" y="76"/>
                    <a:pt x="305" y="76"/>
                  </a:cubicBezTo>
                  <a:cubicBezTo>
                    <a:pt x="333" y="71"/>
                    <a:pt x="333" y="71"/>
                    <a:pt x="333" y="71"/>
                  </a:cubicBezTo>
                  <a:cubicBezTo>
                    <a:pt x="356" y="85"/>
                    <a:pt x="356" y="85"/>
                    <a:pt x="356" y="85"/>
                  </a:cubicBezTo>
                  <a:cubicBezTo>
                    <a:pt x="356" y="85"/>
                    <a:pt x="337" y="90"/>
                    <a:pt x="319" y="94"/>
                  </a:cubicBezTo>
                  <a:cubicBezTo>
                    <a:pt x="301" y="99"/>
                    <a:pt x="302" y="106"/>
                    <a:pt x="302" y="106"/>
                  </a:cubicBezTo>
                  <a:cubicBezTo>
                    <a:pt x="302" y="106"/>
                    <a:pt x="352" y="110"/>
                    <a:pt x="345" y="111"/>
                  </a:cubicBezTo>
                  <a:cubicBezTo>
                    <a:pt x="337" y="113"/>
                    <a:pt x="307" y="125"/>
                    <a:pt x="307" y="125"/>
                  </a:cubicBezTo>
                  <a:cubicBezTo>
                    <a:pt x="340" y="137"/>
                    <a:pt x="340" y="137"/>
                    <a:pt x="340" y="137"/>
                  </a:cubicBezTo>
                  <a:cubicBezTo>
                    <a:pt x="340" y="137"/>
                    <a:pt x="370" y="152"/>
                    <a:pt x="395" y="148"/>
                  </a:cubicBezTo>
                  <a:cubicBezTo>
                    <a:pt x="421" y="144"/>
                    <a:pt x="402" y="128"/>
                    <a:pt x="402" y="121"/>
                  </a:cubicBezTo>
                  <a:cubicBezTo>
                    <a:pt x="402" y="114"/>
                    <a:pt x="432" y="114"/>
                    <a:pt x="432" y="114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51" y="96"/>
                    <a:pt x="451" y="96"/>
                    <a:pt x="451" y="96"/>
                  </a:cubicBezTo>
                  <a:cubicBezTo>
                    <a:pt x="460" y="75"/>
                    <a:pt x="460" y="75"/>
                    <a:pt x="460" y="75"/>
                  </a:cubicBezTo>
                  <a:cubicBezTo>
                    <a:pt x="473" y="82"/>
                    <a:pt x="473" y="82"/>
                    <a:pt x="473" y="82"/>
                  </a:cubicBezTo>
                  <a:cubicBezTo>
                    <a:pt x="489" y="73"/>
                    <a:pt x="489" y="73"/>
                    <a:pt x="489" y="73"/>
                  </a:cubicBezTo>
                  <a:cubicBezTo>
                    <a:pt x="489" y="73"/>
                    <a:pt x="498" y="87"/>
                    <a:pt x="518" y="92"/>
                  </a:cubicBezTo>
                  <a:cubicBezTo>
                    <a:pt x="537" y="96"/>
                    <a:pt x="515" y="123"/>
                    <a:pt x="515" y="123"/>
                  </a:cubicBezTo>
                  <a:cubicBezTo>
                    <a:pt x="551" y="121"/>
                    <a:pt x="551" y="121"/>
                    <a:pt x="551" y="121"/>
                  </a:cubicBezTo>
                  <a:cubicBezTo>
                    <a:pt x="551" y="121"/>
                    <a:pt x="570" y="137"/>
                    <a:pt x="571" y="132"/>
                  </a:cubicBezTo>
                  <a:cubicBezTo>
                    <a:pt x="572" y="128"/>
                    <a:pt x="623" y="114"/>
                    <a:pt x="627" y="106"/>
                  </a:cubicBezTo>
                  <a:cubicBezTo>
                    <a:pt x="632" y="97"/>
                    <a:pt x="589" y="99"/>
                    <a:pt x="589" y="99"/>
                  </a:cubicBezTo>
                  <a:cubicBezTo>
                    <a:pt x="587" y="87"/>
                    <a:pt x="587" y="87"/>
                    <a:pt x="587" y="87"/>
                  </a:cubicBezTo>
                  <a:cubicBezTo>
                    <a:pt x="551" y="82"/>
                    <a:pt x="551" y="82"/>
                    <a:pt x="551" y="82"/>
                  </a:cubicBezTo>
                  <a:cubicBezTo>
                    <a:pt x="550" y="71"/>
                    <a:pt x="550" y="71"/>
                    <a:pt x="550" y="71"/>
                  </a:cubicBezTo>
                  <a:cubicBezTo>
                    <a:pt x="529" y="73"/>
                    <a:pt x="529" y="73"/>
                    <a:pt x="529" y="73"/>
                  </a:cubicBezTo>
                  <a:cubicBezTo>
                    <a:pt x="532" y="61"/>
                    <a:pt x="532" y="61"/>
                    <a:pt x="532" y="61"/>
                  </a:cubicBezTo>
                  <a:cubicBezTo>
                    <a:pt x="481" y="62"/>
                    <a:pt x="481" y="62"/>
                    <a:pt x="481" y="62"/>
                  </a:cubicBezTo>
                  <a:cubicBezTo>
                    <a:pt x="477" y="54"/>
                    <a:pt x="477" y="54"/>
                    <a:pt x="477" y="54"/>
                  </a:cubicBezTo>
                  <a:cubicBezTo>
                    <a:pt x="453" y="54"/>
                    <a:pt x="453" y="54"/>
                    <a:pt x="453" y="54"/>
                  </a:cubicBezTo>
                  <a:cubicBezTo>
                    <a:pt x="453" y="54"/>
                    <a:pt x="450" y="41"/>
                    <a:pt x="435" y="37"/>
                  </a:cubicBezTo>
                  <a:cubicBezTo>
                    <a:pt x="419" y="33"/>
                    <a:pt x="412" y="38"/>
                    <a:pt x="412" y="38"/>
                  </a:cubicBezTo>
                  <a:cubicBezTo>
                    <a:pt x="415" y="26"/>
                    <a:pt x="415" y="26"/>
                    <a:pt x="415" y="26"/>
                  </a:cubicBezTo>
                  <a:cubicBezTo>
                    <a:pt x="415" y="26"/>
                    <a:pt x="394" y="20"/>
                    <a:pt x="366" y="21"/>
                  </a:cubicBezTo>
                  <a:cubicBezTo>
                    <a:pt x="337" y="23"/>
                    <a:pt x="374" y="55"/>
                    <a:pt x="374" y="55"/>
                  </a:cubicBezTo>
                  <a:cubicBezTo>
                    <a:pt x="374" y="55"/>
                    <a:pt x="343" y="30"/>
                    <a:pt x="328" y="27"/>
                  </a:cubicBezTo>
                  <a:cubicBezTo>
                    <a:pt x="312" y="24"/>
                    <a:pt x="307" y="44"/>
                    <a:pt x="307" y="44"/>
                  </a:cubicBezTo>
                  <a:cubicBezTo>
                    <a:pt x="307" y="44"/>
                    <a:pt x="284" y="40"/>
                    <a:pt x="278" y="37"/>
                  </a:cubicBezTo>
                  <a:cubicBezTo>
                    <a:pt x="273" y="34"/>
                    <a:pt x="291" y="24"/>
                    <a:pt x="291" y="24"/>
                  </a:cubicBezTo>
                  <a:cubicBezTo>
                    <a:pt x="254" y="27"/>
                    <a:pt x="254" y="27"/>
                    <a:pt x="254" y="27"/>
                  </a:cubicBezTo>
                  <a:cubicBezTo>
                    <a:pt x="245" y="35"/>
                    <a:pt x="245" y="35"/>
                    <a:pt x="245" y="35"/>
                  </a:cubicBezTo>
                  <a:cubicBezTo>
                    <a:pt x="240" y="24"/>
                    <a:pt x="240" y="24"/>
                    <a:pt x="240" y="24"/>
                  </a:cubicBezTo>
                  <a:cubicBezTo>
                    <a:pt x="240" y="24"/>
                    <a:pt x="216" y="31"/>
                    <a:pt x="208" y="38"/>
                  </a:cubicBezTo>
                  <a:cubicBezTo>
                    <a:pt x="208" y="38"/>
                    <a:pt x="207" y="45"/>
                    <a:pt x="214" y="49"/>
                  </a:cubicBezTo>
                  <a:close/>
                  <a:moveTo>
                    <a:pt x="425" y="477"/>
                  </a:moveTo>
                  <a:cubicBezTo>
                    <a:pt x="441" y="474"/>
                    <a:pt x="440" y="464"/>
                    <a:pt x="447" y="464"/>
                  </a:cubicBezTo>
                  <a:cubicBezTo>
                    <a:pt x="453" y="464"/>
                    <a:pt x="447" y="453"/>
                    <a:pt x="447" y="453"/>
                  </a:cubicBezTo>
                  <a:cubicBezTo>
                    <a:pt x="417" y="467"/>
                    <a:pt x="417" y="467"/>
                    <a:pt x="417" y="467"/>
                  </a:cubicBezTo>
                  <a:lnTo>
                    <a:pt x="425" y="477"/>
                  </a:lnTo>
                  <a:close/>
                  <a:moveTo>
                    <a:pt x="513" y="437"/>
                  </a:moveTo>
                  <a:cubicBezTo>
                    <a:pt x="522" y="434"/>
                    <a:pt x="535" y="424"/>
                    <a:pt x="517" y="423"/>
                  </a:cubicBezTo>
                  <a:cubicBezTo>
                    <a:pt x="500" y="422"/>
                    <a:pt x="513" y="437"/>
                    <a:pt x="513" y="437"/>
                  </a:cubicBezTo>
                  <a:close/>
                  <a:moveTo>
                    <a:pt x="392" y="470"/>
                  </a:moveTo>
                  <a:cubicBezTo>
                    <a:pt x="373" y="465"/>
                    <a:pt x="363" y="482"/>
                    <a:pt x="363" y="482"/>
                  </a:cubicBezTo>
                  <a:cubicBezTo>
                    <a:pt x="379" y="486"/>
                    <a:pt x="379" y="486"/>
                    <a:pt x="379" y="486"/>
                  </a:cubicBezTo>
                  <a:cubicBezTo>
                    <a:pt x="385" y="482"/>
                    <a:pt x="411" y="474"/>
                    <a:pt x="392" y="470"/>
                  </a:cubicBezTo>
                  <a:close/>
                  <a:moveTo>
                    <a:pt x="610" y="414"/>
                  </a:moveTo>
                  <a:cubicBezTo>
                    <a:pt x="623" y="417"/>
                    <a:pt x="623" y="417"/>
                    <a:pt x="623" y="417"/>
                  </a:cubicBezTo>
                  <a:cubicBezTo>
                    <a:pt x="631" y="408"/>
                    <a:pt x="631" y="402"/>
                    <a:pt x="631" y="402"/>
                  </a:cubicBezTo>
                  <a:cubicBezTo>
                    <a:pt x="611" y="404"/>
                    <a:pt x="611" y="404"/>
                    <a:pt x="611" y="404"/>
                  </a:cubicBezTo>
                  <a:lnTo>
                    <a:pt x="610" y="414"/>
                  </a:lnTo>
                  <a:close/>
                  <a:moveTo>
                    <a:pt x="320" y="509"/>
                  </a:moveTo>
                  <a:cubicBezTo>
                    <a:pt x="304" y="509"/>
                    <a:pt x="279" y="528"/>
                    <a:pt x="285" y="532"/>
                  </a:cubicBezTo>
                  <a:cubicBezTo>
                    <a:pt x="290" y="535"/>
                    <a:pt x="315" y="520"/>
                    <a:pt x="315" y="520"/>
                  </a:cubicBezTo>
                  <a:cubicBezTo>
                    <a:pt x="338" y="516"/>
                    <a:pt x="338" y="516"/>
                    <a:pt x="338" y="516"/>
                  </a:cubicBezTo>
                  <a:cubicBezTo>
                    <a:pt x="335" y="516"/>
                    <a:pt x="336" y="509"/>
                    <a:pt x="320" y="509"/>
                  </a:cubicBezTo>
                  <a:close/>
                  <a:moveTo>
                    <a:pt x="901" y="448"/>
                  </a:moveTo>
                  <a:cubicBezTo>
                    <a:pt x="884" y="451"/>
                    <a:pt x="884" y="451"/>
                    <a:pt x="884" y="451"/>
                  </a:cubicBezTo>
                  <a:cubicBezTo>
                    <a:pt x="856" y="444"/>
                    <a:pt x="856" y="444"/>
                    <a:pt x="856" y="444"/>
                  </a:cubicBezTo>
                  <a:cubicBezTo>
                    <a:pt x="836" y="433"/>
                    <a:pt x="836" y="433"/>
                    <a:pt x="836" y="433"/>
                  </a:cubicBezTo>
                  <a:cubicBezTo>
                    <a:pt x="836" y="433"/>
                    <a:pt x="862" y="437"/>
                    <a:pt x="873" y="432"/>
                  </a:cubicBezTo>
                  <a:cubicBezTo>
                    <a:pt x="884" y="427"/>
                    <a:pt x="902" y="421"/>
                    <a:pt x="902" y="421"/>
                  </a:cubicBezTo>
                  <a:cubicBezTo>
                    <a:pt x="902" y="421"/>
                    <a:pt x="876" y="406"/>
                    <a:pt x="862" y="406"/>
                  </a:cubicBezTo>
                  <a:cubicBezTo>
                    <a:pt x="848" y="406"/>
                    <a:pt x="827" y="395"/>
                    <a:pt x="827" y="395"/>
                  </a:cubicBezTo>
                  <a:cubicBezTo>
                    <a:pt x="827" y="395"/>
                    <a:pt x="819" y="421"/>
                    <a:pt x="803" y="418"/>
                  </a:cubicBezTo>
                  <a:cubicBezTo>
                    <a:pt x="787" y="415"/>
                    <a:pt x="815" y="397"/>
                    <a:pt x="815" y="397"/>
                  </a:cubicBezTo>
                  <a:cubicBezTo>
                    <a:pt x="771" y="382"/>
                    <a:pt x="771" y="382"/>
                    <a:pt x="771" y="382"/>
                  </a:cubicBezTo>
                  <a:cubicBezTo>
                    <a:pt x="771" y="382"/>
                    <a:pt x="763" y="431"/>
                    <a:pt x="749" y="425"/>
                  </a:cubicBezTo>
                  <a:cubicBezTo>
                    <a:pt x="735" y="419"/>
                    <a:pt x="746" y="393"/>
                    <a:pt x="746" y="393"/>
                  </a:cubicBezTo>
                  <a:cubicBezTo>
                    <a:pt x="746" y="393"/>
                    <a:pt x="708" y="437"/>
                    <a:pt x="698" y="430"/>
                  </a:cubicBezTo>
                  <a:cubicBezTo>
                    <a:pt x="688" y="423"/>
                    <a:pt x="734" y="387"/>
                    <a:pt x="734" y="387"/>
                  </a:cubicBezTo>
                  <a:cubicBezTo>
                    <a:pt x="711" y="385"/>
                    <a:pt x="711" y="385"/>
                    <a:pt x="711" y="385"/>
                  </a:cubicBezTo>
                  <a:cubicBezTo>
                    <a:pt x="699" y="395"/>
                    <a:pt x="699" y="395"/>
                    <a:pt x="699" y="395"/>
                  </a:cubicBezTo>
                  <a:cubicBezTo>
                    <a:pt x="683" y="393"/>
                    <a:pt x="683" y="393"/>
                    <a:pt x="683" y="393"/>
                  </a:cubicBezTo>
                  <a:cubicBezTo>
                    <a:pt x="653" y="411"/>
                    <a:pt x="653" y="411"/>
                    <a:pt x="653" y="411"/>
                  </a:cubicBezTo>
                  <a:cubicBezTo>
                    <a:pt x="637" y="412"/>
                    <a:pt x="637" y="412"/>
                    <a:pt x="637" y="412"/>
                  </a:cubicBezTo>
                  <a:cubicBezTo>
                    <a:pt x="635" y="432"/>
                    <a:pt x="635" y="432"/>
                    <a:pt x="635" y="432"/>
                  </a:cubicBezTo>
                  <a:cubicBezTo>
                    <a:pt x="611" y="423"/>
                    <a:pt x="611" y="423"/>
                    <a:pt x="611" y="423"/>
                  </a:cubicBezTo>
                  <a:cubicBezTo>
                    <a:pt x="585" y="428"/>
                    <a:pt x="585" y="428"/>
                    <a:pt x="585" y="428"/>
                  </a:cubicBezTo>
                  <a:cubicBezTo>
                    <a:pt x="593" y="446"/>
                    <a:pt x="593" y="446"/>
                    <a:pt x="593" y="446"/>
                  </a:cubicBezTo>
                  <a:cubicBezTo>
                    <a:pt x="562" y="437"/>
                    <a:pt x="562" y="437"/>
                    <a:pt x="562" y="437"/>
                  </a:cubicBezTo>
                  <a:cubicBezTo>
                    <a:pt x="551" y="443"/>
                    <a:pt x="551" y="443"/>
                    <a:pt x="551" y="443"/>
                  </a:cubicBezTo>
                  <a:cubicBezTo>
                    <a:pt x="554" y="459"/>
                    <a:pt x="554" y="459"/>
                    <a:pt x="554" y="459"/>
                  </a:cubicBezTo>
                  <a:cubicBezTo>
                    <a:pt x="524" y="465"/>
                    <a:pt x="524" y="465"/>
                    <a:pt x="524" y="465"/>
                  </a:cubicBezTo>
                  <a:cubicBezTo>
                    <a:pt x="527" y="444"/>
                    <a:pt x="527" y="444"/>
                    <a:pt x="527" y="444"/>
                  </a:cubicBezTo>
                  <a:cubicBezTo>
                    <a:pt x="507" y="444"/>
                    <a:pt x="507" y="444"/>
                    <a:pt x="507" y="444"/>
                  </a:cubicBezTo>
                  <a:cubicBezTo>
                    <a:pt x="513" y="457"/>
                    <a:pt x="513" y="457"/>
                    <a:pt x="513" y="457"/>
                  </a:cubicBezTo>
                  <a:cubicBezTo>
                    <a:pt x="497" y="447"/>
                    <a:pt x="497" y="447"/>
                    <a:pt x="497" y="447"/>
                  </a:cubicBezTo>
                  <a:cubicBezTo>
                    <a:pt x="499" y="467"/>
                    <a:pt x="499" y="467"/>
                    <a:pt x="499" y="467"/>
                  </a:cubicBezTo>
                  <a:cubicBezTo>
                    <a:pt x="482" y="466"/>
                    <a:pt x="482" y="466"/>
                    <a:pt x="482" y="466"/>
                  </a:cubicBezTo>
                  <a:cubicBezTo>
                    <a:pt x="482" y="466"/>
                    <a:pt x="479" y="453"/>
                    <a:pt x="481" y="450"/>
                  </a:cubicBezTo>
                  <a:cubicBezTo>
                    <a:pt x="483" y="447"/>
                    <a:pt x="494" y="437"/>
                    <a:pt x="494" y="437"/>
                  </a:cubicBezTo>
                  <a:cubicBezTo>
                    <a:pt x="471" y="434"/>
                    <a:pt x="471" y="434"/>
                    <a:pt x="471" y="434"/>
                  </a:cubicBezTo>
                  <a:cubicBezTo>
                    <a:pt x="468" y="463"/>
                    <a:pt x="468" y="463"/>
                    <a:pt x="468" y="463"/>
                  </a:cubicBezTo>
                  <a:cubicBezTo>
                    <a:pt x="450" y="472"/>
                    <a:pt x="450" y="472"/>
                    <a:pt x="450" y="472"/>
                  </a:cubicBezTo>
                  <a:cubicBezTo>
                    <a:pt x="460" y="480"/>
                    <a:pt x="460" y="480"/>
                    <a:pt x="460" y="480"/>
                  </a:cubicBezTo>
                  <a:cubicBezTo>
                    <a:pt x="438" y="483"/>
                    <a:pt x="438" y="483"/>
                    <a:pt x="438" y="483"/>
                  </a:cubicBezTo>
                  <a:cubicBezTo>
                    <a:pt x="446" y="491"/>
                    <a:pt x="446" y="491"/>
                    <a:pt x="446" y="491"/>
                  </a:cubicBezTo>
                  <a:cubicBezTo>
                    <a:pt x="418" y="492"/>
                    <a:pt x="418" y="492"/>
                    <a:pt x="418" y="492"/>
                  </a:cubicBezTo>
                  <a:cubicBezTo>
                    <a:pt x="418" y="500"/>
                    <a:pt x="418" y="500"/>
                    <a:pt x="418" y="500"/>
                  </a:cubicBezTo>
                  <a:cubicBezTo>
                    <a:pt x="439" y="505"/>
                    <a:pt x="439" y="505"/>
                    <a:pt x="439" y="505"/>
                  </a:cubicBezTo>
                  <a:cubicBezTo>
                    <a:pt x="432" y="514"/>
                    <a:pt x="432" y="514"/>
                    <a:pt x="432" y="514"/>
                  </a:cubicBezTo>
                  <a:cubicBezTo>
                    <a:pt x="408" y="504"/>
                    <a:pt x="408" y="504"/>
                    <a:pt x="408" y="504"/>
                  </a:cubicBezTo>
                  <a:cubicBezTo>
                    <a:pt x="399" y="505"/>
                    <a:pt x="399" y="505"/>
                    <a:pt x="399" y="505"/>
                  </a:cubicBezTo>
                  <a:cubicBezTo>
                    <a:pt x="415" y="516"/>
                    <a:pt x="415" y="516"/>
                    <a:pt x="415" y="516"/>
                  </a:cubicBezTo>
                  <a:cubicBezTo>
                    <a:pt x="400" y="527"/>
                    <a:pt x="400" y="527"/>
                    <a:pt x="400" y="527"/>
                  </a:cubicBezTo>
                  <a:cubicBezTo>
                    <a:pt x="392" y="514"/>
                    <a:pt x="392" y="514"/>
                    <a:pt x="392" y="514"/>
                  </a:cubicBezTo>
                  <a:cubicBezTo>
                    <a:pt x="382" y="520"/>
                    <a:pt x="382" y="520"/>
                    <a:pt x="382" y="520"/>
                  </a:cubicBezTo>
                  <a:cubicBezTo>
                    <a:pt x="383" y="525"/>
                    <a:pt x="383" y="525"/>
                    <a:pt x="383" y="525"/>
                  </a:cubicBezTo>
                  <a:cubicBezTo>
                    <a:pt x="360" y="526"/>
                    <a:pt x="360" y="526"/>
                    <a:pt x="360" y="526"/>
                  </a:cubicBezTo>
                  <a:cubicBezTo>
                    <a:pt x="357" y="535"/>
                    <a:pt x="357" y="535"/>
                    <a:pt x="357" y="535"/>
                  </a:cubicBezTo>
                  <a:cubicBezTo>
                    <a:pt x="374" y="544"/>
                    <a:pt x="374" y="544"/>
                    <a:pt x="374" y="544"/>
                  </a:cubicBezTo>
                  <a:cubicBezTo>
                    <a:pt x="372" y="554"/>
                    <a:pt x="372" y="554"/>
                    <a:pt x="372" y="554"/>
                  </a:cubicBezTo>
                  <a:cubicBezTo>
                    <a:pt x="350" y="546"/>
                    <a:pt x="350" y="546"/>
                    <a:pt x="350" y="546"/>
                  </a:cubicBezTo>
                  <a:cubicBezTo>
                    <a:pt x="347" y="556"/>
                    <a:pt x="347" y="556"/>
                    <a:pt x="347" y="556"/>
                  </a:cubicBezTo>
                  <a:cubicBezTo>
                    <a:pt x="365" y="561"/>
                    <a:pt x="365" y="561"/>
                    <a:pt x="365" y="561"/>
                  </a:cubicBezTo>
                  <a:cubicBezTo>
                    <a:pt x="365" y="561"/>
                    <a:pt x="344" y="562"/>
                    <a:pt x="337" y="563"/>
                  </a:cubicBezTo>
                  <a:cubicBezTo>
                    <a:pt x="330" y="564"/>
                    <a:pt x="334" y="574"/>
                    <a:pt x="334" y="574"/>
                  </a:cubicBezTo>
                  <a:cubicBezTo>
                    <a:pt x="334" y="574"/>
                    <a:pt x="321" y="567"/>
                    <a:pt x="313" y="573"/>
                  </a:cubicBezTo>
                  <a:cubicBezTo>
                    <a:pt x="305" y="579"/>
                    <a:pt x="298" y="584"/>
                    <a:pt x="303" y="587"/>
                  </a:cubicBezTo>
                  <a:cubicBezTo>
                    <a:pt x="308" y="590"/>
                    <a:pt x="297" y="596"/>
                    <a:pt x="297" y="596"/>
                  </a:cubicBezTo>
                  <a:cubicBezTo>
                    <a:pt x="297" y="596"/>
                    <a:pt x="290" y="605"/>
                    <a:pt x="293" y="606"/>
                  </a:cubicBezTo>
                  <a:cubicBezTo>
                    <a:pt x="296" y="607"/>
                    <a:pt x="316" y="608"/>
                    <a:pt x="316" y="608"/>
                  </a:cubicBezTo>
                  <a:cubicBezTo>
                    <a:pt x="309" y="616"/>
                    <a:pt x="309" y="616"/>
                    <a:pt x="309" y="616"/>
                  </a:cubicBezTo>
                  <a:cubicBezTo>
                    <a:pt x="286" y="612"/>
                    <a:pt x="286" y="612"/>
                    <a:pt x="286" y="612"/>
                  </a:cubicBezTo>
                  <a:cubicBezTo>
                    <a:pt x="286" y="612"/>
                    <a:pt x="273" y="614"/>
                    <a:pt x="273" y="622"/>
                  </a:cubicBezTo>
                  <a:cubicBezTo>
                    <a:pt x="273" y="630"/>
                    <a:pt x="283" y="636"/>
                    <a:pt x="279" y="639"/>
                  </a:cubicBezTo>
                  <a:cubicBezTo>
                    <a:pt x="275" y="642"/>
                    <a:pt x="271" y="642"/>
                    <a:pt x="266" y="642"/>
                  </a:cubicBezTo>
                  <a:cubicBezTo>
                    <a:pt x="261" y="642"/>
                    <a:pt x="255" y="643"/>
                    <a:pt x="257" y="650"/>
                  </a:cubicBezTo>
                  <a:cubicBezTo>
                    <a:pt x="259" y="657"/>
                    <a:pt x="267" y="661"/>
                    <a:pt x="267" y="661"/>
                  </a:cubicBezTo>
                  <a:cubicBezTo>
                    <a:pt x="267" y="661"/>
                    <a:pt x="273" y="672"/>
                    <a:pt x="266" y="673"/>
                  </a:cubicBezTo>
                  <a:cubicBezTo>
                    <a:pt x="259" y="674"/>
                    <a:pt x="252" y="673"/>
                    <a:pt x="249" y="673"/>
                  </a:cubicBezTo>
                  <a:cubicBezTo>
                    <a:pt x="246" y="673"/>
                    <a:pt x="243" y="674"/>
                    <a:pt x="240" y="678"/>
                  </a:cubicBezTo>
                  <a:cubicBezTo>
                    <a:pt x="237" y="682"/>
                    <a:pt x="237" y="689"/>
                    <a:pt x="237" y="689"/>
                  </a:cubicBezTo>
                  <a:cubicBezTo>
                    <a:pt x="237" y="689"/>
                    <a:pt x="239" y="696"/>
                    <a:pt x="232" y="696"/>
                  </a:cubicBezTo>
                  <a:cubicBezTo>
                    <a:pt x="225" y="696"/>
                    <a:pt x="222" y="689"/>
                    <a:pt x="216" y="690"/>
                  </a:cubicBezTo>
                  <a:cubicBezTo>
                    <a:pt x="210" y="691"/>
                    <a:pt x="212" y="691"/>
                    <a:pt x="207" y="695"/>
                  </a:cubicBezTo>
                  <a:cubicBezTo>
                    <a:pt x="202" y="699"/>
                    <a:pt x="202" y="700"/>
                    <a:pt x="199" y="704"/>
                  </a:cubicBezTo>
                  <a:cubicBezTo>
                    <a:pt x="196" y="708"/>
                    <a:pt x="187" y="708"/>
                    <a:pt x="187" y="708"/>
                  </a:cubicBezTo>
                  <a:cubicBezTo>
                    <a:pt x="187" y="708"/>
                    <a:pt x="183" y="709"/>
                    <a:pt x="180" y="715"/>
                  </a:cubicBezTo>
                  <a:cubicBezTo>
                    <a:pt x="177" y="721"/>
                    <a:pt x="186" y="725"/>
                    <a:pt x="181" y="728"/>
                  </a:cubicBezTo>
                  <a:cubicBezTo>
                    <a:pt x="176" y="731"/>
                    <a:pt x="175" y="733"/>
                    <a:pt x="170" y="733"/>
                  </a:cubicBezTo>
                  <a:cubicBezTo>
                    <a:pt x="165" y="733"/>
                    <a:pt x="156" y="728"/>
                    <a:pt x="153" y="728"/>
                  </a:cubicBezTo>
                  <a:cubicBezTo>
                    <a:pt x="150" y="728"/>
                    <a:pt x="157" y="720"/>
                    <a:pt x="144" y="727"/>
                  </a:cubicBezTo>
                  <a:cubicBezTo>
                    <a:pt x="131" y="734"/>
                    <a:pt x="130" y="735"/>
                    <a:pt x="126" y="734"/>
                  </a:cubicBezTo>
                  <a:cubicBezTo>
                    <a:pt x="122" y="733"/>
                    <a:pt x="117" y="731"/>
                    <a:pt x="118" y="741"/>
                  </a:cubicBezTo>
                  <a:cubicBezTo>
                    <a:pt x="119" y="751"/>
                    <a:pt x="125" y="750"/>
                    <a:pt x="126" y="753"/>
                  </a:cubicBezTo>
                  <a:cubicBezTo>
                    <a:pt x="127" y="756"/>
                    <a:pt x="130" y="764"/>
                    <a:pt x="122" y="760"/>
                  </a:cubicBezTo>
                  <a:cubicBezTo>
                    <a:pt x="114" y="756"/>
                    <a:pt x="113" y="747"/>
                    <a:pt x="108" y="750"/>
                  </a:cubicBezTo>
                  <a:cubicBezTo>
                    <a:pt x="103" y="753"/>
                    <a:pt x="97" y="760"/>
                    <a:pt x="102" y="763"/>
                  </a:cubicBezTo>
                  <a:cubicBezTo>
                    <a:pt x="107" y="766"/>
                    <a:pt x="122" y="762"/>
                    <a:pt x="119" y="768"/>
                  </a:cubicBezTo>
                  <a:cubicBezTo>
                    <a:pt x="116" y="774"/>
                    <a:pt x="126" y="777"/>
                    <a:pt x="111" y="775"/>
                  </a:cubicBezTo>
                  <a:cubicBezTo>
                    <a:pt x="96" y="773"/>
                    <a:pt x="92" y="773"/>
                    <a:pt x="92" y="773"/>
                  </a:cubicBezTo>
                  <a:cubicBezTo>
                    <a:pt x="92" y="773"/>
                    <a:pt x="94" y="767"/>
                    <a:pt x="88" y="772"/>
                  </a:cubicBezTo>
                  <a:cubicBezTo>
                    <a:pt x="82" y="777"/>
                    <a:pt x="84" y="786"/>
                    <a:pt x="84" y="786"/>
                  </a:cubicBezTo>
                  <a:cubicBezTo>
                    <a:pt x="84" y="786"/>
                    <a:pt x="55" y="773"/>
                    <a:pt x="59" y="781"/>
                  </a:cubicBezTo>
                  <a:cubicBezTo>
                    <a:pt x="63" y="789"/>
                    <a:pt x="85" y="794"/>
                    <a:pt x="85" y="794"/>
                  </a:cubicBezTo>
                  <a:cubicBezTo>
                    <a:pt x="72" y="808"/>
                    <a:pt x="72" y="808"/>
                    <a:pt x="72" y="808"/>
                  </a:cubicBezTo>
                  <a:cubicBezTo>
                    <a:pt x="72" y="808"/>
                    <a:pt x="73" y="798"/>
                    <a:pt x="66" y="797"/>
                  </a:cubicBezTo>
                  <a:cubicBezTo>
                    <a:pt x="59" y="796"/>
                    <a:pt x="53" y="804"/>
                    <a:pt x="53" y="804"/>
                  </a:cubicBezTo>
                  <a:cubicBezTo>
                    <a:pt x="40" y="793"/>
                    <a:pt x="40" y="793"/>
                    <a:pt x="40" y="793"/>
                  </a:cubicBezTo>
                  <a:cubicBezTo>
                    <a:pt x="34" y="802"/>
                    <a:pt x="34" y="802"/>
                    <a:pt x="34" y="802"/>
                  </a:cubicBezTo>
                  <a:cubicBezTo>
                    <a:pt x="43" y="805"/>
                    <a:pt x="43" y="805"/>
                    <a:pt x="43" y="805"/>
                  </a:cubicBezTo>
                  <a:cubicBezTo>
                    <a:pt x="20" y="804"/>
                    <a:pt x="20" y="804"/>
                    <a:pt x="20" y="804"/>
                  </a:cubicBezTo>
                  <a:cubicBezTo>
                    <a:pt x="19" y="813"/>
                    <a:pt x="19" y="813"/>
                    <a:pt x="19" y="813"/>
                  </a:cubicBezTo>
                  <a:cubicBezTo>
                    <a:pt x="52" y="815"/>
                    <a:pt x="52" y="815"/>
                    <a:pt x="52" y="815"/>
                  </a:cubicBezTo>
                  <a:cubicBezTo>
                    <a:pt x="35" y="820"/>
                    <a:pt x="35" y="820"/>
                    <a:pt x="35" y="820"/>
                  </a:cubicBezTo>
                  <a:cubicBezTo>
                    <a:pt x="11" y="814"/>
                    <a:pt x="11" y="814"/>
                    <a:pt x="11" y="814"/>
                  </a:cubicBezTo>
                  <a:cubicBezTo>
                    <a:pt x="11" y="814"/>
                    <a:pt x="3" y="821"/>
                    <a:pt x="3" y="827"/>
                  </a:cubicBezTo>
                  <a:cubicBezTo>
                    <a:pt x="3" y="833"/>
                    <a:pt x="21" y="834"/>
                    <a:pt x="21" y="834"/>
                  </a:cubicBezTo>
                  <a:cubicBezTo>
                    <a:pt x="10" y="839"/>
                    <a:pt x="10" y="839"/>
                    <a:pt x="10" y="839"/>
                  </a:cubicBezTo>
                  <a:cubicBezTo>
                    <a:pt x="10" y="839"/>
                    <a:pt x="1" y="846"/>
                    <a:pt x="10" y="847"/>
                  </a:cubicBezTo>
                  <a:cubicBezTo>
                    <a:pt x="19" y="848"/>
                    <a:pt x="42" y="848"/>
                    <a:pt x="42" y="848"/>
                  </a:cubicBezTo>
                  <a:cubicBezTo>
                    <a:pt x="52" y="854"/>
                    <a:pt x="52" y="854"/>
                    <a:pt x="52" y="854"/>
                  </a:cubicBezTo>
                  <a:cubicBezTo>
                    <a:pt x="63" y="846"/>
                    <a:pt x="63" y="846"/>
                    <a:pt x="63" y="846"/>
                  </a:cubicBezTo>
                  <a:cubicBezTo>
                    <a:pt x="71" y="854"/>
                    <a:pt x="71" y="854"/>
                    <a:pt x="71" y="854"/>
                  </a:cubicBezTo>
                  <a:cubicBezTo>
                    <a:pt x="89" y="845"/>
                    <a:pt x="89" y="845"/>
                    <a:pt x="89" y="845"/>
                  </a:cubicBezTo>
                  <a:cubicBezTo>
                    <a:pt x="89" y="845"/>
                    <a:pt x="86" y="858"/>
                    <a:pt x="80" y="858"/>
                  </a:cubicBezTo>
                  <a:cubicBezTo>
                    <a:pt x="74" y="858"/>
                    <a:pt x="62" y="857"/>
                    <a:pt x="62" y="857"/>
                  </a:cubicBezTo>
                  <a:cubicBezTo>
                    <a:pt x="44" y="858"/>
                    <a:pt x="44" y="858"/>
                    <a:pt x="44" y="858"/>
                  </a:cubicBezTo>
                  <a:cubicBezTo>
                    <a:pt x="44" y="858"/>
                    <a:pt x="28" y="856"/>
                    <a:pt x="25" y="856"/>
                  </a:cubicBezTo>
                  <a:cubicBezTo>
                    <a:pt x="22" y="856"/>
                    <a:pt x="0" y="858"/>
                    <a:pt x="0" y="858"/>
                  </a:cubicBezTo>
                  <a:cubicBezTo>
                    <a:pt x="0" y="858"/>
                    <a:pt x="2" y="870"/>
                    <a:pt x="7" y="872"/>
                  </a:cubicBezTo>
                  <a:cubicBezTo>
                    <a:pt x="12" y="874"/>
                    <a:pt x="20" y="874"/>
                    <a:pt x="20" y="874"/>
                  </a:cubicBezTo>
                  <a:cubicBezTo>
                    <a:pt x="20" y="874"/>
                    <a:pt x="7" y="884"/>
                    <a:pt x="13" y="891"/>
                  </a:cubicBezTo>
                  <a:cubicBezTo>
                    <a:pt x="19" y="898"/>
                    <a:pt x="29" y="899"/>
                    <a:pt x="29" y="899"/>
                  </a:cubicBezTo>
                  <a:cubicBezTo>
                    <a:pt x="47" y="888"/>
                    <a:pt x="47" y="888"/>
                    <a:pt x="47" y="888"/>
                  </a:cubicBezTo>
                  <a:cubicBezTo>
                    <a:pt x="65" y="884"/>
                    <a:pt x="65" y="884"/>
                    <a:pt x="65" y="884"/>
                  </a:cubicBezTo>
                  <a:cubicBezTo>
                    <a:pt x="59" y="898"/>
                    <a:pt x="59" y="898"/>
                    <a:pt x="59" y="898"/>
                  </a:cubicBezTo>
                  <a:cubicBezTo>
                    <a:pt x="49" y="895"/>
                    <a:pt x="49" y="895"/>
                    <a:pt x="49" y="895"/>
                  </a:cubicBezTo>
                  <a:cubicBezTo>
                    <a:pt x="43" y="907"/>
                    <a:pt x="43" y="907"/>
                    <a:pt x="43" y="907"/>
                  </a:cubicBezTo>
                  <a:cubicBezTo>
                    <a:pt x="43" y="907"/>
                    <a:pt x="13" y="901"/>
                    <a:pt x="17" y="908"/>
                  </a:cubicBezTo>
                  <a:cubicBezTo>
                    <a:pt x="21" y="915"/>
                    <a:pt x="30" y="918"/>
                    <a:pt x="30" y="918"/>
                  </a:cubicBezTo>
                  <a:cubicBezTo>
                    <a:pt x="14" y="926"/>
                    <a:pt x="14" y="926"/>
                    <a:pt x="14" y="926"/>
                  </a:cubicBezTo>
                  <a:cubicBezTo>
                    <a:pt x="2" y="926"/>
                    <a:pt x="2" y="926"/>
                    <a:pt x="2" y="926"/>
                  </a:cubicBezTo>
                  <a:cubicBezTo>
                    <a:pt x="2" y="926"/>
                    <a:pt x="4" y="938"/>
                    <a:pt x="7" y="938"/>
                  </a:cubicBezTo>
                  <a:cubicBezTo>
                    <a:pt x="10" y="938"/>
                    <a:pt x="42" y="939"/>
                    <a:pt x="42" y="939"/>
                  </a:cubicBezTo>
                  <a:cubicBezTo>
                    <a:pt x="33" y="953"/>
                    <a:pt x="33" y="953"/>
                    <a:pt x="33" y="953"/>
                  </a:cubicBezTo>
                  <a:cubicBezTo>
                    <a:pt x="41" y="955"/>
                    <a:pt x="41" y="955"/>
                    <a:pt x="41" y="955"/>
                  </a:cubicBezTo>
                  <a:cubicBezTo>
                    <a:pt x="36" y="967"/>
                    <a:pt x="36" y="967"/>
                    <a:pt x="36" y="967"/>
                  </a:cubicBezTo>
                  <a:cubicBezTo>
                    <a:pt x="36" y="967"/>
                    <a:pt x="10" y="954"/>
                    <a:pt x="11" y="962"/>
                  </a:cubicBezTo>
                  <a:cubicBezTo>
                    <a:pt x="12" y="970"/>
                    <a:pt x="23" y="981"/>
                    <a:pt x="23" y="981"/>
                  </a:cubicBezTo>
                  <a:cubicBezTo>
                    <a:pt x="55" y="995"/>
                    <a:pt x="55" y="995"/>
                    <a:pt x="55" y="995"/>
                  </a:cubicBezTo>
                  <a:cubicBezTo>
                    <a:pt x="55" y="995"/>
                    <a:pt x="48" y="1000"/>
                    <a:pt x="55" y="1003"/>
                  </a:cubicBezTo>
                  <a:cubicBezTo>
                    <a:pt x="62" y="1006"/>
                    <a:pt x="83" y="1001"/>
                    <a:pt x="83" y="1001"/>
                  </a:cubicBezTo>
                  <a:cubicBezTo>
                    <a:pt x="83" y="1001"/>
                    <a:pt x="86" y="1010"/>
                    <a:pt x="103" y="1004"/>
                  </a:cubicBezTo>
                  <a:cubicBezTo>
                    <a:pt x="120" y="998"/>
                    <a:pt x="148" y="973"/>
                    <a:pt x="148" y="973"/>
                  </a:cubicBezTo>
                  <a:cubicBezTo>
                    <a:pt x="172" y="954"/>
                    <a:pt x="172" y="954"/>
                    <a:pt x="172" y="954"/>
                  </a:cubicBezTo>
                  <a:cubicBezTo>
                    <a:pt x="172" y="954"/>
                    <a:pt x="183" y="959"/>
                    <a:pt x="193" y="950"/>
                  </a:cubicBezTo>
                  <a:cubicBezTo>
                    <a:pt x="203" y="941"/>
                    <a:pt x="193" y="922"/>
                    <a:pt x="193" y="922"/>
                  </a:cubicBezTo>
                  <a:cubicBezTo>
                    <a:pt x="205" y="920"/>
                    <a:pt x="205" y="920"/>
                    <a:pt x="205" y="920"/>
                  </a:cubicBezTo>
                  <a:cubicBezTo>
                    <a:pt x="205" y="920"/>
                    <a:pt x="192" y="937"/>
                    <a:pt x="207" y="942"/>
                  </a:cubicBezTo>
                  <a:cubicBezTo>
                    <a:pt x="222" y="947"/>
                    <a:pt x="233" y="949"/>
                    <a:pt x="233" y="949"/>
                  </a:cubicBezTo>
                  <a:cubicBezTo>
                    <a:pt x="247" y="962"/>
                    <a:pt x="247" y="962"/>
                    <a:pt x="247" y="962"/>
                  </a:cubicBezTo>
                  <a:cubicBezTo>
                    <a:pt x="247" y="962"/>
                    <a:pt x="253" y="951"/>
                    <a:pt x="255" y="946"/>
                  </a:cubicBezTo>
                  <a:cubicBezTo>
                    <a:pt x="257" y="941"/>
                    <a:pt x="251" y="940"/>
                    <a:pt x="248" y="932"/>
                  </a:cubicBezTo>
                  <a:cubicBezTo>
                    <a:pt x="245" y="924"/>
                    <a:pt x="254" y="921"/>
                    <a:pt x="254" y="921"/>
                  </a:cubicBezTo>
                  <a:cubicBezTo>
                    <a:pt x="254" y="921"/>
                    <a:pt x="254" y="917"/>
                    <a:pt x="252" y="911"/>
                  </a:cubicBezTo>
                  <a:cubicBezTo>
                    <a:pt x="250" y="905"/>
                    <a:pt x="264" y="911"/>
                    <a:pt x="269" y="911"/>
                  </a:cubicBezTo>
                  <a:cubicBezTo>
                    <a:pt x="274" y="911"/>
                    <a:pt x="277" y="906"/>
                    <a:pt x="277" y="906"/>
                  </a:cubicBezTo>
                  <a:cubicBezTo>
                    <a:pt x="277" y="889"/>
                    <a:pt x="277" y="889"/>
                    <a:pt x="277" y="889"/>
                  </a:cubicBezTo>
                  <a:cubicBezTo>
                    <a:pt x="284" y="889"/>
                    <a:pt x="284" y="889"/>
                    <a:pt x="284" y="889"/>
                  </a:cubicBezTo>
                  <a:cubicBezTo>
                    <a:pt x="284" y="889"/>
                    <a:pt x="280" y="880"/>
                    <a:pt x="277" y="877"/>
                  </a:cubicBezTo>
                  <a:cubicBezTo>
                    <a:pt x="274" y="874"/>
                    <a:pt x="268" y="857"/>
                    <a:pt x="268" y="857"/>
                  </a:cubicBezTo>
                  <a:cubicBezTo>
                    <a:pt x="283" y="854"/>
                    <a:pt x="283" y="854"/>
                    <a:pt x="283" y="854"/>
                  </a:cubicBezTo>
                  <a:cubicBezTo>
                    <a:pt x="283" y="854"/>
                    <a:pt x="290" y="848"/>
                    <a:pt x="292" y="841"/>
                  </a:cubicBezTo>
                  <a:cubicBezTo>
                    <a:pt x="294" y="834"/>
                    <a:pt x="275" y="828"/>
                    <a:pt x="275" y="828"/>
                  </a:cubicBezTo>
                  <a:cubicBezTo>
                    <a:pt x="275" y="828"/>
                    <a:pt x="267" y="821"/>
                    <a:pt x="266" y="814"/>
                  </a:cubicBezTo>
                  <a:cubicBezTo>
                    <a:pt x="265" y="807"/>
                    <a:pt x="271" y="800"/>
                    <a:pt x="272" y="795"/>
                  </a:cubicBezTo>
                  <a:cubicBezTo>
                    <a:pt x="273" y="790"/>
                    <a:pt x="262" y="783"/>
                    <a:pt x="262" y="783"/>
                  </a:cubicBezTo>
                  <a:cubicBezTo>
                    <a:pt x="262" y="783"/>
                    <a:pt x="256" y="775"/>
                    <a:pt x="254" y="770"/>
                  </a:cubicBezTo>
                  <a:cubicBezTo>
                    <a:pt x="252" y="765"/>
                    <a:pt x="261" y="763"/>
                    <a:pt x="267" y="757"/>
                  </a:cubicBezTo>
                  <a:cubicBezTo>
                    <a:pt x="273" y="751"/>
                    <a:pt x="255" y="751"/>
                    <a:pt x="255" y="748"/>
                  </a:cubicBezTo>
                  <a:cubicBezTo>
                    <a:pt x="255" y="745"/>
                    <a:pt x="261" y="740"/>
                    <a:pt x="261" y="740"/>
                  </a:cubicBezTo>
                  <a:cubicBezTo>
                    <a:pt x="266" y="734"/>
                    <a:pt x="266" y="734"/>
                    <a:pt x="266" y="734"/>
                  </a:cubicBezTo>
                  <a:cubicBezTo>
                    <a:pt x="266" y="734"/>
                    <a:pt x="272" y="729"/>
                    <a:pt x="279" y="724"/>
                  </a:cubicBezTo>
                  <a:cubicBezTo>
                    <a:pt x="286" y="719"/>
                    <a:pt x="301" y="707"/>
                    <a:pt x="301" y="707"/>
                  </a:cubicBezTo>
                  <a:cubicBezTo>
                    <a:pt x="301" y="707"/>
                    <a:pt x="328" y="712"/>
                    <a:pt x="332" y="703"/>
                  </a:cubicBezTo>
                  <a:cubicBezTo>
                    <a:pt x="336" y="694"/>
                    <a:pt x="315" y="684"/>
                    <a:pt x="315" y="684"/>
                  </a:cubicBezTo>
                  <a:cubicBezTo>
                    <a:pt x="315" y="684"/>
                    <a:pt x="324" y="678"/>
                    <a:pt x="329" y="674"/>
                  </a:cubicBezTo>
                  <a:cubicBezTo>
                    <a:pt x="334" y="670"/>
                    <a:pt x="344" y="658"/>
                    <a:pt x="344" y="658"/>
                  </a:cubicBezTo>
                  <a:cubicBezTo>
                    <a:pt x="348" y="629"/>
                    <a:pt x="348" y="629"/>
                    <a:pt x="348" y="629"/>
                  </a:cubicBezTo>
                  <a:cubicBezTo>
                    <a:pt x="351" y="624"/>
                    <a:pt x="351" y="624"/>
                    <a:pt x="351" y="624"/>
                  </a:cubicBezTo>
                  <a:cubicBezTo>
                    <a:pt x="349" y="608"/>
                    <a:pt x="349" y="608"/>
                    <a:pt x="349" y="608"/>
                  </a:cubicBezTo>
                  <a:cubicBezTo>
                    <a:pt x="363" y="615"/>
                    <a:pt x="363" y="615"/>
                    <a:pt x="363" y="615"/>
                  </a:cubicBezTo>
                  <a:cubicBezTo>
                    <a:pt x="363" y="615"/>
                    <a:pt x="372" y="610"/>
                    <a:pt x="379" y="608"/>
                  </a:cubicBezTo>
                  <a:cubicBezTo>
                    <a:pt x="386" y="606"/>
                    <a:pt x="372" y="592"/>
                    <a:pt x="372" y="592"/>
                  </a:cubicBezTo>
                  <a:cubicBezTo>
                    <a:pt x="386" y="591"/>
                    <a:pt x="386" y="591"/>
                    <a:pt x="386" y="591"/>
                  </a:cubicBezTo>
                  <a:cubicBezTo>
                    <a:pt x="386" y="591"/>
                    <a:pt x="388" y="584"/>
                    <a:pt x="394" y="579"/>
                  </a:cubicBezTo>
                  <a:cubicBezTo>
                    <a:pt x="400" y="574"/>
                    <a:pt x="405" y="573"/>
                    <a:pt x="405" y="573"/>
                  </a:cubicBezTo>
                  <a:cubicBezTo>
                    <a:pt x="410" y="563"/>
                    <a:pt x="410" y="563"/>
                    <a:pt x="410" y="563"/>
                  </a:cubicBezTo>
                  <a:cubicBezTo>
                    <a:pt x="410" y="563"/>
                    <a:pt x="399" y="555"/>
                    <a:pt x="398" y="551"/>
                  </a:cubicBezTo>
                  <a:cubicBezTo>
                    <a:pt x="397" y="547"/>
                    <a:pt x="414" y="539"/>
                    <a:pt x="414" y="539"/>
                  </a:cubicBezTo>
                  <a:cubicBezTo>
                    <a:pt x="423" y="529"/>
                    <a:pt x="423" y="529"/>
                    <a:pt x="423" y="529"/>
                  </a:cubicBezTo>
                  <a:cubicBezTo>
                    <a:pt x="449" y="525"/>
                    <a:pt x="449" y="525"/>
                    <a:pt x="449" y="525"/>
                  </a:cubicBezTo>
                  <a:cubicBezTo>
                    <a:pt x="449" y="525"/>
                    <a:pt x="464" y="525"/>
                    <a:pt x="467" y="520"/>
                  </a:cubicBezTo>
                  <a:cubicBezTo>
                    <a:pt x="470" y="515"/>
                    <a:pt x="460" y="504"/>
                    <a:pt x="468" y="498"/>
                  </a:cubicBezTo>
                  <a:cubicBezTo>
                    <a:pt x="476" y="492"/>
                    <a:pt x="476" y="505"/>
                    <a:pt x="476" y="505"/>
                  </a:cubicBezTo>
                  <a:cubicBezTo>
                    <a:pt x="495" y="501"/>
                    <a:pt x="495" y="501"/>
                    <a:pt x="495" y="501"/>
                  </a:cubicBezTo>
                  <a:cubicBezTo>
                    <a:pt x="508" y="505"/>
                    <a:pt x="508" y="505"/>
                    <a:pt x="508" y="505"/>
                  </a:cubicBezTo>
                  <a:cubicBezTo>
                    <a:pt x="517" y="505"/>
                    <a:pt x="517" y="505"/>
                    <a:pt x="517" y="505"/>
                  </a:cubicBezTo>
                  <a:cubicBezTo>
                    <a:pt x="517" y="505"/>
                    <a:pt x="528" y="511"/>
                    <a:pt x="536" y="509"/>
                  </a:cubicBezTo>
                  <a:cubicBezTo>
                    <a:pt x="544" y="507"/>
                    <a:pt x="531" y="501"/>
                    <a:pt x="531" y="496"/>
                  </a:cubicBezTo>
                  <a:cubicBezTo>
                    <a:pt x="531" y="491"/>
                    <a:pt x="538" y="494"/>
                    <a:pt x="538" y="494"/>
                  </a:cubicBezTo>
                  <a:cubicBezTo>
                    <a:pt x="537" y="480"/>
                    <a:pt x="537" y="480"/>
                    <a:pt x="537" y="480"/>
                  </a:cubicBezTo>
                  <a:cubicBezTo>
                    <a:pt x="557" y="481"/>
                    <a:pt x="557" y="481"/>
                    <a:pt x="557" y="481"/>
                  </a:cubicBezTo>
                  <a:cubicBezTo>
                    <a:pt x="555" y="479"/>
                    <a:pt x="554" y="478"/>
                    <a:pt x="554" y="478"/>
                  </a:cubicBezTo>
                  <a:cubicBezTo>
                    <a:pt x="556" y="473"/>
                    <a:pt x="556" y="473"/>
                    <a:pt x="556" y="473"/>
                  </a:cubicBezTo>
                  <a:cubicBezTo>
                    <a:pt x="568" y="478"/>
                    <a:pt x="568" y="478"/>
                    <a:pt x="568" y="478"/>
                  </a:cubicBezTo>
                  <a:cubicBezTo>
                    <a:pt x="570" y="469"/>
                    <a:pt x="570" y="469"/>
                    <a:pt x="570" y="469"/>
                  </a:cubicBezTo>
                  <a:cubicBezTo>
                    <a:pt x="570" y="469"/>
                    <a:pt x="577" y="466"/>
                    <a:pt x="581" y="466"/>
                  </a:cubicBezTo>
                  <a:cubicBezTo>
                    <a:pt x="585" y="466"/>
                    <a:pt x="594" y="480"/>
                    <a:pt x="594" y="480"/>
                  </a:cubicBezTo>
                  <a:cubicBezTo>
                    <a:pt x="603" y="481"/>
                    <a:pt x="603" y="481"/>
                    <a:pt x="603" y="481"/>
                  </a:cubicBezTo>
                  <a:cubicBezTo>
                    <a:pt x="603" y="481"/>
                    <a:pt x="604" y="491"/>
                    <a:pt x="618" y="492"/>
                  </a:cubicBezTo>
                  <a:cubicBezTo>
                    <a:pt x="632" y="493"/>
                    <a:pt x="632" y="494"/>
                    <a:pt x="632" y="494"/>
                  </a:cubicBezTo>
                  <a:cubicBezTo>
                    <a:pt x="632" y="494"/>
                    <a:pt x="632" y="494"/>
                    <a:pt x="642" y="497"/>
                  </a:cubicBezTo>
                  <a:cubicBezTo>
                    <a:pt x="652" y="500"/>
                    <a:pt x="661" y="492"/>
                    <a:pt x="661" y="492"/>
                  </a:cubicBezTo>
                  <a:cubicBezTo>
                    <a:pt x="661" y="492"/>
                    <a:pt x="672" y="488"/>
                    <a:pt x="677" y="489"/>
                  </a:cubicBezTo>
                  <a:cubicBezTo>
                    <a:pt x="682" y="490"/>
                    <a:pt x="694" y="498"/>
                    <a:pt x="702" y="498"/>
                  </a:cubicBezTo>
                  <a:cubicBezTo>
                    <a:pt x="710" y="498"/>
                    <a:pt x="704" y="488"/>
                    <a:pt x="711" y="483"/>
                  </a:cubicBezTo>
                  <a:cubicBezTo>
                    <a:pt x="718" y="478"/>
                    <a:pt x="727" y="483"/>
                    <a:pt x="727" y="483"/>
                  </a:cubicBezTo>
                  <a:cubicBezTo>
                    <a:pt x="727" y="483"/>
                    <a:pt x="728" y="467"/>
                    <a:pt x="727" y="463"/>
                  </a:cubicBezTo>
                  <a:cubicBezTo>
                    <a:pt x="726" y="459"/>
                    <a:pt x="730" y="446"/>
                    <a:pt x="730" y="446"/>
                  </a:cubicBezTo>
                  <a:cubicBezTo>
                    <a:pt x="730" y="446"/>
                    <a:pt x="747" y="437"/>
                    <a:pt x="752" y="438"/>
                  </a:cubicBezTo>
                  <a:cubicBezTo>
                    <a:pt x="757" y="439"/>
                    <a:pt x="768" y="440"/>
                    <a:pt x="768" y="440"/>
                  </a:cubicBezTo>
                  <a:cubicBezTo>
                    <a:pt x="768" y="440"/>
                    <a:pt x="779" y="433"/>
                    <a:pt x="794" y="434"/>
                  </a:cubicBezTo>
                  <a:cubicBezTo>
                    <a:pt x="809" y="435"/>
                    <a:pt x="802" y="441"/>
                    <a:pt x="802" y="441"/>
                  </a:cubicBezTo>
                  <a:cubicBezTo>
                    <a:pt x="825" y="446"/>
                    <a:pt x="825" y="446"/>
                    <a:pt x="825" y="446"/>
                  </a:cubicBezTo>
                  <a:cubicBezTo>
                    <a:pt x="825" y="446"/>
                    <a:pt x="839" y="447"/>
                    <a:pt x="843" y="464"/>
                  </a:cubicBezTo>
                  <a:cubicBezTo>
                    <a:pt x="847" y="481"/>
                    <a:pt x="834" y="469"/>
                    <a:pt x="834" y="469"/>
                  </a:cubicBezTo>
                  <a:cubicBezTo>
                    <a:pt x="832" y="477"/>
                    <a:pt x="832" y="477"/>
                    <a:pt x="832" y="477"/>
                  </a:cubicBezTo>
                  <a:cubicBezTo>
                    <a:pt x="836" y="479"/>
                    <a:pt x="840" y="480"/>
                    <a:pt x="845" y="480"/>
                  </a:cubicBezTo>
                  <a:cubicBezTo>
                    <a:pt x="854" y="479"/>
                    <a:pt x="855" y="465"/>
                    <a:pt x="855" y="465"/>
                  </a:cubicBezTo>
                  <a:cubicBezTo>
                    <a:pt x="870" y="464"/>
                    <a:pt x="870" y="464"/>
                    <a:pt x="870" y="464"/>
                  </a:cubicBezTo>
                  <a:cubicBezTo>
                    <a:pt x="874" y="456"/>
                    <a:pt x="874" y="456"/>
                    <a:pt x="874" y="456"/>
                  </a:cubicBezTo>
                  <a:cubicBezTo>
                    <a:pt x="874" y="456"/>
                    <a:pt x="873" y="459"/>
                    <a:pt x="891" y="456"/>
                  </a:cubicBezTo>
                  <a:cubicBezTo>
                    <a:pt x="899" y="455"/>
                    <a:pt x="903" y="451"/>
                    <a:pt x="905" y="448"/>
                  </a:cubicBezTo>
                  <a:lnTo>
                    <a:pt x="901" y="448"/>
                  </a:lnTo>
                  <a:close/>
                  <a:moveTo>
                    <a:pt x="372" y="489"/>
                  </a:moveTo>
                  <a:cubicBezTo>
                    <a:pt x="357" y="498"/>
                    <a:pt x="357" y="498"/>
                    <a:pt x="357" y="498"/>
                  </a:cubicBezTo>
                  <a:cubicBezTo>
                    <a:pt x="362" y="511"/>
                    <a:pt x="362" y="511"/>
                    <a:pt x="362" y="511"/>
                  </a:cubicBezTo>
                  <a:cubicBezTo>
                    <a:pt x="380" y="512"/>
                    <a:pt x="380" y="512"/>
                    <a:pt x="380" y="512"/>
                  </a:cubicBezTo>
                  <a:cubicBezTo>
                    <a:pt x="376" y="499"/>
                    <a:pt x="376" y="499"/>
                    <a:pt x="376" y="499"/>
                  </a:cubicBezTo>
                  <a:lnTo>
                    <a:pt x="372" y="489"/>
                  </a:lnTo>
                  <a:close/>
                  <a:moveTo>
                    <a:pt x="346" y="483"/>
                  </a:moveTo>
                  <a:cubicBezTo>
                    <a:pt x="335" y="487"/>
                    <a:pt x="339" y="504"/>
                    <a:pt x="339" y="504"/>
                  </a:cubicBezTo>
                  <a:cubicBezTo>
                    <a:pt x="351" y="516"/>
                    <a:pt x="351" y="516"/>
                    <a:pt x="351" y="516"/>
                  </a:cubicBezTo>
                  <a:cubicBezTo>
                    <a:pt x="351" y="516"/>
                    <a:pt x="357" y="479"/>
                    <a:pt x="346" y="483"/>
                  </a:cubicBezTo>
                  <a:close/>
                  <a:moveTo>
                    <a:pt x="403" y="498"/>
                  </a:moveTo>
                  <a:cubicBezTo>
                    <a:pt x="412" y="493"/>
                    <a:pt x="427" y="490"/>
                    <a:pt x="408" y="486"/>
                  </a:cubicBezTo>
                  <a:cubicBezTo>
                    <a:pt x="389" y="483"/>
                    <a:pt x="380" y="494"/>
                    <a:pt x="380" y="494"/>
                  </a:cubicBezTo>
                  <a:cubicBezTo>
                    <a:pt x="386" y="501"/>
                    <a:pt x="386" y="501"/>
                    <a:pt x="386" y="501"/>
                  </a:cubicBezTo>
                  <a:lnTo>
                    <a:pt x="403" y="498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21" name="Freeform 137"/>
            <p:cNvSpPr>
              <a:spLocks/>
            </p:cNvSpPr>
            <p:nvPr/>
          </p:nvSpPr>
          <p:spPr bwMode="auto">
            <a:xfrm>
              <a:off x="3434" y="2367"/>
              <a:ext cx="184" cy="125"/>
            </a:xfrm>
            <a:custGeom>
              <a:avLst/>
              <a:gdLst>
                <a:gd name="T0" fmla="*/ 0 w 487"/>
                <a:gd name="T1" fmla="*/ 0 h 330"/>
                <a:gd name="T2" fmla="*/ 0 w 487"/>
                <a:gd name="T3" fmla="*/ 0 h 330"/>
                <a:gd name="T4" fmla="*/ 0 w 487"/>
                <a:gd name="T5" fmla="*/ 0 h 330"/>
                <a:gd name="T6" fmla="*/ 0 w 487"/>
                <a:gd name="T7" fmla="*/ 0 h 330"/>
                <a:gd name="T8" fmla="*/ 0 w 487"/>
                <a:gd name="T9" fmla="*/ 0 h 330"/>
                <a:gd name="T10" fmla="*/ 0 w 487"/>
                <a:gd name="T11" fmla="*/ 0 h 330"/>
                <a:gd name="T12" fmla="*/ 0 w 487"/>
                <a:gd name="T13" fmla="*/ 0 h 330"/>
                <a:gd name="T14" fmla="*/ 0 w 487"/>
                <a:gd name="T15" fmla="*/ 0 h 330"/>
                <a:gd name="T16" fmla="*/ 0 w 487"/>
                <a:gd name="T17" fmla="*/ 0 h 330"/>
                <a:gd name="T18" fmla="*/ 0 w 487"/>
                <a:gd name="T19" fmla="*/ 0 h 330"/>
                <a:gd name="T20" fmla="*/ 0 w 487"/>
                <a:gd name="T21" fmla="*/ 0 h 330"/>
                <a:gd name="T22" fmla="*/ 0 w 487"/>
                <a:gd name="T23" fmla="*/ 0 h 330"/>
                <a:gd name="T24" fmla="*/ 0 w 487"/>
                <a:gd name="T25" fmla="*/ 0 h 330"/>
                <a:gd name="T26" fmla="*/ 0 w 487"/>
                <a:gd name="T27" fmla="*/ 0 h 330"/>
                <a:gd name="T28" fmla="*/ 0 w 487"/>
                <a:gd name="T29" fmla="*/ 0 h 330"/>
                <a:gd name="T30" fmla="*/ 0 w 487"/>
                <a:gd name="T31" fmla="*/ 0 h 330"/>
                <a:gd name="T32" fmla="*/ 0 w 487"/>
                <a:gd name="T33" fmla="*/ 0 h 330"/>
                <a:gd name="T34" fmla="*/ 0 w 487"/>
                <a:gd name="T35" fmla="*/ 0 h 330"/>
                <a:gd name="T36" fmla="*/ 0 w 487"/>
                <a:gd name="T37" fmla="*/ 0 h 330"/>
                <a:gd name="T38" fmla="*/ 0 w 487"/>
                <a:gd name="T39" fmla="*/ 0 h 330"/>
                <a:gd name="T40" fmla="*/ 0 w 487"/>
                <a:gd name="T41" fmla="*/ 0 h 330"/>
                <a:gd name="T42" fmla="*/ 0 w 487"/>
                <a:gd name="T43" fmla="*/ 0 h 330"/>
                <a:gd name="T44" fmla="*/ 0 w 487"/>
                <a:gd name="T45" fmla="*/ 0 h 330"/>
                <a:gd name="T46" fmla="*/ 0 w 487"/>
                <a:gd name="T47" fmla="*/ 0 h 330"/>
                <a:gd name="T48" fmla="*/ 0 w 487"/>
                <a:gd name="T49" fmla="*/ 0 h 330"/>
                <a:gd name="T50" fmla="*/ 0 w 487"/>
                <a:gd name="T51" fmla="*/ 0 h 330"/>
                <a:gd name="T52" fmla="*/ 0 w 487"/>
                <a:gd name="T53" fmla="*/ 0 h 330"/>
                <a:gd name="T54" fmla="*/ 0 w 487"/>
                <a:gd name="T55" fmla="*/ 0 h 330"/>
                <a:gd name="T56" fmla="*/ 0 w 487"/>
                <a:gd name="T57" fmla="*/ 0 h 330"/>
                <a:gd name="T58" fmla="*/ 0 w 487"/>
                <a:gd name="T59" fmla="*/ 0 h 330"/>
                <a:gd name="T60" fmla="*/ 0 w 487"/>
                <a:gd name="T61" fmla="*/ 0 h 330"/>
                <a:gd name="T62" fmla="*/ 0 w 487"/>
                <a:gd name="T63" fmla="*/ 0 h 3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87"/>
                <a:gd name="T97" fmla="*/ 0 h 330"/>
                <a:gd name="T98" fmla="*/ 487 w 487"/>
                <a:gd name="T99" fmla="*/ 330 h 33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87" h="330">
                  <a:moveTo>
                    <a:pt x="311" y="13"/>
                  </a:moveTo>
                  <a:cubicBezTo>
                    <a:pt x="299" y="13"/>
                    <a:pt x="257" y="32"/>
                    <a:pt x="247" y="45"/>
                  </a:cubicBezTo>
                  <a:cubicBezTo>
                    <a:pt x="237" y="58"/>
                    <a:pt x="222" y="82"/>
                    <a:pt x="222" y="82"/>
                  </a:cubicBezTo>
                  <a:cubicBezTo>
                    <a:pt x="222" y="94"/>
                    <a:pt x="222" y="94"/>
                    <a:pt x="222" y="94"/>
                  </a:cubicBezTo>
                  <a:cubicBezTo>
                    <a:pt x="222" y="94"/>
                    <a:pt x="215" y="106"/>
                    <a:pt x="210" y="106"/>
                  </a:cubicBezTo>
                  <a:cubicBezTo>
                    <a:pt x="205" y="106"/>
                    <a:pt x="191" y="91"/>
                    <a:pt x="187" y="89"/>
                  </a:cubicBezTo>
                  <a:cubicBezTo>
                    <a:pt x="183" y="87"/>
                    <a:pt x="143" y="89"/>
                    <a:pt x="143" y="89"/>
                  </a:cubicBezTo>
                  <a:cubicBezTo>
                    <a:pt x="143" y="89"/>
                    <a:pt x="132" y="81"/>
                    <a:pt x="116" y="81"/>
                  </a:cubicBezTo>
                  <a:cubicBezTo>
                    <a:pt x="100" y="81"/>
                    <a:pt x="81" y="82"/>
                    <a:pt x="76" y="82"/>
                  </a:cubicBezTo>
                  <a:cubicBezTo>
                    <a:pt x="71" y="82"/>
                    <a:pt x="64" y="88"/>
                    <a:pt x="64" y="88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6" y="89"/>
                    <a:pt x="41" y="75"/>
                    <a:pt x="31" y="80"/>
                  </a:cubicBezTo>
                  <a:cubicBezTo>
                    <a:pt x="21" y="85"/>
                    <a:pt x="22" y="114"/>
                    <a:pt x="22" y="114"/>
                  </a:cubicBezTo>
                  <a:cubicBezTo>
                    <a:pt x="22" y="114"/>
                    <a:pt x="28" y="116"/>
                    <a:pt x="21" y="127"/>
                  </a:cubicBezTo>
                  <a:cubicBezTo>
                    <a:pt x="17" y="134"/>
                    <a:pt x="12" y="138"/>
                    <a:pt x="8" y="141"/>
                  </a:cubicBezTo>
                  <a:cubicBezTo>
                    <a:pt x="6" y="150"/>
                    <a:pt x="3" y="159"/>
                    <a:pt x="2" y="164"/>
                  </a:cubicBezTo>
                  <a:cubicBezTo>
                    <a:pt x="0" y="174"/>
                    <a:pt x="24" y="193"/>
                    <a:pt x="24" y="193"/>
                  </a:cubicBezTo>
                  <a:cubicBezTo>
                    <a:pt x="15" y="270"/>
                    <a:pt x="15" y="270"/>
                    <a:pt x="15" y="270"/>
                  </a:cubicBezTo>
                  <a:cubicBezTo>
                    <a:pt x="36" y="292"/>
                    <a:pt x="36" y="292"/>
                    <a:pt x="36" y="292"/>
                  </a:cubicBezTo>
                  <a:cubicBezTo>
                    <a:pt x="36" y="292"/>
                    <a:pt x="41" y="321"/>
                    <a:pt x="60" y="325"/>
                  </a:cubicBezTo>
                  <a:cubicBezTo>
                    <a:pt x="79" y="330"/>
                    <a:pt x="94" y="329"/>
                    <a:pt x="106" y="321"/>
                  </a:cubicBezTo>
                  <a:cubicBezTo>
                    <a:pt x="118" y="313"/>
                    <a:pt x="122" y="287"/>
                    <a:pt x="133" y="287"/>
                  </a:cubicBezTo>
                  <a:cubicBezTo>
                    <a:pt x="145" y="286"/>
                    <a:pt x="160" y="293"/>
                    <a:pt x="182" y="290"/>
                  </a:cubicBezTo>
                  <a:cubicBezTo>
                    <a:pt x="204" y="287"/>
                    <a:pt x="230" y="282"/>
                    <a:pt x="243" y="282"/>
                  </a:cubicBezTo>
                  <a:cubicBezTo>
                    <a:pt x="256" y="283"/>
                    <a:pt x="277" y="249"/>
                    <a:pt x="292" y="243"/>
                  </a:cubicBezTo>
                  <a:cubicBezTo>
                    <a:pt x="308" y="238"/>
                    <a:pt x="316" y="218"/>
                    <a:pt x="334" y="213"/>
                  </a:cubicBezTo>
                  <a:cubicBezTo>
                    <a:pt x="352" y="207"/>
                    <a:pt x="397" y="181"/>
                    <a:pt x="397" y="181"/>
                  </a:cubicBezTo>
                  <a:cubicBezTo>
                    <a:pt x="446" y="180"/>
                    <a:pt x="446" y="180"/>
                    <a:pt x="446" y="180"/>
                  </a:cubicBezTo>
                  <a:cubicBezTo>
                    <a:pt x="446" y="180"/>
                    <a:pt x="466" y="135"/>
                    <a:pt x="479" y="125"/>
                  </a:cubicBezTo>
                  <a:cubicBezTo>
                    <a:pt x="480" y="123"/>
                    <a:pt x="483" y="122"/>
                    <a:pt x="487" y="120"/>
                  </a:cubicBezTo>
                  <a:cubicBezTo>
                    <a:pt x="433" y="0"/>
                    <a:pt x="433" y="0"/>
                    <a:pt x="433" y="0"/>
                  </a:cubicBezTo>
                  <a:cubicBezTo>
                    <a:pt x="433" y="0"/>
                    <a:pt x="323" y="13"/>
                    <a:pt x="311" y="13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22" name="Freeform 138"/>
            <p:cNvSpPr>
              <a:spLocks/>
            </p:cNvSpPr>
            <p:nvPr/>
          </p:nvSpPr>
          <p:spPr bwMode="auto">
            <a:xfrm>
              <a:off x="2838" y="2706"/>
              <a:ext cx="39" cy="27"/>
            </a:xfrm>
            <a:custGeom>
              <a:avLst/>
              <a:gdLst>
                <a:gd name="T0" fmla="*/ 0 w 103"/>
                <a:gd name="T1" fmla="*/ 0 h 71"/>
                <a:gd name="T2" fmla="*/ 0 w 103"/>
                <a:gd name="T3" fmla="*/ 0 h 71"/>
                <a:gd name="T4" fmla="*/ 0 w 103"/>
                <a:gd name="T5" fmla="*/ 0 h 71"/>
                <a:gd name="T6" fmla="*/ 0 w 103"/>
                <a:gd name="T7" fmla="*/ 0 h 71"/>
                <a:gd name="T8" fmla="*/ 0 w 103"/>
                <a:gd name="T9" fmla="*/ 0 h 71"/>
                <a:gd name="T10" fmla="*/ 0 w 103"/>
                <a:gd name="T11" fmla="*/ 0 h 71"/>
                <a:gd name="T12" fmla="*/ 0 w 103"/>
                <a:gd name="T13" fmla="*/ 0 h 71"/>
                <a:gd name="T14" fmla="*/ 0 w 103"/>
                <a:gd name="T15" fmla="*/ 0 h 71"/>
                <a:gd name="T16" fmla="*/ 0 w 103"/>
                <a:gd name="T17" fmla="*/ 0 h 71"/>
                <a:gd name="T18" fmla="*/ 0 w 103"/>
                <a:gd name="T19" fmla="*/ 0 h 71"/>
                <a:gd name="T20" fmla="*/ 0 w 103"/>
                <a:gd name="T21" fmla="*/ 0 h 71"/>
                <a:gd name="T22" fmla="*/ 0 w 103"/>
                <a:gd name="T23" fmla="*/ 0 h 71"/>
                <a:gd name="T24" fmla="*/ 0 w 103"/>
                <a:gd name="T25" fmla="*/ 0 h 7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3"/>
                <a:gd name="T40" fmla="*/ 0 h 71"/>
                <a:gd name="T41" fmla="*/ 103 w 103"/>
                <a:gd name="T42" fmla="*/ 71 h 7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3" h="71">
                  <a:moveTo>
                    <a:pt x="97" y="29"/>
                  </a:moveTo>
                  <a:cubicBezTo>
                    <a:pt x="100" y="6"/>
                    <a:pt x="100" y="6"/>
                    <a:pt x="100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8" y="21"/>
                    <a:pt x="23" y="29"/>
                  </a:cubicBezTo>
                  <a:cubicBezTo>
                    <a:pt x="18" y="37"/>
                    <a:pt x="0" y="50"/>
                    <a:pt x="4" y="57"/>
                  </a:cubicBezTo>
                  <a:cubicBezTo>
                    <a:pt x="7" y="63"/>
                    <a:pt x="17" y="66"/>
                    <a:pt x="21" y="67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93" y="70"/>
                    <a:pt x="98" y="69"/>
                  </a:cubicBezTo>
                  <a:cubicBezTo>
                    <a:pt x="103" y="68"/>
                    <a:pt x="103" y="33"/>
                    <a:pt x="103" y="33"/>
                  </a:cubicBezTo>
                  <a:lnTo>
                    <a:pt x="97" y="29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23" name="Freeform 139"/>
            <p:cNvSpPr>
              <a:spLocks noEditPoints="1"/>
            </p:cNvSpPr>
            <p:nvPr/>
          </p:nvSpPr>
          <p:spPr bwMode="auto">
            <a:xfrm>
              <a:off x="2537" y="1863"/>
              <a:ext cx="224" cy="156"/>
            </a:xfrm>
            <a:custGeom>
              <a:avLst/>
              <a:gdLst>
                <a:gd name="T0" fmla="*/ 0 w 591"/>
                <a:gd name="T1" fmla="*/ 0 h 413"/>
                <a:gd name="T2" fmla="*/ 0 w 591"/>
                <a:gd name="T3" fmla="*/ 0 h 413"/>
                <a:gd name="T4" fmla="*/ 0 w 591"/>
                <a:gd name="T5" fmla="*/ 0 h 413"/>
                <a:gd name="T6" fmla="*/ 0 w 591"/>
                <a:gd name="T7" fmla="*/ 0 h 413"/>
                <a:gd name="T8" fmla="*/ 0 w 591"/>
                <a:gd name="T9" fmla="*/ 0 h 413"/>
                <a:gd name="T10" fmla="*/ 0 w 591"/>
                <a:gd name="T11" fmla="*/ 0 h 413"/>
                <a:gd name="T12" fmla="*/ 0 w 591"/>
                <a:gd name="T13" fmla="*/ 0 h 413"/>
                <a:gd name="T14" fmla="*/ 0 w 591"/>
                <a:gd name="T15" fmla="*/ 0 h 413"/>
                <a:gd name="T16" fmla="*/ 0 w 591"/>
                <a:gd name="T17" fmla="*/ 0 h 413"/>
                <a:gd name="T18" fmla="*/ 0 w 591"/>
                <a:gd name="T19" fmla="*/ 0 h 413"/>
                <a:gd name="T20" fmla="*/ 0 w 591"/>
                <a:gd name="T21" fmla="*/ 0 h 413"/>
                <a:gd name="T22" fmla="*/ 0 w 591"/>
                <a:gd name="T23" fmla="*/ 0 h 413"/>
                <a:gd name="T24" fmla="*/ 0 w 591"/>
                <a:gd name="T25" fmla="*/ 0 h 413"/>
                <a:gd name="T26" fmla="*/ 0 w 591"/>
                <a:gd name="T27" fmla="*/ 0 h 413"/>
                <a:gd name="T28" fmla="*/ 0 w 591"/>
                <a:gd name="T29" fmla="*/ 0 h 413"/>
                <a:gd name="T30" fmla="*/ 0 w 591"/>
                <a:gd name="T31" fmla="*/ 0 h 413"/>
                <a:gd name="T32" fmla="*/ 0 w 591"/>
                <a:gd name="T33" fmla="*/ 0 h 413"/>
                <a:gd name="T34" fmla="*/ 0 w 591"/>
                <a:gd name="T35" fmla="*/ 0 h 413"/>
                <a:gd name="T36" fmla="*/ 0 w 591"/>
                <a:gd name="T37" fmla="*/ 0 h 413"/>
                <a:gd name="T38" fmla="*/ 0 w 591"/>
                <a:gd name="T39" fmla="*/ 0 h 413"/>
                <a:gd name="T40" fmla="*/ 0 w 591"/>
                <a:gd name="T41" fmla="*/ 0 h 413"/>
                <a:gd name="T42" fmla="*/ 0 w 591"/>
                <a:gd name="T43" fmla="*/ 0 h 413"/>
                <a:gd name="T44" fmla="*/ 0 w 591"/>
                <a:gd name="T45" fmla="*/ 0 h 413"/>
                <a:gd name="T46" fmla="*/ 0 w 591"/>
                <a:gd name="T47" fmla="*/ 0 h 413"/>
                <a:gd name="T48" fmla="*/ 0 w 591"/>
                <a:gd name="T49" fmla="*/ 0 h 413"/>
                <a:gd name="T50" fmla="*/ 0 w 591"/>
                <a:gd name="T51" fmla="*/ 0 h 413"/>
                <a:gd name="T52" fmla="*/ 0 w 591"/>
                <a:gd name="T53" fmla="*/ 0 h 413"/>
                <a:gd name="T54" fmla="*/ 0 w 591"/>
                <a:gd name="T55" fmla="*/ 0 h 413"/>
                <a:gd name="T56" fmla="*/ 0 w 591"/>
                <a:gd name="T57" fmla="*/ 0 h 413"/>
                <a:gd name="T58" fmla="*/ 0 w 591"/>
                <a:gd name="T59" fmla="*/ 0 h 413"/>
                <a:gd name="T60" fmla="*/ 0 w 591"/>
                <a:gd name="T61" fmla="*/ 0 h 413"/>
                <a:gd name="T62" fmla="*/ 0 w 591"/>
                <a:gd name="T63" fmla="*/ 0 h 413"/>
                <a:gd name="T64" fmla="*/ 0 w 591"/>
                <a:gd name="T65" fmla="*/ 0 h 413"/>
                <a:gd name="T66" fmla="*/ 0 w 591"/>
                <a:gd name="T67" fmla="*/ 0 h 413"/>
                <a:gd name="T68" fmla="*/ 0 w 591"/>
                <a:gd name="T69" fmla="*/ 0 h 413"/>
                <a:gd name="T70" fmla="*/ 0 w 591"/>
                <a:gd name="T71" fmla="*/ 0 h 413"/>
                <a:gd name="T72" fmla="*/ 0 w 591"/>
                <a:gd name="T73" fmla="*/ 0 h 413"/>
                <a:gd name="T74" fmla="*/ 0 w 591"/>
                <a:gd name="T75" fmla="*/ 0 h 413"/>
                <a:gd name="T76" fmla="*/ 0 w 591"/>
                <a:gd name="T77" fmla="*/ 0 h 413"/>
                <a:gd name="T78" fmla="*/ 0 w 591"/>
                <a:gd name="T79" fmla="*/ 0 h 413"/>
                <a:gd name="T80" fmla="*/ 0 w 591"/>
                <a:gd name="T81" fmla="*/ 0 h 413"/>
                <a:gd name="T82" fmla="*/ 0 w 591"/>
                <a:gd name="T83" fmla="*/ 0 h 413"/>
                <a:gd name="T84" fmla="*/ 0 w 591"/>
                <a:gd name="T85" fmla="*/ 0 h 413"/>
                <a:gd name="T86" fmla="*/ 0 w 591"/>
                <a:gd name="T87" fmla="*/ 0 h 413"/>
                <a:gd name="T88" fmla="*/ 0 w 591"/>
                <a:gd name="T89" fmla="*/ 0 h 413"/>
                <a:gd name="T90" fmla="*/ 0 w 591"/>
                <a:gd name="T91" fmla="*/ 0 h 413"/>
                <a:gd name="T92" fmla="*/ 0 w 591"/>
                <a:gd name="T93" fmla="*/ 0 h 413"/>
                <a:gd name="T94" fmla="*/ 0 w 591"/>
                <a:gd name="T95" fmla="*/ 0 h 413"/>
                <a:gd name="T96" fmla="*/ 0 w 591"/>
                <a:gd name="T97" fmla="*/ 0 h 413"/>
                <a:gd name="T98" fmla="*/ 0 w 591"/>
                <a:gd name="T99" fmla="*/ 0 h 413"/>
                <a:gd name="T100" fmla="*/ 0 w 591"/>
                <a:gd name="T101" fmla="*/ 0 h 413"/>
                <a:gd name="T102" fmla="*/ 0 w 591"/>
                <a:gd name="T103" fmla="*/ 0 h 413"/>
                <a:gd name="T104" fmla="*/ 0 w 591"/>
                <a:gd name="T105" fmla="*/ 0 h 413"/>
                <a:gd name="T106" fmla="*/ 0 w 591"/>
                <a:gd name="T107" fmla="*/ 0 h 41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91"/>
                <a:gd name="T163" fmla="*/ 0 h 413"/>
                <a:gd name="T164" fmla="*/ 591 w 591"/>
                <a:gd name="T165" fmla="*/ 413 h 41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91" h="413">
                  <a:moveTo>
                    <a:pt x="536" y="212"/>
                  </a:moveTo>
                  <a:cubicBezTo>
                    <a:pt x="536" y="212"/>
                    <a:pt x="533" y="205"/>
                    <a:pt x="527" y="205"/>
                  </a:cubicBezTo>
                  <a:cubicBezTo>
                    <a:pt x="521" y="205"/>
                    <a:pt x="498" y="218"/>
                    <a:pt x="501" y="223"/>
                  </a:cubicBezTo>
                  <a:cubicBezTo>
                    <a:pt x="504" y="228"/>
                    <a:pt x="511" y="226"/>
                    <a:pt x="511" y="226"/>
                  </a:cubicBezTo>
                  <a:cubicBezTo>
                    <a:pt x="511" y="226"/>
                    <a:pt x="515" y="235"/>
                    <a:pt x="519" y="236"/>
                  </a:cubicBezTo>
                  <a:cubicBezTo>
                    <a:pt x="523" y="237"/>
                    <a:pt x="531" y="237"/>
                    <a:pt x="531" y="237"/>
                  </a:cubicBezTo>
                  <a:cubicBezTo>
                    <a:pt x="537" y="235"/>
                    <a:pt x="547" y="225"/>
                    <a:pt x="546" y="218"/>
                  </a:cubicBezTo>
                  <a:cubicBezTo>
                    <a:pt x="545" y="211"/>
                    <a:pt x="536" y="212"/>
                    <a:pt x="536" y="212"/>
                  </a:cubicBezTo>
                  <a:close/>
                  <a:moveTo>
                    <a:pt x="447" y="261"/>
                  </a:moveTo>
                  <a:cubicBezTo>
                    <a:pt x="456" y="270"/>
                    <a:pt x="466" y="259"/>
                    <a:pt x="461" y="249"/>
                  </a:cubicBezTo>
                  <a:cubicBezTo>
                    <a:pt x="456" y="239"/>
                    <a:pt x="447" y="261"/>
                    <a:pt x="447" y="261"/>
                  </a:cubicBezTo>
                  <a:close/>
                  <a:moveTo>
                    <a:pt x="560" y="198"/>
                  </a:moveTo>
                  <a:cubicBezTo>
                    <a:pt x="560" y="198"/>
                    <a:pt x="573" y="218"/>
                    <a:pt x="582" y="213"/>
                  </a:cubicBezTo>
                  <a:cubicBezTo>
                    <a:pt x="591" y="208"/>
                    <a:pt x="570" y="191"/>
                    <a:pt x="560" y="198"/>
                  </a:cubicBezTo>
                  <a:close/>
                  <a:moveTo>
                    <a:pt x="535" y="101"/>
                  </a:moveTo>
                  <a:cubicBezTo>
                    <a:pt x="536" y="98"/>
                    <a:pt x="534" y="86"/>
                    <a:pt x="534" y="86"/>
                  </a:cubicBezTo>
                  <a:cubicBezTo>
                    <a:pt x="542" y="81"/>
                    <a:pt x="542" y="81"/>
                    <a:pt x="542" y="81"/>
                  </a:cubicBezTo>
                  <a:cubicBezTo>
                    <a:pt x="542" y="81"/>
                    <a:pt x="530" y="75"/>
                    <a:pt x="527" y="67"/>
                  </a:cubicBezTo>
                  <a:cubicBezTo>
                    <a:pt x="521" y="67"/>
                    <a:pt x="521" y="67"/>
                    <a:pt x="521" y="67"/>
                  </a:cubicBezTo>
                  <a:cubicBezTo>
                    <a:pt x="521" y="67"/>
                    <a:pt x="521" y="77"/>
                    <a:pt x="514" y="77"/>
                  </a:cubicBezTo>
                  <a:cubicBezTo>
                    <a:pt x="507" y="77"/>
                    <a:pt x="506" y="77"/>
                    <a:pt x="506" y="77"/>
                  </a:cubicBezTo>
                  <a:cubicBezTo>
                    <a:pt x="506" y="77"/>
                    <a:pt x="499" y="69"/>
                    <a:pt x="496" y="70"/>
                  </a:cubicBezTo>
                  <a:cubicBezTo>
                    <a:pt x="493" y="71"/>
                    <a:pt x="486" y="73"/>
                    <a:pt x="486" y="73"/>
                  </a:cubicBezTo>
                  <a:cubicBezTo>
                    <a:pt x="486" y="73"/>
                    <a:pt x="483" y="67"/>
                    <a:pt x="479" y="68"/>
                  </a:cubicBezTo>
                  <a:cubicBezTo>
                    <a:pt x="475" y="69"/>
                    <a:pt x="466" y="71"/>
                    <a:pt x="466" y="71"/>
                  </a:cubicBezTo>
                  <a:cubicBezTo>
                    <a:pt x="459" y="56"/>
                    <a:pt x="459" y="56"/>
                    <a:pt x="459" y="56"/>
                  </a:cubicBezTo>
                  <a:cubicBezTo>
                    <a:pt x="450" y="55"/>
                    <a:pt x="450" y="55"/>
                    <a:pt x="450" y="55"/>
                  </a:cubicBezTo>
                  <a:cubicBezTo>
                    <a:pt x="450" y="55"/>
                    <a:pt x="450" y="48"/>
                    <a:pt x="437" y="48"/>
                  </a:cubicBezTo>
                  <a:cubicBezTo>
                    <a:pt x="424" y="48"/>
                    <a:pt x="430" y="60"/>
                    <a:pt x="430" y="60"/>
                  </a:cubicBezTo>
                  <a:cubicBezTo>
                    <a:pt x="417" y="63"/>
                    <a:pt x="417" y="63"/>
                    <a:pt x="417" y="63"/>
                  </a:cubicBezTo>
                  <a:cubicBezTo>
                    <a:pt x="415" y="55"/>
                    <a:pt x="415" y="55"/>
                    <a:pt x="415" y="55"/>
                  </a:cubicBezTo>
                  <a:cubicBezTo>
                    <a:pt x="395" y="54"/>
                    <a:pt x="395" y="54"/>
                    <a:pt x="395" y="54"/>
                  </a:cubicBezTo>
                  <a:cubicBezTo>
                    <a:pt x="395" y="54"/>
                    <a:pt x="394" y="51"/>
                    <a:pt x="390" y="49"/>
                  </a:cubicBezTo>
                  <a:cubicBezTo>
                    <a:pt x="386" y="47"/>
                    <a:pt x="376" y="51"/>
                    <a:pt x="376" y="51"/>
                  </a:cubicBezTo>
                  <a:cubicBezTo>
                    <a:pt x="376" y="51"/>
                    <a:pt x="370" y="42"/>
                    <a:pt x="363" y="41"/>
                  </a:cubicBezTo>
                  <a:cubicBezTo>
                    <a:pt x="356" y="40"/>
                    <a:pt x="342" y="38"/>
                    <a:pt x="342" y="38"/>
                  </a:cubicBezTo>
                  <a:cubicBezTo>
                    <a:pt x="342" y="38"/>
                    <a:pt x="348" y="35"/>
                    <a:pt x="342" y="28"/>
                  </a:cubicBezTo>
                  <a:cubicBezTo>
                    <a:pt x="336" y="21"/>
                    <a:pt x="327" y="29"/>
                    <a:pt x="327" y="29"/>
                  </a:cubicBezTo>
                  <a:cubicBezTo>
                    <a:pt x="326" y="23"/>
                    <a:pt x="326" y="23"/>
                    <a:pt x="326" y="23"/>
                  </a:cubicBezTo>
                  <a:cubicBezTo>
                    <a:pt x="324" y="23"/>
                    <a:pt x="322" y="23"/>
                    <a:pt x="320" y="23"/>
                  </a:cubicBezTo>
                  <a:cubicBezTo>
                    <a:pt x="301" y="23"/>
                    <a:pt x="254" y="14"/>
                    <a:pt x="254" y="14"/>
                  </a:cubicBezTo>
                  <a:cubicBezTo>
                    <a:pt x="234" y="22"/>
                    <a:pt x="234" y="22"/>
                    <a:pt x="234" y="22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71" y="4"/>
                    <a:pt x="156" y="7"/>
                  </a:cubicBezTo>
                  <a:cubicBezTo>
                    <a:pt x="141" y="10"/>
                    <a:pt x="120" y="11"/>
                    <a:pt x="115" y="11"/>
                  </a:cubicBezTo>
                  <a:cubicBezTo>
                    <a:pt x="110" y="11"/>
                    <a:pt x="91" y="8"/>
                    <a:pt x="91" y="8"/>
                  </a:cubicBezTo>
                  <a:cubicBezTo>
                    <a:pt x="91" y="8"/>
                    <a:pt x="81" y="0"/>
                    <a:pt x="75" y="0"/>
                  </a:cubicBezTo>
                  <a:cubicBezTo>
                    <a:pt x="69" y="0"/>
                    <a:pt x="49" y="18"/>
                    <a:pt x="49" y="18"/>
                  </a:cubicBezTo>
                  <a:cubicBezTo>
                    <a:pt x="49" y="18"/>
                    <a:pt x="4" y="25"/>
                    <a:pt x="2" y="38"/>
                  </a:cubicBezTo>
                  <a:cubicBezTo>
                    <a:pt x="0" y="51"/>
                    <a:pt x="21" y="67"/>
                    <a:pt x="21" y="67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4" y="94"/>
                    <a:pt x="15" y="101"/>
                  </a:cubicBezTo>
                  <a:cubicBezTo>
                    <a:pt x="20" y="95"/>
                    <a:pt x="27" y="88"/>
                    <a:pt x="36" y="88"/>
                  </a:cubicBezTo>
                  <a:cubicBezTo>
                    <a:pt x="50" y="88"/>
                    <a:pt x="55" y="89"/>
                    <a:pt x="50" y="94"/>
                  </a:cubicBezTo>
                  <a:cubicBezTo>
                    <a:pt x="45" y="99"/>
                    <a:pt x="38" y="103"/>
                    <a:pt x="44" y="103"/>
                  </a:cubicBezTo>
                  <a:cubicBezTo>
                    <a:pt x="50" y="103"/>
                    <a:pt x="54" y="99"/>
                    <a:pt x="61" y="99"/>
                  </a:cubicBezTo>
                  <a:cubicBezTo>
                    <a:pt x="68" y="99"/>
                    <a:pt x="70" y="108"/>
                    <a:pt x="78" y="104"/>
                  </a:cubicBezTo>
                  <a:cubicBezTo>
                    <a:pt x="86" y="100"/>
                    <a:pt x="76" y="96"/>
                    <a:pt x="85" y="96"/>
                  </a:cubicBezTo>
                  <a:cubicBezTo>
                    <a:pt x="94" y="96"/>
                    <a:pt x="110" y="93"/>
                    <a:pt x="114" y="95"/>
                  </a:cubicBezTo>
                  <a:cubicBezTo>
                    <a:pt x="118" y="97"/>
                    <a:pt x="115" y="108"/>
                    <a:pt x="115" y="108"/>
                  </a:cubicBezTo>
                  <a:cubicBezTo>
                    <a:pt x="115" y="108"/>
                    <a:pt x="129" y="109"/>
                    <a:pt x="128" y="117"/>
                  </a:cubicBezTo>
                  <a:cubicBezTo>
                    <a:pt x="127" y="125"/>
                    <a:pt x="95" y="140"/>
                    <a:pt x="94" y="144"/>
                  </a:cubicBezTo>
                  <a:cubicBezTo>
                    <a:pt x="93" y="148"/>
                    <a:pt x="102" y="153"/>
                    <a:pt x="102" y="153"/>
                  </a:cubicBezTo>
                  <a:cubicBezTo>
                    <a:pt x="102" y="153"/>
                    <a:pt x="97" y="178"/>
                    <a:pt x="96" y="181"/>
                  </a:cubicBezTo>
                  <a:cubicBezTo>
                    <a:pt x="95" y="184"/>
                    <a:pt x="90" y="188"/>
                    <a:pt x="90" y="188"/>
                  </a:cubicBezTo>
                  <a:cubicBezTo>
                    <a:pt x="90" y="188"/>
                    <a:pt x="94" y="202"/>
                    <a:pt x="94" y="205"/>
                  </a:cubicBezTo>
                  <a:cubicBezTo>
                    <a:pt x="94" y="208"/>
                    <a:pt x="86" y="215"/>
                    <a:pt x="82" y="216"/>
                  </a:cubicBezTo>
                  <a:cubicBezTo>
                    <a:pt x="78" y="217"/>
                    <a:pt x="61" y="217"/>
                    <a:pt x="61" y="217"/>
                  </a:cubicBezTo>
                  <a:cubicBezTo>
                    <a:pt x="77" y="231"/>
                    <a:pt x="77" y="231"/>
                    <a:pt x="77" y="231"/>
                  </a:cubicBezTo>
                  <a:cubicBezTo>
                    <a:pt x="77" y="240"/>
                    <a:pt x="77" y="240"/>
                    <a:pt x="77" y="240"/>
                  </a:cubicBezTo>
                  <a:cubicBezTo>
                    <a:pt x="77" y="240"/>
                    <a:pt x="90" y="242"/>
                    <a:pt x="88" y="250"/>
                  </a:cubicBezTo>
                  <a:cubicBezTo>
                    <a:pt x="86" y="258"/>
                    <a:pt x="62" y="272"/>
                    <a:pt x="66" y="276"/>
                  </a:cubicBezTo>
                  <a:cubicBezTo>
                    <a:pt x="70" y="280"/>
                    <a:pt x="75" y="294"/>
                    <a:pt x="75" y="294"/>
                  </a:cubicBezTo>
                  <a:cubicBezTo>
                    <a:pt x="75" y="294"/>
                    <a:pt x="88" y="295"/>
                    <a:pt x="84" y="301"/>
                  </a:cubicBezTo>
                  <a:cubicBezTo>
                    <a:pt x="80" y="307"/>
                    <a:pt x="70" y="308"/>
                    <a:pt x="70" y="308"/>
                  </a:cubicBezTo>
                  <a:cubicBezTo>
                    <a:pt x="70" y="308"/>
                    <a:pt x="62" y="318"/>
                    <a:pt x="60" y="325"/>
                  </a:cubicBezTo>
                  <a:cubicBezTo>
                    <a:pt x="58" y="332"/>
                    <a:pt x="59" y="340"/>
                    <a:pt x="59" y="340"/>
                  </a:cubicBezTo>
                  <a:cubicBezTo>
                    <a:pt x="61" y="351"/>
                    <a:pt x="61" y="351"/>
                    <a:pt x="61" y="351"/>
                  </a:cubicBezTo>
                  <a:cubicBezTo>
                    <a:pt x="62" y="351"/>
                    <a:pt x="62" y="351"/>
                    <a:pt x="62" y="351"/>
                  </a:cubicBezTo>
                  <a:cubicBezTo>
                    <a:pt x="81" y="350"/>
                    <a:pt x="81" y="350"/>
                    <a:pt x="81" y="350"/>
                  </a:cubicBezTo>
                  <a:cubicBezTo>
                    <a:pt x="97" y="365"/>
                    <a:pt x="97" y="365"/>
                    <a:pt x="97" y="365"/>
                  </a:cubicBezTo>
                  <a:cubicBezTo>
                    <a:pt x="109" y="365"/>
                    <a:pt x="109" y="365"/>
                    <a:pt x="109" y="365"/>
                  </a:cubicBezTo>
                  <a:cubicBezTo>
                    <a:pt x="103" y="382"/>
                    <a:pt x="103" y="382"/>
                    <a:pt x="103" y="382"/>
                  </a:cubicBezTo>
                  <a:cubicBezTo>
                    <a:pt x="110" y="383"/>
                    <a:pt x="110" y="383"/>
                    <a:pt x="110" y="383"/>
                  </a:cubicBezTo>
                  <a:cubicBezTo>
                    <a:pt x="110" y="383"/>
                    <a:pt x="110" y="403"/>
                    <a:pt x="117" y="406"/>
                  </a:cubicBezTo>
                  <a:cubicBezTo>
                    <a:pt x="124" y="409"/>
                    <a:pt x="136" y="413"/>
                    <a:pt x="136" y="413"/>
                  </a:cubicBezTo>
                  <a:cubicBezTo>
                    <a:pt x="136" y="413"/>
                    <a:pt x="153" y="401"/>
                    <a:pt x="156" y="395"/>
                  </a:cubicBezTo>
                  <a:cubicBezTo>
                    <a:pt x="159" y="389"/>
                    <a:pt x="177" y="389"/>
                    <a:pt x="177" y="389"/>
                  </a:cubicBezTo>
                  <a:cubicBezTo>
                    <a:pt x="196" y="377"/>
                    <a:pt x="196" y="377"/>
                    <a:pt x="196" y="377"/>
                  </a:cubicBezTo>
                  <a:cubicBezTo>
                    <a:pt x="196" y="377"/>
                    <a:pt x="229" y="379"/>
                    <a:pt x="235" y="377"/>
                  </a:cubicBezTo>
                  <a:cubicBezTo>
                    <a:pt x="241" y="375"/>
                    <a:pt x="251" y="371"/>
                    <a:pt x="251" y="371"/>
                  </a:cubicBezTo>
                  <a:cubicBezTo>
                    <a:pt x="251" y="371"/>
                    <a:pt x="259" y="379"/>
                    <a:pt x="265" y="378"/>
                  </a:cubicBezTo>
                  <a:cubicBezTo>
                    <a:pt x="271" y="377"/>
                    <a:pt x="287" y="370"/>
                    <a:pt x="287" y="370"/>
                  </a:cubicBezTo>
                  <a:cubicBezTo>
                    <a:pt x="287" y="370"/>
                    <a:pt x="286" y="382"/>
                    <a:pt x="297" y="374"/>
                  </a:cubicBezTo>
                  <a:cubicBezTo>
                    <a:pt x="308" y="366"/>
                    <a:pt x="310" y="347"/>
                    <a:pt x="310" y="347"/>
                  </a:cubicBezTo>
                  <a:cubicBezTo>
                    <a:pt x="331" y="329"/>
                    <a:pt x="331" y="329"/>
                    <a:pt x="331" y="329"/>
                  </a:cubicBezTo>
                  <a:cubicBezTo>
                    <a:pt x="354" y="328"/>
                    <a:pt x="354" y="328"/>
                    <a:pt x="354" y="328"/>
                  </a:cubicBezTo>
                  <a:cubicBezTo>
                    <a:pt x="356" y="315"/>
                    <a:pt x="356" y="315"/>
                    <a:pt x="356" y="315"/>
                  </a:cubicBezTo>
                  <a:cubicBezTo>
                    <a:pt x="356" y="315"/>
                    <a:pt x="367" y="286"/>
                    <a:pt x="370" y="284"/>
                  </a:cubicBezTo>
                  <a:cubicBezTo>
                    <a:pt x="373" y="282"/>
                    <a:pt x="400" y="279"/>
                    <a:pt x="401" y="270"/>
                  </a:cubicBezTo>
                  <a:cubicBezTo>
                    <a:pt x="402" y="261"/>
                    <a:pt x="379" y="249"/>
                    <a:pt x="379" y="249"/>
                  </a:cubicBezTo>
                  <a:cubicBezTo>
                    <a:pt x="379" y="249"/>
                    <a:pt x="377" y="226"/>
                    <a:pt x="385" y="215"/>
                  </a:cubicBezTo>
                  <a:cubicBezTo>
                    <a:pt x="393" y="204"/>
                    <a:pt x="404" y="191"/>
                    <a:pt x="404" y="191"/>
                  </a:cubicBezTo>
                  <a:cubicBezTo>
                    <a:pt x="404" y="191"/>
                    <a:pt x="421" y="173"/>
                    <a:pt x="424" y="172"/>
                  </a:cubicBezTo>
                  <a:cubicBezTo>
                    <a:pt x="427" y="171"/>
                    <a:pt x="439" y="163"/>
                    <a:pt x="436" y="161"/>
                  </a:cubicBezTo>
                  <a:cubicBezTo>
                    <a:pt x="433" y="159"/>
                    <a:pt x="428" y="151"/>
                    <a:pt x="438" y="146"/>
                  </a:cubicBezTo>
                  <a:cubicBezTo>
                    <a:pt x="448" y="141"/>
                    <a:pt x="472" y="136"/>
                    <a:pt x="485" y="131"/>
                  </a:cubicBezTo>
                  <a:cubicBezTo>
                    <a:pt x="498" y="126"/>
                    <a:pt x="514" y="113"/>
                    <a:pt x="514" y="113"/>
                  </a:cubicBezTo>
                  <a:cubicBezTo>
                    <a:pt x="514" y="113"/>
                    <a:pt x="534" y="104"/>
                    <a:pt x="535" y="101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24" name="Freeform 140"/>
            <p:cNvSpPr>
              <a:spLocks/>
            </p:cNvSpPr>
            <p:nvPr/>
          </p:nvSpPr>
          <p:spPr bwMode="auto">
            <a:xfrm>
              <a:off x="2527" y="1896"/>
              <a:ext cx="59" cy="105"/>
            </a:xfrm>
            <a:custGeom>
              <a:avLst/>
              <a:gdLst>
                <a:gd name="T0" fmla="*/ 0 w 155"/>
                <a:gd name="T1" fmla="*/ 0 h 277"/>
                <a:gd name="T2" fmla="*/ 0 w 155"/>
                <a:gd name="T3" fmla="*/ 0 h 277"/>
                <a:gd name="T4" fmla="*/ 0 w 155"/>
                <a:gd name="T5" fmla="*/ 0 h 277"/>
                <a:gd name="T6" fmla="*/ 0 w 155"/>
                <a:gd name="T7" fmla="*/ 0 h 277"/>
                <a:gd name="T8" fmla="*/ 0 w 155"/>
                <a:gd name="T9" fmla="*/ 0 h 277"/>
                <a:gd name="T10" fmla="*/ 0 w 155"/>
                <a:gd name="T11" fmla="*/ 0 h 277"/>
                <a:gd name="T12" fmla="*/ 0 w 155"/>
                <a:gd name="T13" fmla="*/ 0 h 277"/>
                <a:gd name="T14" fmla="*/ 0 w 155"/>
                <a:gd name="T15" fmla="*/ 0 h 277"/>
                <a:gd name="T16" fmla="*/ 0 w 155"/>
                <a:gd name="T17" fmla="*/ 0 h 277"/>
                <a:gd name="T18" fmla="*/ 0 w 155"/>
                <a:gd name="T19" fmla="*/ 0 h 277"/>
                <a:gd name="T20" fmla="*/ 0 w 155"/>
                <a:gd name="T21" fmla="*/ 0 h 277"/>
                <a:gd name="T22" fmla="*/ 0 w 155"/>
                <a:gd name="T23" fmla="*/ 0 h 277"/>
                <a:gd name="T24" fmla="*/ 0 w 155"/>
                <a:gd name="T25" fmla="*/ 0 h 277"/>
                <a:gd name="T26" fmla="*/ 0 w 155"/>
                <a:gd name="T27" fmla="*/ 0 h 277"/>
                <a:gd name="T28" fmla="*/ 0 w 155"/>
                <a:gd name="T29" fmla="*/ 0 h 277"/>
                <a:gd name="T30" fmla="*/ 0 w 155"/>
                <a:gd name="T31" fmla="*/ 0 h 277"/>
                <a:gd name="T32" fmla="*/ 0 w 155"/>
                <a:gd name="T33" fmla="*/ 0 h 277"/>
                <a:gd name="T34" fmla="*/ 0 w 155"/>
                <a:gd name="T35" fmla="*/ 0 h 277"/>
                <a:gd name="T36" fmla="*/ 0 w 155"/>
                <a:gd name="T37" fmla="*/ 0 h 277"/>
                <a:gd name="T38" fmla="*/ 0 w 155"/>
                <a:gd name="T39" fmla="*/ 0 h 277"/>
                <a:gd name="T40" fmla="*/ 0 w 155"/>
                <a:gd name="T41" fmla="*/ 0 h 277"/>
                <a:gd name="T42" fmla="*/ 0 w 155"/>
                <a:gd name="T43" fmla="*/ 0 h 277"/>
                <a:gd name="T44" fmla="*/ 0 w 155"/>
                <a:gd name="T45" fmla="*/ 0 h 277"/>
                <a:gd name="T46" fmla="*/ 0 w 155"/>
                <a:gd name="T47" fmla="*/ 0 h 277"/>
                <a:gd name="T48" fmla="*/ 0 w 155"/>
                <a:gd name="T49" fmla="*/ 0 h 277"/>
                <a:gd name="T50" fmla="*/ 0 w 155"/>
                <a:gd name="T51" fmla="*/ 0 h 277"/>
                <a:gd name="T52" fmla="*/ 0 w 155"/>
                <a:gd name="T53" fmla="*/ 0 h 277"/>
                <a:gd name="T54" fmla="*/ 0 w 155"/>
                <a:gd name="T55" fmla="*/ 0 h 277"/>
                <a:gd name="T56" fmla="*/ 0 w 155"/>
                <a:gd name="T57" fmla="*/ 0 h 277"/>
                <a:gd name="T58" fmla="*/ 0 w 155"/>
                <a:gd name="T59" fmla="*/ 0 h 277"/>
                <a:gd name="T60" fmla="*/ 0 w 155"/>
                <a:gd name="T61" fmla="*/ 0 h 277"/>
                <a:gd name="T62" fmla="*/ 0 w 155"/>
                <a:gd name="T63" fmla="*/ 0 h 277"/>
                <a:gd name="T64" fmla="*/ 0 w 155"/>
                <a:gd name="T65" fmla="*/ 0 h 277"/>
                <a:gd name="T66" fmla="*/ 0 w 155"/>
                <a:gd name="T67" fmla="*/ 0 h 277"/>
                <a:gd name="T68" fmla="*/ 0 w 155"/>
                <a:gd name="T69" fmla="*/ 0 h 277"/>
                <a:gd name="T70" fmla="*/ 0 w 155"/>
                <a:gd name="T71" fmla="*/ 0 h 277"/>
                <a:gd name="T72" fmla="*/ 0 w 155"/>
                <a:gd name="T73" fmla="*/ 0 h 27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5"/>
                <a:gd name="T112" fmla="*/ 0 h 277"/>
                <a:gd name="T113" fmla="*/ 155 w 155"/>
                <a:gd name="T114" fmla="*/ 277 h 27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5" h="277">
                  <a:moveTo>
                    <a:pt x="141" y="20"/>
                  </a:moveTo>
                  <a:cubicBezTo>
                    <a:pt x="141" y="20"/>
                    <a:pt x="144" y="9"/>
                    <a:pt x="140" y="7"/>
                  </a:cubicBezTo>
                  <a:cubicBezTo>
                    <a:pt x="136" y="5"/>
                    <a:pt x="120" y="8"/>
                    <a:pt x="111" y="8"/>
                  </a:cubicBezTo>
                  <a:cubicBezTo>
                    <a:pt x="102" y="8"/>
                    <a:pt x="112" y="12"/>
                    <a:pt x="104" y="16"/>
                  </a:cubicBezTo>
                  <a:cubicBezTo>
                    <a:pt x="96" y="20"/>
                    <a:pt x="94" y="11"/>
                    <a:pt x="87" y="11"/>
                  </a:cubicBezTo>
                  <a:cubicBezTo>
                    <a:pt x="80" y="11"/>
                    <a:pt x="76" y="15"/>
                    <a:pt x="70" y="15"/>
                  </a:cubicBezTo>
                  <a:cubicBezTo>
                    <a:pt x="64" y="15"/>
                    <a:pt x="71" y="11"/>
                    <a:pt x="76" y="6"/>
                  </a:cubicBezTo>
                  <a:cubicBezTo>
                    <a:pt x="81" y="1"/>
                    <a:pt x="76" y="0"/>
                    <a:pt x="62" y="0"/>
                  </a:cubicBezTo>
                  <a:cubicBezTo>
                    <a:pt x="53" y="0"/>
                    <a:pt x="46" y="7"/>
                    <a:pt x="41" y="13"/>
                  </a:cubicBezTo>
                  <a:cubicBezTo>
                    <a:pt x="44" y="23"/>
                    <a:pt x="47" y="40"/>
                    <a:pt x="46" y="53"/>
                  </a:cubicBezTo>
                  <a:cubicBezTo>
                    <a:pt x="45" y="74"/>
                    <a:pt x="23" y="114"/>
                    <a:pt x="23" y="114"/>
                  </a:cubicBezTo>
                  <a:cubicBezTo>
                    <a:pt x="9" y="146"/>
                    <a:pt x="9" y="146"/>
                    <a:pt x="9" y="146"/>
                  </a:cubicBezTo>
                  <a:cubicBezTo>
                    <a:pt x="9" y="146"/>
                    <a:pt x="0" y="173"/>
                    <a:pt x="6" y="180"/>
                  </a:cubicBezTo>
                  <a:cubicBezTo>
                    <a:pt x="12" y="187"/>
                    <a:pt x="23" y="191"/>
                    <a:pt x="23" y="191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14" y="270"/>
                    <a:pt x="20" y="271"/>
                  </a:cubicBezTo>
                  <a:cubicBezTo>
                    <a:pt x="26" y="272"/>
                    <a:pt x="52" y="268"/>
                    <a:pt x="52" y="268"/>
                  </a:cubicBezTo>
                  <a:cubicBezTo>
                    <a:pt x="52" y="268"/>
                    <a:pt x="56" y="277"/>
                    <a:pt x="62" y="276"/>
                  </a:cubicBezTo>
                  <a:cubicBezTo>
                    <a:pt x="67" y="275"/>
                    <a:pt x="84" y="265"/>
                    <a:pt x="87" y="263"/>
                  </a:cubicBezTo>
                  <a:cubicBezTo>
                    <a:pt x="85" y="252"/>
                    <a:pt x="85" y="252"/>
                    <a:pt x="85" y="252"/>
                  </a:cubicBezTo>
                  <a:cubicBezTo>
                    <a:pt x="85" y="252"/>
                    <a:pt x="84" y="244"/>
                    <a:pt x="86" y="237"/>
                  </a:cubicBezTo>
                  <a:cubicBezTo>
                    <a:pt x="88" y="230"/>
                    <a:pt x="96" y="220"/>
                    <a:pt x="96" y="220"/>
                  </a:cubicBezTo>
                  <a:cubicBezTo>
                    <a:pt x="96" y="220"/>
                    <a:pt x="106" y="219"/>
                    <a:pt x="110" y="213"/>
                  </a:cubicBezTo>
                  <a:cubicBezTo>
                    <a:pt x="114" y="207"/>
                    <a:pt x="101" y="206"/>
                    <a:pt x="101" y="206"/>
                  </a:cubicBezTo>
                  <a:cubicBezTo>
                    <a:pt x="101" y="206"/>
                    <a:pt x="96" y="192"/>
                    <a:pt x="92" y="188"/>
                  </a:cubicBezTo>
                  <a:cubicBezTo>
                    <a:pt x="88" y="184"/>
                    <a:pt x="112" y="170"/>
                    <a:pt x="114" y="162"/>
                  </a:cubicBezTo>
                  <a:cubicBezTo>
                    <a:pt x="116" y="154"/>
                    <a:pt x="103" y="152"/>
                    <a:pt x="103" y="15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87" y="129"/>
                    <a:pt x="87" y="129"/>
                    <a:pt x="87" y="129"/>
                  </a:cubicBezTo>
                  <a:cubicBezTo>
                    <a:pt x="87" y="129"/>
                    <a:pt x="104" y="129"/>
                    <a:pt x="108" y="128"/>
                  </a:cubicBezTo>
                  <a:cubicBezTo>
                    <a:pt x="112" y="127"/>
                    <a:pt x="120" y="120"/>
                    <a:pt x="120" y="117"/>
                  </a:cubicBezTo>
                  <a:cubicBezTo>
                    <a:pt x="120" y="114"/>
                    <a:pt x="116" y="100"/>
                    <a:pt x="116" y="100"/>
                  </a:cubicBezTo>
                  <a:cubicBezTo>
                    <a:pt x="116" y="100"/>
                    <a:pt x="121" y="96"/>
                    <a:pt x="122" y="93"/>
                  </a:cubicBezTo>
                  <a:cubicBezTo>
                    <a:pt x="123" y="90"/>
                    <a:pt x="128" y="65"/>
                    <a:pt x="128" y="65"/>
                  </a:cubicBezTo>
                  <a:cubicBezTo>
                    <a:pt x="128" y="65"/>
                    <a:pt x="119" y="60"/>
                    <a:pt x="120" y="56"/>
                  </a:cubicBezTo>
                  <a:cubicBezTo>
                    <a:pt x="121" y="52"/>
                    <a:pt x="153" y="37"/>
                    <a:pt x="154" y="29"/>
                  </a:cubicBezTo>
                  <a:cubicBezTo>
                    <a:pt x="155" y="21"/>
                    <a:pt x="141" y="20"/>
                    <a:pt x="141" y="20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25" name="Freeform 141"/>
            <p:cNvSpPr>
              <a:spLocks noEditPoints="1"/>
            </p:cNvSpPr>
            <p:nvPr/>
          </p:nvSpPr>
          <p:spPr bwMode="auto">
            <a:xfrm>
              <a:off x="1344" y="2645"/>
              <a:ext cx="705" cy="797"/>
            </a:xfrm>
            <a:custGeom>
              <a:avLst/>
              <a:gdLst>
                <a:gd name="T0" fmla="*/ 0 w 1858"/>
                <a:gd name="T1" fmla="*/ 0 h 2099"/>
                <a:gd name="T2" fmla="*/ 0 w 1858"/>
                <a:gd name="T3" fmla="*/ 0 h 2099"/>
                <a:gd name="T4" fmla="*/ 0 w 1858"/>
                <a:gd name="T5" fmla="*/ 0 h 2099"/>
                <a:gd name="T6" fmla="*/ 0 w 1858"/>
                <a:gd name="T7" fmla="*/ 0 h 2099"/>
                <a:gd name="T8" fmla="*/ 0 w 1858"/>
                <a:gd name="T9" fmla="*/ 0 h 2099"/>
                <a:gd name="T10" fmla="*/ 0 w 1858"/>
                <a:gd name="T11" fmla="*/ 0 h 2099"/>
                <a:gd name="T12" fmla="*/ 0 w 1858"/>
                <a:gd name="T13" fmla="*/ 0 h 2099"/>
                <a:gd name="T14" fmla="*/ 0 w 1858"/>
                <a:gd name="T15" fmla="*/ 0 h 2099"/>
                <a:gd name="T16" fmla="*/ 0 w 1858"/>
                <a:gd name="T17" fmla="*/ 0 h 2099"/>
                <a:gd name="T18" fmla="*/ 0 w 1858"/>
                <a:gd name="T19" fmla="*/ 0 h 2099"/>
                <a:gd name="T20" fmla="*/ 0 w 1858"/>
                <a:gd name="T21" fmla="*/ 0 h 2099"/>
                <a:gd name="T22" fmla="*/ 0 w 1858"/>
                <a:gd name="T23" fmla="*/ 0 h 2099"/>
                <a:gd name="T24" fmla="*/ 0 w 1858"/>
                <a:gd name="T25" fmla="*/ 0 h 2099"/>
                <a:gd name="T26" fmla="*/ 0 w 1858"/>
                <a:gd name="T27" fmla="*/ 0 h 2099"/>
                <a:gd name="T28" fmla="*/ 0 w 1858"/>
                <a:gd name="T29" fmla="*/ 0 h 2099"/>
                <a:gd name="T30" fmla="*/ 0 w 1858"/>
                <a:gd name="T31" fmla="*/ 0 h 2099"/>
                <a:gd name="T32" fmla="*/ 0 w 1858"/>
                <a:gd name="T33" fmla="*/ 0 h 2099"/>
                <a:gd name="T34" fmla="*/ 0 w 1858"/>
                <a:gd name="T35" fmla="*/ 0 h 2099"/>
                <a:gd name="T36" fmla="*/ 0 w 1858"/>
                <a:gd name="T37" fmla="*/ 0 h 2099"/>
                <a:gd name="T38" fmla="*/ 0 w 1858"/>
                <a:gd name="T39" fmla="*/ 0 h 2099"/>
                <a:gd name="T40" fmla="*/ 0 w 1858"/>
                <a:gd name="T41" fmla="*/ 0 h 2099"/>
                <a:gd name="T42" fmla="*/ 0 w 1858"/>
                <a:gd name="T43" fmla="*/ 0 h 2099"/>
                <a:gd name="T44" fmla="*/ 0 w 1858"/>
                <a:gd name="T45" fmla="*/ 0 h 2099"/>
                <a:gd name="T46" fmla="*/ 0 w 1858"/>
                <a:gd name="T47" fmla="*/ 0 h 2099"/>
                <a:gd name="T48" fmla="*/ 0 w 1858"/>
                <a:gd name="T49" fmla="*/ 0 h 2099"/>
                <a:gd name="T50" fmla="*/ 0 w 1858"/>
                <a:gd name="T51" fmla="*/ 0 h 2099"/>
                <a:gd name="T52" fmla="*/ 0 w 1858"/>
                <a:gd name="T53" fmla="*/ 0 h 2099"/>
                <a:gd name="T54" fmla="*/ 0 w 1858"/>
                <a:gd name="T55" fmla="*/ 0 h 2099"/>
                <a:gd name="T56" fmla="*/ 0 w 1858"/>
                <a:gd name="T57" fmla="*/ 0 h 2099"/>
                <a:gd name="T58" fmla="*/ 0 w 1858"/>
                <a:gd name="T59" fmla="*/ 0 h 2099"/>
                <a:gd name="T60" fmla="*/ 0 w 1858"/>
                <a:gd name="T61" fmla="*/ 0 h 2099"/>
                <a:gd name="T62" fmla="*/ 0 w 1858"/>
                <a:gd name="T63" fmla="*/ 0 h 2099"/>
                <a:gd name="T64" fmla="*/ 0 w 1858"/>
                <a:gd name="T65" fmla="*/ 0 h 2099"/>
                <a:gd name="T66" fmla="*/ 0 w 1858"/>
                <a:gd name="T67" fmla="*/ 0 h 2099"/>
                <a:gd name="T68" fmla="*/ 0 w 1858"/>
                <a:gd name="T69" fmla="*/ 0 h 2099"/>
                <a:gd name="T70" fmla="*/ 0 w 1858"/>
                <a:gd name="T71" fmla="*/ 0 h 2099"/>
                <a:gd name="T72" fmla="*/ 0 w 1858"/>
                <a:gd name="T73" fmla="*/ 0 h 2099"/>
                <a:gd name="T74" fmla="*/ 0 w 1858"/>
                <a:gd name="T75" fmla="*/ 0 h 2099"/>
                <a:gd name="T76" fmla="*/ 0 w 1858"/>
                <a:gd name="T77" fmla="*/ 0 h 2099"/>
                <a:gd name="T78" fmla="*/ 0 w 1858"/>
                <a:gd name="T79" fmla="*/ 0 h 2099"/>
                <a:gd name="T80" fmla="*/ 0 w 1858"/>
                <a:gd name="T81" fmla="*/ 0 h 2099"/>
                <a:gd name="T82" fmla="*/ 0 w 1858"/>
                <a:gd name="T83" fmla="*/ 0 h 2099"/>
                <a:gd name="T84" fmla="*/ 0 w 1858"/>
                <a:gd name="T85" fmla="*/ 0 h 2099"/>
                <a:gd name="T86" fmla="*/ 0 w 1858"/>
                <a:gd name="T87" fmla="*/ 0 h 2099"/>
                <a:gd name="T88" fmla="*/ 0 w 1858"/>
                <a:gd name="T89" fmla="*/ 0 h 2099"/>
                <a:gd name="T90" fmla="*/ 0 w 1858"/>
                <a:gd name="T91" fmla="*/ 0 h 2099"/>
                <a:gd name="T92" fmla="*/ 0 w 1858"/>
                <a:gd name="T93" fmla="*/ 0 h 2099"/>
                <a:gd name="T94" fmla="*/ 0 w 1858"/>
                <a:gd name="T95" fmla="*/ 0 h 2099"/>
                <a:gd name="T96" fmla="*/ 0 w 1858"/>
                <a:gd name="T97" fmla="*/ 0 h 2099"/>
                <a:gd name="T98" fmla="*/ 0 w 1858"/>
                <a:gd name="T99" fmla="*/ 0 h 2099"/>
                <a:gd name="T100" fmla="*/ 0 w 1858"/>
                <a:gd name="T101" fmla="*/ 0 h 2099"/>
                <a:gd name="T102" fmla="*/ 0 w 1858"/>
                <a:gd name="T103" fmla="*/ 0 h 2099"/>
                <a:gd name="T104" fmla="*/ 0 w 1858"/>
                <a:gd name="T105" fmla="*/ 0 h 2099"/>
                <a:gd name="T106" fmla="*/ 0 w 1858"/>
                <a:gd name="T107" fmla="*/ 0 h 2099"/>
                <a:gd name="T108" fmla="*/ 0 w 1858"/>
                <a:gd name="T109" fmla="*/ 0 h 2099"/>
                <a:gd name="T110" fmla="*/ 0 w 1858"/>
                <a:gd name="T111" fmla="*/ 0 h 2099"/>
                <a:gd name="T112" fmla="*/ 0 w 1858"/>
                <a:gd name="T113" fmla="*/ 0 h 2099"/>
                <a:gd name="T114" fmla="*/ 0 w 1858"/>
                <a:gd name="T115" fmla="*/ 0 h 209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58"/>
                <a:gd name="T175" fmla="*/ 0 h 2099"/>
                <a:gd name="T176" fmla="*/ 1858 w 1858"/>
                <a:gd name="T177" fmla="*/ 2099 h 209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58" h="2099">
                  <a:moveTo>
                    <a:pt x="1146" y="299"/>
                  </a:moveTo>
                  <a:cubicBezTo>
                    <a:pt x="1140" y="298"/>
                    <a:pt x="1112" y="291"/>
                    <a:pt x="1102" y="293"/>
                  </a:cubicBezTo>
                  <a:cubicBezTo>
                    <a:pt x="1092" y="295"/>
                    <a:pt x="1103" y="318"/>
                    <a:pt x="1103" y="318"/>
                  </a:cubicBezTo>
                  <a:cubicBezTo>
                    <a:pt x="1092" y="320"/>
                    <a:pt x="1092" y="320"/>
                    <a:pt x="1092" y="320"/>
                  </a:cubicBezTo>
                  <a:cubicBezTo>
                    <a:pt x="1092" y="336"/>
                    <a:pt x="1092" y="336"/>
                    <a:pt x="1092" y="336"/>
                  </a:cubicBezTo>
                  <a:cubicBezTo>
                    <a:pt x="1106" y="342"/>
                    <a:pt x="1106" y="342"/>
                    <a:pt x="1106" y="342"/>
                  </a:cubicBezTo>
                  <a:cubicBezTo>
                    <a:pt x="1096" y="350"/>
                    <a:pt x="1096" y="350"/>
                    <a:pt x="1096" y="350"/>
                  </a:cubicBezTo>
                  <a:cubicBezTo>
                    <a:pt x="1096" y="350"/>
                    <a:pt x="1099" y="366"/>
                    <a:pt x="1105" y="376"/>
                  </a:cubicBezTo>
                  <a:cubicBezTo>
                    <a:pt x="1112" y="386"/>
                    <a:pt x="1132" y="380"/>
                    <a:pt x="1139" y="380"/>
                  </a:cubicBezTo>
                  <a:cubicBezTo>
                    <a:pt x="1145" y="380"/>
                    <a:pt x="1144" y="372"/>
                    <a:pt x="1144" y="372"/>
                  </a:cubicBezTo>
                  <a:cubicBezTo>
                    <a:pt x="1144" y="372"/>
                    <a:pt x="1157" y="368"/>
                    <a:pt x="1168" y="368"/>
                  </a:cubicBezTo>
                  <a:cubicBezTo>
                    <a:pt x="1179" y="368"/>
                    <a:pt x="1186" y="355"/>
                    <a:pt x="1186" y="355"/>
                  </a:cubicBezTo>
                  <a:cubicBezTo>
                    <a:pt x="1195" y="326"/>
                    <a:pt x="1195" y="326"/>
                    <a:pt x="1195" y="326"/>
                  </a:cubicBezTo>
                  <a:cubicBezTo>
                    <a:pt x="1195" y="326"/>
                    <a:pt x="1202" y="312"/>
                    <a:pt x="1201" y="299"/>
                  </a:cubicBezTo>
                  <a:cubicBezTo>
                    <a:pt x="1200" y="286"/>
                    <a:pt x="1180" y="291"/>
                    <a:pt x="1169" y="291"/>
                  </a:cubicBezTo>
                  <a:cubicBezTo>
                    <a:pt x="1169" y="291"/>
                    <a:pt x="1153" y="300"/>
                    <a:pt x="1146" y="299"/>
                  </a:cubicBezTo>
                  <a:close/>
                  <a:moveTo>
                    <a:pt x="1144" y="291"/>
                  </a:moveTo>
                  <a:cubicBezTo>
                    <a:pt x="1159" y="286"/>
                    <a:pt x="1159" y="286"/>
                    <a:pt x="1159" y="286"/>
                  </a:cubicBezTo>
                  <a:cubicBezTo>
                    <a:pt x="1147" y="275"/>
                    <a:pt x="1147" y="275"/>
                    <a:pt x="1147" y="275"/>
                  </a:cubicBezTo>
                  <a:cubicBezTo>
                    <a:pt x="1132" y="292"/>
                    <a:pt x="1132" y="292"/>
                    <a:pt x="1132" y="292"/>
                  </a:cubicBezTo>
                  <a:lnTo>
                    <a:pt x="1144" y="291"/>
                  </a:lnTo>
                  <a:close/>
                  <a:moveTo>
                    <a:pt x="1124" y="270"/>
                  </a:moveTo>
                  <a:cubicBezTo>
                    <a:pt x="1110" y="271"/>
                    <a:pt x="1110" y="271"/>
                    <a:pt x="1110" y="271"/>
                  </a:cubicBezTo>
                  <a:cubicBezTo>
                    <a:pt x="1109" y="282"/>
                    <a:pt x="1109" y="282"/>
                    <a:pt x="1109" y="282"/>
                  </a:cubicBezTo>
                  <a:cubicBezTo>
                    <a:pt x="1131" y="283"/>
                    <a:pt x="1131" y="283"/>
                    <a:pt x="1131" y="283"/>
                  </a:cubicBezTo>
                  <a:cubicBezTo>
                    <a:pt x="1143" y="266"/>
                    <a:pt x="1143" y="266"/>
                    <a:pt x="1143" y="266"/>
                  </a:cubicBezTo>
                  <a:cubicBezTo>
                    <a:pt x="1134" y="255"/>
                    <a:pt x="1134" y="255"/>
                    <a:pt x="1134" y="255"/>
                  </a:cubicBezTo>
                  <a:lnTo>
                    <a:pt x="1124" y="270"/>
                  </a:lnTo>
                  <a:close/>
                  <a:moveTo>
                    <a:pt x="1050" y="326"/>
                  </a:moveTo>
                  <a:cubicBezTo>
                    <a:pt x="1047" y="340"/>
                    <a:pt x="1047" y="340"/>
                    <a:pt x="1047" y="340"/>
                  </a:cubicBezTo>
                  <a:cubicBezTo>
                    <a:pt x="1037" y="363"/>
                    <a:pt x="1037" y="363"/>
                    <a:pt x="1037" y="363"/>
                  </a:cubicBezTo>
                  <a:cubicBezTo>
                    <a:pt x="1057" y="351"/>
                    <a:pt x="1057" y="351"/>
                    <a:pt x="1057" y="351"/>
                  </a:cubicBezTo>
                  <a:cubicBezTo>
                    <a:pt x="1057" y="351"/>
                    <a:pt x="1079" y="321"/>
                    <a:pt x="1071" y="316"/>
                  </a:cubicBezTo>
                  <a:cubicBezTo>
                    <a:pt x="1062" y="310"/>
                    <a:pt x="1050" y="326"/>
                    <a:pt x="1050" y="326"/>
                  </a:cubicBezTo>
                  <a:close/>
                  <a:moveTo>
                    <a:pt x="1087" y="283"/>
                  </a:moveTo>
                  <a:cubicBezTo>
                    <a:pt x="1074" y="299"/>
                    <a:pt x="1074" y="299"/>
                    <a:pt x="1074" y="299"/>
                  </a:cubicBezTo>
                  <a:cubicBezTo>
                    <a:pt x="1085" y="304"/>
                    <a:pt x="1085" y="304"/>
                    <a:pt x="1085" y="304"/>
                  </a:cubicBezTo>
                  <a:cubicBezTo>
                    <a:pt x="1096" y="287"/>
                    <a:pt x="1096" y="287"/>
                    <a:pt x="1096" y="287"/>
                  </a:cubicBezTo>
                  <a:lnTo>
                    <a:pt x="1087" y="283"/>
                  </a:lnTo>
                  <a:close/>
                  <a:moveTo>
                    <a:pt x="1855" y="667"/>
                  </a:moveTo>
                  <a:cubicBezTo>
                    <a:pt x="1855" y="650"/>
                    <a:pt x="1839" y="626"/>
                    <a:pt x="1838" y="615"/>
                  </a:cubicBezTo>
                  <a:cubicBezTo>
                    <a:pt x="1837" y="604"/>
                    <a:pt x="1837" y="592"/>
                    <a:pt x="1837" y="583"/>
                  </a:cubicBezTo>
                  <a:cubicBezTo>
                    <a:pt x="1837" y="574"/>
                    <a:pt x="1819" y="558"/>
                    <a:pt x="1819" y="558"/>
                  </a:cubicBezTo>
                  <a:cubicBezTo>
                    <a:pt x="1798" y="554"/>
                    <a:pt x="1798" y="554"/>
                    <a:pt x="1798" y="554"/>
                  </a:cubicBezTo>
                  <a:cubicBezTo>
                    <a:pt x="1764" y="559"/>
                    <a:pt x="1764" y="559"/>
                    <a:pt x="1764" y="559"/>
                  </a:cubicBezTo>
                  <a:cubicBezTo>
                    <a:pt x="1753" y="549"/>
                    <a:pt x="1753" y="549"/>
                    <a:pt x="1753" y="549"/>
                  </a:cubicBezTo>
                  <a:cubicBezTo>
                    <a:pt x="1740" y="548"/>
                    <a:pt x="1740" y="548"/>
                    <a:pt x="1740" y="548"/>
                  </a:cubicBezTo>
                  <a:cubicBezTo>
                    <a:pt x="1728" y="533"/>
                    <a:pt x="1728" y="533"/>
                    <a:pt x="1728" y="533"/>
                  </a:cubicBezTo>
                  <a:cubicBezTo>
                    <a:pt x="1713" y="532"/>
                    <a:pt x="1713" y="532"/>
                    <a:pt x="1713" y="532"/>
                  </a:cubicBezTo>
                  <a:cubicBezTo>
                    <a:pt x="1713" y="532"/>
                    <a:pt x="1695" y="512"/>
                    <a:pt x="1678" y="491"/>
                  </a:cubicBezTo>
                  <a:cubicBezTo>
                    <a:pt x="1661" y="470"/>
                    <a:pt x="1612" y="439"/>
                    <a:pt x="1596" y="438"/>
                  </a:cubicBezTo>
                  <a:cubicBezTo>
                    <a:pt x="1580" y="437"/>
                    <a:pt x="1547" y="439"/>
                    <a:pt x="1547" y="439"/>
                  </a:cubicBezTo>
                  <a:cubicBezTo>
                    <a:pt x="1547" y="449"/>
                    <a:pt x="1547" y="449"/>
                    <a:pt x="1547" y="449"/>
                  </a:cubicBezTo>
                  <a:cubicBezTo>
                    <a:pt x="1547" y="449"/>
                    <a:pt x="1532" y="439"/>
                    <a:pt x="1525" y="436"/>
                  </a:cubicBezTo>
                  <a:cubicBezTo>
                    <a:pt x="1518" y="433"/>
                    <a:pt x="1492" y="432"/>
                    <a:pt x="1492" y="432"/>
                  </a:cubicBezTo>
                  <a:cubicBezTo>
                    <a:pt x="1492" y="432"/>
                    <a:pt x="1464" y="415"/>
                    <a:pt x="1445" y="412"/>
                  </a:cubicBezTo>
                  <a:cubicBezTo>
                    <a:pt x="1426" y="409"/>
                    <a:pt x="1406" y="442"/>
                    <a:pt x="1406" y="442"/>
                  </a:cubicBezTo>
                  <a:cubicBezTo>
                    <a:pt x="1395" y="429"/>
                    <a:pt x="1395" y="429"/>
                    <a:pt x="1395" y="429"/>
                  </a:cubicBezTo>
                  <a:cubicBezTo>
                    <a:pt x="1395" y="451"/>
                    <a:pt x="1395" y="451"/>
                    <a:pt x="1395" y="451"/>
                  </a:cubicBezTo>
                  <a:cubicBezTo>
                    <a:pt x="1375" y="466"/>
                    <a:pt x="1375" y="466"/>
                    <a:pt x="1375" y="466"/>
                  </a:cubicBezTo>
                  <a:cubicBezTo>
                    <a:pt x="1386" y="422"/>
                    <a:pt x="1386" y="422"/>
                    <a:pt x="1386" y="422"/>
                  </a:cubicBezTo>
                  <a:cubicBezTo>
                    <a:pt x="1386" y="422"/>
                    <a:pt x="1404" y="412"/>
                    <a:pt x="1397" y="402"/>
                  </a:cubicBezTo>
                  <a:cubicBezTo>
                    <a:pt x="1390" y="392"/>
                    <a:pt x="1377" y="411"/>
                    <a:pt x="1377" y="411"/>
                  </a:cubicBezTo>
                  <a:cubicBezTo>
                    <a:pt x="1386" y="389"/>
                    <a:pt x="1386" y="389"/>
                    <a:pt x="1386" y="389"/>
                  </a:cubicBezTo>
                  <a:cubicBezTo>
                    <a:pt x="1386" y="389"/>
                    <a:pt x="1377" y="388"/>
                    <a:pt x="1378" y="381"/>
                  </a:cubicBezTo>
                  <a:cubicBezTo>
                    <a:pt x="1379" y="374"/>
                    <a:pt x="1358" y="365"/>
                    <a:pt x="1358" y="365"/>
                  </a:cubicBezTo>
                  <a:cubicBezTo>
                    <a:pt x="1350" y="377"/>
                    <a:pt x="1350" y="377"/>
                    <a:pt x="1350" y="377"/>
                  </a:cubicBezTo>
                  <a:cubicBezTo>
                    <a:pt x="1350" y="377"/>
                    <a:pt x="1337" y="360"/>
                    <a:pt x="1327" y="350"/>
                  </a:cubicBezTo>
                  <a:cubicBezTo>
                    <a:pt x="1317" y="340"/>
                    <a:pt x="1290" y="342"/>
                    <a:pt x="1286" y="338"/>
                  </a:cubicBezTo>
                  <a:cubicBezTo>
                    <a:pt x="1282" y="334"/>
                    <a:pt x="1258" y="316"/>
                    <a:pt x="1258" y="316"/>
                  </a:cubicBezTo>
                  <a:cubicBezTo>
                    <a:pt x="1252" y="324"/>
                    <a:pt x="1252" y="324"/>
                    <a:pt x="1252" y="324"/>
                  </a:cubicBezTo>
                  <a:cubicBezTo>
                    <a:pt x="1252" y="324"/>
                    <a:pt x="1231" y="323"/>
                    <a:pt x="1221" y="322"/>
                  </a:cubicBezTo>
                  <a:cubicBezTo>
                    <a:pt x="1211" y="321"/>
                    <a:pt x="1203" y="356"/>
                    <a:pt x="1203" y="356"/>
                  </a:cubicBezTo>
                  <a:cubicBezTo>
                    <a:pt x="1210" y="368"/>
                    <a:pt x="1210" y="368"/>
                    <a:pt x="1210" y="368"/>
                  </a:cubicBezTo>
                  <a:cubicBezTo>
                    <a:pt x="1210" y="368"/>
                    <a:pt x="1196" y="369"/>
                    <a:pt x="1188" y="369"/>
                  </a:cubicBezTo>
                  <a:cubicBezTo>
                    <a:pt x="1180" y="369"/>
                    <a:pt x="1168" y="391"/>
                    <a:pt x="1168" y="391"/>
                  </a:cubicBezTo>
                  <a:cubicBezTo>
                    <a:pt x="1168" y="391"/>
                    <a:pt x="1161" y="424"/>
                    <a:pt x="1154" y="423"/>
                  </a:cubicBezTo>
                  <a:cubicBezTo>
                    <a:pt x="1147" y="422"/>
                    <a:pt x="1163" y="397"/>
                    <a:pt x="1160" y="386"/>
                  </a:cubicBezTo>
                  <a:cubicBezTo>
                    <a:pt x="1157" y="375"/>
                    <a:pt x="1137" y="396"/>
                    <a:pt x="1137" y="396"/>
                  </a:cubicBezTo>
                  <a:cubicBezTo>
                    <a:pt x="1130" y="390"/>
                    <a:pt x="1130" y="390"/>
                    <a:pt x="1130" y="390"/>
                  </a:cubicBezTo>
                  <a:cubicBezTo>
                    <a:pt x="1130" y="390"/>
                    <a:pt x="1109" y="395"/>
                    <a:pt x="1098" y="388"/>
                  </a:cubicBezTo>
                  <a:cubicBezTo>
                    <a:pt x="1087" y="381"/>
                    <a:pt x="1089" y="371"/>
                    <a:pt x="1089" y="358"/>
                  </a:cubicBezTo>
                  <a:cubicBezTo>
                    <a:pt x="1089" y="345"/>
                    <a:pt x="1084" y="337"/>
                    <a:pt x="1084" y="337"/>
                  </a:cubicBezTo>
                  <a:cubicBezTo>
                    <a:pt x="1077" y="330"/>
                    <a:pt x="1062" y="356"/>
                    <a:pt x="1062" y="356"/>
                  </a:cubicBezTo>
                  <a:cubicBezTo>
                    <a:pt x="1062" y="356"/>
                    <a:pt x="1041" y="371"/>
                    <a:pt x="1029" y="373"/>
                  </a:cubicBezTo>
                  <a:cubicBezTo>
                    <a:pt x="1017" y="375"/>
                    <a:pt x="1003" y="368"/>
                    <a:pt x="1003" y="368"/>
                  </a:cubicBezTo>
                  <a:cubicBezTo>
                    <a:pt x="1029" y="360"/>
                    <a:pt x="1029" y="360"/>
                    <a:pt x="1029" y="360"/>
                  </a:cubicBezTo>
                  <a:cubicBezTo>
                    <a:pt x="1029" y="360"/>
                    <a:pt x="1039" y="348"/>
                    <a:pt x="1042" y="343"/>
                  </a:cubicBezTo>
                  <a:cubicBezTo>
                    <a:pt x="1045" y="338"/>
                    <a:pt x="1044" y="326"/>
                    <a:pt x="1044" y="326"/>
                  </a:cubicBezTo>
                  <a:cubicBezTo>
                    <a:pt x="1044" y="326"/>
                    <a:pt x="1053" y="320"/>
                    <a:pt x="1057" y="308"/>
                  </a:cubicBezTo>
                  <a:cubicBezTo>
                    <a:pt x="1061" y="296"/>
                    <a:pt x="1085" y="277"/>
                    <a:pt x="1095" y="270"/>
                  </a:cubicBezTo>
                  <a:cubicBezTo>
                    <a:pt x="1105" y="263"/>
                    <a:pt x="1107" y="254"/>
                    <a:pt x="1111" y="245"/>
                  </a:cubicBezTo>
                  <a:cubicBezTo>
                    <a:pt x="1115" y="236"/>
                    <a:pt x="1136" y="223"/>
                    <a:pt x="1136" y="223"/>
                  </a:cubicBezTo>
                  <a:cubicBezTo>
                    <a:pt x="1123" y="221"/>
                    <a:pt x="1123" y="221"/>
                    <a:pt x="1123" y="221"/>
                  </a:cubicBezTo>
                  <a:cubicBezTo>
                    <a:pt x="1123" y="221"/>
                    <a:pt x="1135" y="215"/>
                    <a:pt x="1135" y="199"/>
                  </a:cubicBezTo>
                  <a:cubicBezTo>
                    <a:pt x="1135" y="183"/>
                    <a:pt x="1108" y="192"/>
                    <a:pt x="1098" y="181"/>
                  </a:cubicBezTo>
                  <a:cubicBezTo>
                    <a:pt x="1088" y="170"/>
                    <a:pt x="1088" y="147"/>
                    <a:pt x="1084" y="110"/>
                  </a:cubicBezTo>
                  <a:cubicBezTo>
                    <a:pt x="1080" y="73"/>
                    <a:pt x="1072" y="55"/>
                    <a:pt x="1063" y="52"/>
                  </a:cubicBezTo>
                  <a:cubicBezTo>
                    <a:pt x="1054" y="49"/>
                    <a:pt x="1060" y="68"/>
                    <a:pt x="1060" y="72"/>
                  </a:cubicBezTo>
                  <a:cubicBezTo>
                    <a:pt x="1060" y="76"/>
                    <a:pt x="1050" y="71"/>
                    <a:pt x="1048" y="66"/>
                  </a:cubicBezTo>
                  <a:cubicBezTo>
                    <a:pt x="1048" y="66"/>
                    <a:pt x="1043" y="83"/>
                    <a:pt x="1036" y="89"/>
                  </a:cubicBezTo>
                  <a:cubicBezTo>
                    <a:pt x="1029" y="95"/>
                    <a:pt x="1020" y="110"/>
                    <a:pt x="1017" y="120"/>
                  </a:cubicBezTo>
                  <a:cubicBezTo>
                    <a:pt x="1014" y="130"/>
                    <a:pt x="1013" y="149"/>
                    <a:pt x="996" y="163"/>
                  </a:cubicBezTo>
                  <a:cubicBezTo>
                    <a:pt x="996" y="163"/>
                    <a:pt x="981" y="169"/>
                    <a:pt x="975" y="169"/>
                  </a:cubicBezTo>
                  <a:cubicBezTo>
                    <a:pt x="975" y="168"/>
                    <a:pt x="971" y="160"/>
                    <a:pt x="971" y="160"/>
                  </a:cubicBezTo>
                  <a:cubicBezTo>
                    <a:pt x="967" y="165"/>
                    <a:pt x="967" y="165"/>
                    <a:pt x="967" y="165"/>
                  </a:cubicBezTo>
                  <a:cubicBezTo>
                    <a:pt x="957" y="163"/>
                    <a:pt x="957" y="163"/>
                    <a:pt x="957" y="163"/>
                  </a:cubicBezTo>
                  <a:cubicBezTo>
                    <a:pt x="957" y="163"/>
                    <a:pt x="953" y="155"/>
                    <a:pt x="947" y="161"/>
                  </a:cubicBezTo>
                  <a:cubicBezTo>
                    <a:pt x="941" y="167"/>
                    <a:pt x="943" y="173"/>
                    <a:pt x="929" y="172"/>
                  </a:cubicBezTo>
                  <a:cubicBezTo>
                    <a:pt x="915" y="171"/>
                    <a:pt x="913" y="161"/>
                    <a:pt x="913" y="161"/>
                  </a:cubicBezTo>
                  <a:cubicBezTo>
                    <a:pt x="900" y="155"/>
                    <a:pt x="900" y="155"/>
                    <a:pt x="900" y="155"/>
                  </a:cubicBezTo>
                  <a:cubicBezTo>
                    <a:pt x="900" y="155"/>
                    <a:pt x="896" y="144"/>
                    <a:pt x="888" y="145"/>
                  </a:cubicBezTo>
                  <a:cubicBezTo>
                    <a:pt x="880" y="146"/>
                    <a:pt x="871" y="157"/>
                    <a:pt x="871" y="157"/>
                  </a:cubicBezTo>
                  <a:cubicBezTo>
                    <a:pt x="853" y="157"/>
                    <a:pt x="853" y="157"/>
                    <a:pt x="853" y="157"/>
                  </a:cubicBezTo>
                  <a:cubicBezTo>
                    <a:pt x="853" y="157"/>
                    <a:pt x="854" y="148"/>
                    <a:pt x="848" y="149"/>
                  </a:cubicBezTo>
                  <a:cubicBezTo>
                    <a:pt x="842" y="150"/>
                    <a:pt x="838" y="160"/>
                    <a:pt x="841" y="166"/>
                  </a:cubicBezTo>
                  <a:cubicBezTo>
                    <a:pt x="844" y="172"/>
                    <a:pt x="858" y="182"/>
                    <a:pt x="849" y="186"/>
                  </a:cubicBezTo>
                  <a:cubicBezTo>
                    <a:pt x="840" y="190"/>
                    <a:pt x="811" y="174"/>
                    <a:pt x="811" y="174"/>
                  </a:cubicBezTo>
                  <a:cubicBezTo>
                    <a:pt x="811" y="174"/>
                    <a:pt x="815" y="181"/>
                    <a:pt x="807" y="183"/>
                  </a:cubicBezTo>
                  <a:cubicBezTo>
                    <a:pt x="799" y="185"/>
                    <a:pt x="797" y="174"/>
                    <a:pt x="787" y="175"/>
                  </a:cubicBezTo>
                  <a:cubicBezTo>
                    <a:pt x="777" y="176"/>
                    <a:pt x="773" y="192"/>
                    <a:pt x="773" y="192"/>
                  </a:cubicBezTo>
                  <a:cubicBezTo>
                    <a:pt x="752" y="193"/>
                    <a:pt x="752" y="193"/>
                    <a:pt x="752" y="193"/>
                  </a:cubicBezTo>
                  <a:cubicBezTo>
                    <a:pt x="751" y="201"/>
                    <a:pt x="751" y="201"/>
                    <a:pt x="751" y="201"/>
                  </a:cubicBezTo>
                  <a:cubicBezTo>
                    <a:pt x="751" y="201"/>
                    <a:pt x="739" y="198"/>
                    <a:pt x="733" y="202"/>
                  </a:cubicBezTo>
                  <a:cubicBezTo>
                    <a:pt x="727" y="206"/>
                    <a:pt x="732" y="219"/>
                    <a:pt x="722" y="220"/>
                  </a:cubicBezTo>
                  <a:cubicBezTo>
                    <a:pt x="712" y="221"/>
                    <a:pt x="702" y="221"/>
                    <a:pt x="702" y="221"/>
                  </a:cubicBezTo>
                  <a:cubicBezTo>
                    <a:pt x="698" y="210"/>
                    <a:pt x="698" y="210"/>
                    <a:pt x="698" y="210"/>
                  </a:cubicBezTo>
                  <a:cubicBezTo>
                    <a:pt x="689" y="210"/>
                    <a:pt x="689" y="210"/>
                    <a:pt x="689" y="210"/>
                  </a:cubicBezTo>
                  <a:cubicBezTo>
                    <a:pt x="668" y="186"/>
                    <a:pt x="668" y="186"/>
                    <a:pt x="668" y="186"/>
                  </a:cubicBezTo>
                  <a:cubicBezTo>
                    <a:pt x="668" y="186"/>
                    <a:pt x="668" y="174"/>
                    <a:pt x="668" y="166"/>
                  </a:cubicBezTo>
                  <a:cubicBezTo>
                    <a:pt x="668" y="158"/>
                    <a:pt x="651" y="155"/>
                    <a:pt x="651" y="145"/>
                  </a:cubicBezTo>
                  <a:cubicBezTo>
                    <a:pt x="651" y="135"/>
                    <a:pt x="659" y="119"/>
                    <a:pt x="659" y="119"/>
                  </a:cubicBezTo>
                  <a:cubicBezTo>
                    <a:pt x="664" y="91"/>
                    <a:pt x="664" y="91"/>
                    <a:pt x="664" y="91"/>
                  </a:cubicBezTo>
                  <a:cubicBezTo>
                    <a:pt x="664" y="91"/>
                    <a:pt x="677" y="79"/>
                    <a:pt x="678" y="73"/>
                  </a:cubicBezTo>
                  <a:cubicBezTo>
                    <a:pt x="679" y="67"/>
                    <a:pt x="670" y="63"/>
                    <a:pt x="670" y="63"/>
                  </a:cubicBezTo>
                  <a:cubicBezTo>
                    <a:pt x="671" y="44"/>
                    <a:pt x="671" y="44"/>
                    <a:pt x="671" y="44"/>
                  </a:cubicBezTo>
                  <a:cubicBezTo>
                    <a:pt x="671" y="44"/>
                    <a:pt x="649" y="50"/>
                    <a:pt x="649" y="41"/>
                  </a:cubicBezTo>
                  <a:cubicBezTo>
                    <a:pt x="649" y="41"/>
                    <a:pt x="661" y="29"/>
                    <a:pt x="658" y="15"/>
                  </a:cubicBezTo>
                  <a:cubicBezTo>
                    <a:pt x="655" y="1"/>
                    <a:pt x="646" y="0"/>
                    <a:pt x="646" y="0"/>
                  </a:cubicBezTo>
                  <a:cubicBezTo>
                    <a:pt x="641" y="7"/>
                    <a:pt x="641" y="7"/>
                    <a:pt x="641" y="7"/>
                  </a:cubicBezTo>
                  <a:cubicBezTo>
                    <a:pt x="625" y="5"/>
                    <a:pt x="625" y="5"/>
                    <a:pt x="625" y="5"/>
                  </a:cubicBezTo>
                  <a:cubicBezTo>
                    <a:pt x="625" y="5"/>
                    <a:pt x="631" y="19"/>
                    <a:pt x="627" y="26"/>
                  </a:cubicBezTo>
                  <a:cubicBezTo>
                    <a:pt x="623" y="33"/>
                    <a:pt x="612" y="31"/>
                    <a:pt x="612" y="31"/>
                  </a:cubicBezTo>
                  <a:cubicBezTo>
                    <a:pt x="614" y="41"/>
                    <a:pt x="614" y="41"/>
                    <a:pt x="614" y="41"/>
                  </a:cubicBezTo>
                  <a:cubicBezTo>
                    <a:pt x="596" y="40"/>
                    <a:pt x="596" y="40"/>
                    <a:pt x="596" y="40"/>
                  </a:cubicBezTo>
                  <a:cubicBezTo>
                    <a:pt x="596" y="40"/>
                    <a:pt x="584" y="45"/>
                    <a:pt x="582" y="51"/>
                  </a:cubicBezTo>
                  <a:cubicBezTo>
                    <a:pt x="580" y="57"/>
                    <a:pt x="566" y="64"/>
                    <a:pt x="559" y="64"/>
                  </a:cubicBezTo>
                  <a:cubicBezTo>
                    <a:pt x="552" y="64"/>
                    <a:pt x="546" y="56"/>
                    <a:pt x="538" y="59"/>
                  </a:cubicBezTo>
                  <a:cubicBezTo>
                    <a:pt x="530" y="62"/>
                    <a:pt x="533" y="96"/>
                    <a:pt x="524" y="96"/>
                  </a:cubicBezTo>
                  <a:cubicBezTo>
                    <a:pt x="515" y="96"/>
                    <a:pt x="504" y="77"/>
                    <a:pt x="500" y="73"/>
                  </a:cubicBezTo>
                  <a:cubicBezTo>
                    <a:pt x="496" y="69"/>
                    <a:pt x="491" y="77"/>
                    <a:pt x="491" y="77"/>
                  </a:cubicBezTo>
                  <a:cubicBezTo>
                    <a:pt x="481" y="71"/>
                    <a:pt x="481" y="71"/>
                    <a:pt x="481" y="71"/>
                  </a:cubicBezTo>
                  <a:cubicBezTo>
                    <a:pt x="481" y="71"/>
                    <a:pt x="469" y="79"/>
                    <a:pt x="467" y="76"/>
                  </a:cubicBezTo>
                  <a:cubicBezTo>
                    <a:pt x="465" y="73"/>
                    <a:pt x="471" y="64"/>
                    <a:pt x="460" y="60"/>
                  </a:cubicBezTo>
                  <a:cubicBezTo>
                    <a:pt x="449" y="56"/>
                    <a:pt x="440" y="64"/>
                    <a:pt x="437" y="61"/>
                  </a:cubicBezTo>
                  <a:cubicBezTo>
                    <a:pt x="434" y="58"/>
                    <a:pt x="431" y="52"/>
                    <a:pt x="431" y="52"/>
                  </a:cubicBezTo>
                  <a:cubicBezTo>
                    <a:pt x="431" y="52"/>
                    <a:pt x="421" y="71"/>
                    <a:pt x="443" y="82"/>
                  </a:cubicBezTo>
                  <a:cubicBezTo>
                    <a:pt x="465" y="93"/>
                    <a:pt x="450" y="117"/>
                    <a:pt x="450" y="117"/>
                  </a:cubicBezTo>
                  <a:cubicBezTo>
                    <a:pt x="450" y="117"/>
                    <a:pt x="463" y="128"/>
                    <a:pt x="463" y="135"/>
                  </a:cubicBezTo>
                  <a:cubicBezTo>
                    <a:pt x="463" y="142"/>
                    <a:pt x="463" y="151"/>
                    <a:pt x="463" y="151"/>
                  </a:cubicBezTo>
                  <a:cubicBezTo>
                    <a:pt x="493" y="154"/>
                    <a:pt x="493" y="154"/>
                    <a:pt x="493" y="154"/>
                  </a:cubicBezTo>
                  <a:cubicBezTo>
                    <a:pt x="493" y="154"/>
                    <a:pt x="500" y="168"/>
                    <a:pt x="488" y="174"/>
                  </a:cubicBezTo>
                  <a:cubicBezTo>
                    <a:pt x="476" y="180"/>
                    <a:pt x="463" y="177"/>
                    <a:pt x="463" y="177"/>
                  </a:cubicBezTo>
                  <a:cubicBezTo>
                    <a:pt x="463" y="177"/>
                    <a:pt x="464" y="202"/>
                    <a:pt x="451" y="206"/>
                  </a:cubicBezTo>
                  <a:cubicBezTo>
                    <a:pt x="438" y="210"/>
                    <a:pt x="433" y="214"/>
                    <a:pt x="433" y="214"/>
                  </a:cubicBezTo>
                  <a:cubicBezTo>
                    <a:pt x="431" y="220"/>
                    <a:pt x="431" y="220"/>
                    <a:pt x="431" y="220"/>
                  </a:cubicBezTo>
                  <a:cubicBezTo>
                    <a:pt x="431" y="220"/>
                    <a:pt x="419" y="218"/>
                    <a:pt x="413" y="222"/>
                  </a:cubicBezTo>
                  <a:cubicBezTo>
                    <a:pt x="407" y="226"/>
                    <a:pt x="401" y="251"/>
                    <a:pt x="393" y="251"/>
                  </a:cubicBezTo>
                  <a:cubicBezTo>
                    <a:pt x="385" y="251"/>
                    <a:pt x="396" y="234"/>
                    <a:pt x="387" y="232"/>
                  </a:cubicBezTo>
                  <a:cubicBezTo>
                    <a:pt x="378" y="230"/>
                    <a:pt x="367" y="252"/>
                    <a:pt x="357" y="246"/>
                  </a:cubicBezTo>
                  <a:cubicBezTo>
                    <a:pt x="357" y="246"/>
                    <a:pt x="345" y="244"/>
                    <a:pt x="341" y="239"/>
                  </a:cubicBezTo>
                  <a:cubicBezTo>
                    <a:pt x="337" y="234"/>
                    <a:pt x="330" y="221"/>
                    <a:pt x="330" y="221"/>
                  </a:cubicBezTo>
                  <a:cubicBezTo>
                    <a:pt x="313" y="221"/>
                    <a:pt x="313" y="221"/>
                    <a:pt x="313" y="221"/>
                  </a:cubicBezTo>
                  <a:cubicBezTo>
                    <a:pt x="313" y="221"/>
                    <a:pt x="313" y="193"/>
                    <a:pt x="311" y="187"/>
                  </a:cubicBezTo>
                  <a:cubicBezTo>
                    <a:pt x="309" y="181"/>
                    <a:pt x="306" y="180"/>
                    <a:pt x="306" y="180"/>
                  </a:cubicBezTo>
                  <a:cubicBezTo>
                    <a:pt x="306" y="180"/>
                    <a:pt x="311" y="173"/>
                    <a:pt x="304" y="170"/>
                  </a:cubicBezTo>
                  <a:cubicBezTo>
                    <a:pt x="297" y="167"/>
                    <a:pt x="288" y="190"/>
                    <a:pt x="282" y="191"/>
                  </a:cubicBezTo>
                  <a:cubicBezTo>
                    <a:pt x="276" y="192"/>
                    <a:pt x="271" y="176"/>
                    <a:pt x="265" y="176"/>
                  </a:cubicBezTo>
                  <a:cubicBezTo>
                    <a:pt x="259" y="176"/>
                    <a:pt x="259" y="193"/>
                    <a:pt x="259" y="193"/>
                  </a:cubicBezTo>
                  <a:cubicBezTo>
                    <a:pt x="215" y="197"/>
                    <a:pt x="215" y="197"/>
                    <a:pt x="215" y="197"/>
                  </a:cubicBezTo>
                  <a:cubicBezTo>
                    <a:pt x="215" y="197"/>
                    <a:pt x="201" y="184"/>
                    <a:pt x="192" y="189"/>
                  </a:cubicBezTo>
                  <a:cubicBezTo>
                    <a:pt x="183" y="194"/>
                    <a:pt x="191" y="223"/>
                    <a:pt x="191" y="223"/>
                  </a:cubicBezTo>
                  <a:cubicBezTo>
                    <a:pt x="207" y="230"/>
                    <a:pt x="207" y="230"/>
                    <a:pt x="207" y="230"/>
                  </a:cubicBezTo>
                  <a:cubicBezTo>
                    <a:pt x="214" y="228"/>
                    <a:pt x="214" y="228"/>
                    <a:pt x="214" y="228"/>
                  </a:cubicBezTo>
                  <a:cubicBezTo>
                    <a:pt x="214" y="228"/>
                    <a:pt x="233" y="248"/>
                    <a:pt x="220" y="250"/>
                  </a:cubicBezTo>
                  <a:cubicBezTo>
                    <a:pt x="207" y="252"/>
                    <a:pt x="198" y="248"/>
                    <a:pt x="198" y="248"/>
                  </a:cubicBezTo>
                  <a:cubicBezTo>
                    <a:pt x="176" y="253"/>
                    <a:pt x="176" y="253"/>
                    <a:pt x="176" y="253"/>
                  </a:cubicBezTo>
                  <a:cubicBezTo>
                    <a:pt x="174" y="295"/>
                    <a:pt x="174" y="295"/>
                    <a:pt x="174" y="295"/>
                  </a:cubicBezTo>
                  <a:cubicBezTo>
                    <a:pt x="174" y="295"/>
                    <a:pt x="195" y="304"/>
                    <a:pt x="197" y="313"/>
                  </a:cubicBezTo>
                  <a:cubicBezTo>
                    <a:pt x="199" y="322"/>
                    <a:pt x="200" y="334"/>
                    <a:pt x="200" y="334"/>
                  </a:cubicBezTo>
                  <a:cubicBezTo>
                    <a:pt x="200" y="334"/>
                    <a:pt x="214" y="349"/>
                    <a:pt x="213" y="356"/>
                  </a:cubicBezTo>
                  <a:cubicBezTo>
                    <a:pt x="212" y="363"/>
                    <a:pt x="202" y="374"/>
                    <a:pt x="202" y="374"/>
                  </a:cubicBezTo>
                  <a:cubicBezTo>
                    <a:pt x="204" y="408"/>
                    <a:pt x="204" y="408"/>
                    <a:pt x="204" y="408"/>
                  </a:cubicBezTo>
                  <a:cubicBezTo>
                    <a:pt x="193" y="438"/>
                    <a:pt x="193" y="438"/>
                    <a:pt x="193" y="438"/>
                  </a:cubicBezTo>
                  <a:cubicBezTo>
                    <a:pt x="191" y="488"/>
                    <a:pt x="191" y="488"/>
                    <a:pt x="191" y="488"/>
                  </a:cubicBezTo>
                  <a:cubicBezTo>
                    <a:pt x="191" y="488"/>
                    <a:pt x="188" y="515"/>
                    <a:pt x="183" y="518"/>
                  </a:cubicBezTo>
                  <a:cubicBezTo>
                    <a:pt x="178" y="521"/>
                    <a:pt x="171" y="518"/>
                    <a:pt x="171" y="518"/>
                  </a:cubicBezTo>
                  <a:cubicBezTo>
                    <a:pt x="171" y="518"/>
                    <a:pt x="167" y="505"/>
                    <a:pt x="157" y="506"/>
                  </a:cubicBezTo>
                  <a:cubicBezTo>
                    <a:pt x="147" y="507"/>
                    <a:pt x="136" y="522"/>
                    <a:pt x="136" y="522"/>
                  </a:cubicBezTo>
                  <a:cubicBezTo>
                    <a:pt x="117" y="519"/>
                    <a:pt x="117" y="519"/>
                    <a:pt x="117" y="519"/>
                  </a:cubicBezTo>
                  <a:cubicBezTo>
                    <a:pt x="115" y="526"/>
                    <a:pt x="115" y="526"/>
                    <a:pt x="115" y="526"/>
                  </a:cubicBezTo>
                  <a:cubicBezTo>
                    <a:pt x="94" y="526"/>
                    <a:pt x="94" y="526"/>
                    <a:pt x="94" y="526"/>
                  </a:cubicBezTo>
                  <a:cubicBezTo>
                    <a:pt x="94" y="526"/>
                    <a:pt x="68" y="543"/>
                    <a:pt x="66" y="547"/>
                  </a:cubicBezTo>
                  <a:cubicBezTo>
                    <a:pt x="64" y="551"/>
                    <a:pt x="63" y="559"/>
                    <a:pt x="63" y="559"/>
                  </a:cubicBezTo>
                  <a:cubicBezTo>
                    <a:pt x="47" y="559"/>
                    <a:pt x="47" y="559"/>
                    <a:pt x="47" y="559"/>
                  </a:cubicBezTo>
                  <a:cubicBezTo>
                    <a:pt x="46" y="597"/>
                    <a:pt x="46" y="597"/>
                    <a:pt x="46" y="597"/>
                  </a:cubicBezTo>
                  <a:cubicBezTo>
                    <a:pt x="46" y="597"/>
                    <a:pt x="31" y="606"/>
                    <a:pt x="33" y="613"/>
                  </a:cubicBezTo>
                  <a:cubicBezTo>
                    <a:pt x="35" y="620"/>
                    <a:pt x="45" y="645"/>
                    <a:pt x="39" y="636"/>
                  </a:cubicBezTo>
                  <a:cubicBezTo>
                    <a:pt x="33" y="627"/>
                    <a:pt x="20" y="644"/>
                    <a:pt x="12" y="652"/>
                  </a:cubicBezTo>
                  <a:cubicBezTo>
                    <a:pt x="4" y="660"/>
                    <a:pt x="9" y="674"/>
                    <a:pt x="9" y="674"/>
                  </a:cubicBezTo>
                  <a:cubicBezTo>
                    <a:pt x="15" y="678"/>
                    <a:pt x="15" y="678"/>
                    <a:pt x="15" y="678"/>
                  </a:cubicBezTo>
                  <a:cubicBezTo>
                    <a:pt x="15" y="678"/>
                    <a:pt x="0" y="686"/>
                    <a:pt x="0" y="691"/>
                  </a:cubicBezTo>
                  <a:cubicBezTo>
                    <a:pt x="0" y="696"/>
                    <a:pt x="15" y="702"/>
                    <a:pt x="15" y="702"/>
                  </a:cubicBezTo>
                  <a:cubicBezTo>
                    <a:pt x="17" y="720"/>
                    <a:pt x="17" y="720"/>
                    <a:pt x="17" y="720"/>
                  </a:cubicBezTo>
                  <a:cubicBezTo>
                    <a:pt x="17" y="720"/>
                    <a:pt x="30" y="741"/>
                    <a:pt x="35" y="747"/>
                  </a:cubicBezTo>
                  <a:cubicBezTo>
                    <a:pt x="40" y="753"/>
                    <a:pt x="62" y="768"/>
                    <a:pt x="60" y="773"/>
                  </a:cubicBezTo>
                  <a:cubicBezTo>
                    <a:pt x="58" y="778"/>
                    <a:pt x="43" y="791"/>
                    <a:pt x="43" y="791"/>
                  </a:cubicBezTo>
                  <a:cubicBezTo>
                    <a:pt x="43" y="791"/>
                    <a:pt x="79" y="790"/>
                    <a:pt x="82" y="797"/>
                  </a:cubicBezTo>
                  <a:cubicBezTo>
                    <a:pt x="85" y="804"/>
                    <a:pt x="93" y="823"/>
                    <a:pt x="93" y="823"/>
                  </a:cubicBezTo>
                  <a:cubicBezTo>
                    <a:pt x="135" y="819"/>
                    <a:pt x="135" y="819"/>
                    <a:pt x="135" y="819"/>
                  </a:cubicBezTo>
                  <a:cubicBezTo>
                    <a:pt x="169" y="789"/>
                    <a:pt x="169" y="789"/>
                    <a:pt x="169" y="789"/>
                  </a:cubicBezTo>
                  <a:cubicBezTo>
                    <a:pt x="169" y="789"/>
                    <a:pt x="174" y="812"/>
                    <a:pt x="172" y="816"/>
                  </a:cubicBezTo>
                  <a:cubicBezTo>
                    <a:pt x="170" y="820"/>
                    <a:pt x="165" y="834"/>
                    <a:pt x="167" y="844"/>
                  </a:cubicBezTo>
                  <a:cubicBezTo>
                    <a:pt x="169" y="854"/>
                    <a:pt x="170" y="874"/>
                    <a:pt x="170" y="874"/>
                  </a:cubicBezTo>
                  <a:cubicBezTo>
                    <a:pt x="177" y="873"/>
                    <a:pt x="177" y="873"/>
                    <a:pt x="177" y="873"/>
                  </a:cubicBezTo>
                  <a:cubicBezTo>
                    <a:pt x="177" y="873"/>
                    <a:pt x="177" y="881"/>
                    <a:pt x="185" y="881"/>
                  </a:cubicBezTo>
                  <a:cubicBezTo>
                    <a:pt x="193" y="881"/>
                    <a:pt x="189" y="872"/>
                    <a:pt x="200" y="872"/>
                  </a:cubicBezTo>
                  <a:cubicBezTo>
                    <a:pt x="211" y="872"/>
                    <a:pt x="246" y="875"/>
                    <a:pt x="246" y="875"/>
                  </a:cubicBezTo>
                  <a:cubicBezTo>
                    <a:pt x="246" y="875"/>
                    <a:pt x="249" y="886"/>
                    <a:pt x="262" y="883"/>
                  </a:cubicBezTo>
                  <a:cubicBezTo>
                    <a:pt x="275" y="880"/>
                    <a:pt x="283" y="871"/>
                    <a:pt x="283" y="871"/>
                  </a:cubicBezTo>
                  <a:cubicBezTo>
                    <a:pt x="288" y="859"/>
                    <a:pt x="288" y="859"/>
                    <a:pt x="288" y="859"/>
                  </a:cubicBezTo>
                  <a:cubicBezTo>
                    <a:pt x="312" y="858"/>
                    <a:pt x="312" y="858"/>
                    <a:pt x="312" y="858"/>
                  </a:cubicBezTo>
                  <a:cubicBezTo>
                    <a:pt x="316" y="840"/>
                    <a:pt x="316" y="840"/>
                    <a:pt x="316" y="840"/>
                  </a:cubicBezTo>
                  <a:cubicBezTo>
                    <a:pt x="340" y="841"/>
                    <a:pt x="340" y="841"/>
                    <a:pt x="340" y="841"/>
                  </a:cubicBezTo>
                  <a:cubicBezTo>
                    <a:pt x="340" y="841"/>
                    <a:pt x="350" y="815"/>
                    <a:pt x="363" y="815"/>
                  </a:cubicBezTo>
                  <a:cubicBezTo>
                    <a:pt x="376" y="815"/>
                    <a:pt x="386" y="816"/>
                    <a:pt x="386" y="816"/>
                  </a:cubicBezTo>
                  <a:cubicBezTo>
                    <a:pt x="395" y="808"/>
                    <a:pt x="395" y="808"/>
                    <a:pt x="395" y="808"/>
                  </a:cubicBezTo>
                  <a:cubicBezTo>
                    <a:pt x="395" y="808"/>
                    <a:pt x="404" y="818"/>
                    <a:pt x="405" y="814"/>
                  </a:cubicBezTo>
                  <a:cubicBezTo>
                    <a:pt x="406" y="810"/>
                    <a:pt x="419" y="802"/>
                    <a:pt x="423" y="806"/>
                  </a:cubicBezTo>
                  <a:cubicBezTo>
                    <a:pt x="427" y="810"/>
                    <a:pt x="419" y="837"/>
                    <a:pt x="419" y="837"/>
                  </a:cubicBezTo>
                  <a:cubicBezTo>
                    <a:pt x="419" y="837"/>
                    <a:pt x="411" y="850"/>
                    <a:pt x="412" y="854"/>
                  </a:cubicBezTo>
                  <a:cubicBezTo>
                    <a:pt x="413" y="858"/>
                    <a:pt x="422" y="866"/>
                    <a:pt x="422" y="875"/>
                  </a:cubicBezTo>
                  <a:cubicBezTo>
                    <a:pt x="422" y="884"/>
                    <a:pt x="415" y="890"/>
                    <a:pt x="422" y="899"/>
                  </a:cubicBezTo>
                  <a:cubicBezTo>
                    <a:pt x="429" y="908"/>
                    <a:pt x="436" y="912"/>
                    <a:pt x="436" y="912"/>
                  </a:cubicBezTo>
                  <a:cubicBezTo>
                    <a:pt x="442" y="932"/>
                    <a:pt x="442" y="932"/>
                    <a:pt x="442" y="932"/>
                  </a:cubicBezTo>
                  <a:cubicBezTo>
                    <a:pt x="442" y="932"/>
                    <a:pt x="458" y="930"/>
                    <a:pt x="461" y="935"/>
                  </a:cubicBezTo>
                  <a:cubicBezTo>
                    <a:pt x="464" y="940"/>
                    <a:pt x="460" y="951"/>
                    <a:pt x="470" y="955"/>
                  </a:cubicBezTo>
                  <a:cubicBezTo>
                    <a:pt x="480" y="959"/>
                    <a:pt x="484" y="959"/>
                    <a:pt x="488" y="960"/>
                  </a:cubicBezTo>
                  <a:cubicBezTo>
                    <a:pt x="492" y="961"/>
                    <a:pt x="502" y="954"/>
                    <a:pt x="502" y="954"/>
                  </a:cubicBezTo>
                  <a:cubicBezTo>
                    <a:pt x="502" y="954"/>
                    <a:pt x="508" y="968"/>
                    <a:pt x="516" y="968"/>
                  </a:cubicBezTo>
                  <a:cubicBezTo>
                    <a:pt x="524" y="968"/>
                    <a:pt x="531" y="961"/>
                    <a:pt x="532" y="965"/>
                  </a:cubicBezTo>
                  <a:cubicBezTo>
                    <a:pt x="533" y="969"/>
                    <a:pt x="541" y="981"/>
                    <a:pt x="552" y="986"/>
                  </a:cubicBezTo>
                  <a:cubicBezTo>
                    <a:pt x="563" y="991"/>
                    <a:pt x="579" y="992"/>
                    <a:pt x="579" y="992"/>
                  </a:cubicBezTo>
                  <a:cubicBezTo>
                    <a:pt x="579" y="992"/>
                    <a:pt x="588" y="1012"/>
                    <a:pt x="598" y="1013"/>
                  </a:cubicBezTo>
                  <a:cubicBezTo>
                    <a:pt x="608" y="1014"/>
                    <a:pt x="619" y="1009"/>
                    <a:pt x="630" y="1011"/>
                  </a:cubicBezTo>
                  <a:cubicBezTo>
                    <a:pt x="641" y="1013"/>
                    <a:pt x="661" y="1022"/>
                    <a:pt x="662" y="1032"/>
                  </a:cubicBezTo>
                  <a:cubicBezTo>
                    <a:pt x="663" y="1042"/>
                    <a:pt x="658" y="1045"/>
                    <a:pt x="662" y="1052"/>
                  </a:cubicBezTo>
                  <a:cubicBezTo>
                    <a:pt x="666" y="1059"/>
                    <a:pt x="673" y="1071"/>
                    <a:pt x="673" y="1071"/>
                  </a:cubicBezTo>
                  <a:cubicBezTo>
                    <a:pt x="675" y="1092"/>
                    <a:pt x="675" y="1092"/>
                    <a:pt x="675" y="1092"/>
                  </a:cubicBezTo>
                  <a:cubicBezTo>
                    <a:pt x="675" y="1092"/>
                    <a:pt x="660" y="1090"/>
                    <a:pt x="662" y="1096"/>
                  </a:cubicBezTo>
                  <a:cubicBezTo>
                    <a:pt x="664" y="1102"/>
                    <a:pt x="680" y="1116"/>
                    <a:pt x="680" y="1116"/>
                  </a:cubicBezTo>
                  <a:cubicBezTo>
                    <a:pt x="680" y="1116"/>
                    <a:pt x="670" y="1147"/>
                    <a:pt x="683" y="1156"/>
                  </a:cubicBezTo>
                  <a:cubicBezTo>
                    <a:pt x="696" y="1165"/>
                    <a:pt x="773" y="1163"/>
                    <a:pt x="773" y="1163"/>
                  </a:cubicBezTo>
                  <a:cubicBezTo>
                    <a:pt x="773" y="1163"/>
                    <a:pt x="762" y="1197"/>
                    <a:pt x="769" y="1206"/>
                  </a:cubicBezTo>
                  <a:cubicBezTo>
                    <a:pt x="776" y="1215"/>
                    <a:pt x="785" y="1216"/>
                    <a:pt x="796" y="1223"/>
                  </a:cubicBezTo>
                  <a:cubicBezTo>
                    <a:pt x="807" y="1230"/>
                    <a:pt x="816" y="1248"/>
                    <a:pt x="816" y="1262"/>
                  </a:cubicBezTo>
                  <a:cubicBezTo>
                    <a:pt x="816" y="1276"/>
                    <a:pt x="811" y="1302"/>
                    <a:pt x="811" y="1302"/>
                  </a:cubicBezTo>
                  <a:cubicBezTo>
                    <a:pt x="815" y="1310"/>
                    <a:pt x="815" y="1310"/>
                    <a:pt x="815" y="1310"/>
                  </a:cubicBezTo>
                  <a:cubicBezTo>
                    <a:pt x="815" y="1310"/>
                    <a:pt x="798" y="1337"/>
                    <a:pt x="800" y="1342"/>
                  </a:cubicBezTo>
                  <a:cubicBezTo>
                    <a:pt x="802" y="1347"/>
                    <a:pt x="814" y="1357"/>
                    <a:pt x="814" y="1357"/>
                  </a:cubicBezTo>
                  <a:cubicBezTo>
                    <a:pt x="814" y="1357"/>
                    <a:pt x="799" y="1365"/>
                    <a:pt x="799" y="1371"/>
                  </a:cubicBezTo>
                  <a:cubicBezTo>
                    <a:pt x="799" y="1377"/>
                    <a:pt x="808" y="1379"/>
                    <a:pt x="810" y="1386"/>
                  </a:cubicBezTo>
                  <a:cubicBezTo>
                    <a:pt x="812" y="1393"/>
                    <a:pt x="806" y="1402"/>
                    <a:pt x="810" y="1406"/>
                  </a:cubicBezTo>
                  <a:cubicBezTo>
                    <a:pt x="814" y="1410"/>
                    <a:pt x="819" y="1405"/>
                    <a:pt x="819" y="1414"/>
                  </a:cubicBezTo>
                  <a:cubicBezTo>
                    <a:pt x="819" y="1423"/>
                    <a:pt x="804" y="1459"/>
                    <a:pt x="820" y="1468"/>
                  </a:cubicBezTo>
                  <a:cubicBezTo>
                    <a:pt x="836" y="1477"/>
                    <a:pt x="880" y="1484"/>
                    <a:pt x="895" y="1481"/>
                  </a:cubicBezTo>
                  <a:cubicBezTo>
                    <a:pt x="910" y="1478"/>
                    <a:pt x="928" y="1478"/>
                    <a:pt x="932" y="1486"/>
                  </a:cubicBezTo>
                  <a:cubicBezTo>
                    <a:pt x="936" y="1494"/>
                    <a:pt x="932" y="1511"/>
                    <a:pt x="937" y="1531"/>
                  </a:cubicBezTo>
                  <a:cubicBezTo>
                    <a:pt x="942" y="1551"/>
                    <a:pt x="946" y="1572"/>
                    <a:pt x="957" y="1574"/>
                  </a:cubicBezTo>
                  <a:cubicBezTo>
                    <a:pt x="968" y="1576"/>
                    <a:pt x="972" y="1560"/>
                    <a:pt x="987" y="1564"/>
                  </a:cubicBezTo>
                  <a:cubicBezTo>
                    <a:pt x="1002" y="1568"/>
                    <a:pt x="1006" y="1576"/>
                    <a:pt x="1004" y="1596"/>
                  </a:cubicBezTo>
                  <a:cubicBezTo>
                    <a:pt x="1002" y="1616"/>
                    <a:pt x="1000" y="1626"/>
                    <a:pt x="998" y="1631"/>
                  </a:cubicBezTo>
                  <a:cubicBezTo>
                    <a:pt x="996" y="1636"/>
                    <a:pt x="995" y="1651"/>
                    <a:pt x="995" y="1651"/>
                  </a:cubicBezTo>
                  <a:cubicBezTo>
                    <a:pt x="998" y="1664"/>
                    <a:pt x="998" y="1664"/>
                    <a:pt x="998" y="1664"/>
                  </a:cubicBezTo>
                  <a:cubicBezTo>
                    <a:pt x="998" y="1664"/>
                    <a:pt x="1014" y="1653"/>
                    <a:pt x="1021" y="1657"/>
                  </a:cubicBezTo>
                  <a:cubicBezTo>
                    <a:pt x="1028" y="1661"/>
                    <a:pt x="1032" y="1682"/>
                    <a:pt x="1032" y="1682"/>
                  </a:cubicBezTo>
                  <a:cubicBezTo>
                    <a:pt x="1032" y="1682"/>
                    <a:pt x="1043" y="1681"/>
                    <a:pt x="1043" y="1690"/>
                  </a:cubicBezTo>
                  <a:cubicBezTo>
                    <a:pt x="1043" y="1699"/>
                    <a:pt x="1051" y="1737"/>
                    <a:pt x="1045" y="1743"/>
                  </a:cubicBezTo>
                  <a:cubicBezTo>
                    <a:pt x="1039" y="1749"/>
                    <a:pt x="1022" y="1751"/>
                    <a:pt x="1011" y="1756"/>
                  </a:cubicBezTo>
                  <a:cubicBezTo>
                    <a:pt x="1000" y="1761"/>
                    <a:pt x="1000" y="1779"/>
                    <a:pt x="1000" y="1779"/>
                  </a:cubicBezTo>
                  <a:cubicBezTo>
                    <a:pt x="979" y="1781"/>
                    <a:pt x="979" y="1781"/>
                    <a:pt x="979" y="1781"/>
                  </a:cubicBezTo>
                  <a:cubicBezTo>
                    <a:pt x="978" y="1792"/>
                    <a:pt x="978" y="1792"/>
                    <a:pt x="978" y="1792"/>
                  </a:cubicBezTo>
                  <a:cubicBezTo>
                    <a:pt x="972" y="1794"/>
                    <a:pt x="972" y="1794"/>
                    <a:pt x="972" y="1794"/>
                  </a:cubicBezTo>
                  <a:cubicBezTo>
                    <a:pt x="969" y="1810"/>
                    <a:pt x="969" y="1810"/>
                    <a:pt x="969" y="1810"/>
                  </a:cubicBezTo>
                  <a:cubicBezTo>
                    <a:pt x="953" y="1814"/>
                    <a:pt x="953" y="1814"/>
                    <a:pt x="953" y="1814"/>
                  </a:cubicBezTo>
                  <a:cubicBezTo>
                    <a:pt x="953" y="1814"/>
                    <a:pt x="950" y="1837"/>
                    <a:pt x="945" y="1842"/>
                  </a:cubicBezTo>
                  <a:cubicBezTo>
                    <a:pt x="940" y="1847"/>
                    <a:pt x="931" y="1852"/>
                    <a:pt x="931" y="1855"/>
                  </a:cubicBezTo>
                  <a:cubicBezTo>
                    <a:pt x="931" y="1858"/>
                    <a:pt x="928" y="1873"/>
                    <a:pt x="923" y="1878"/>
                  </a:cubicBezTo>
                  <a:cubicBezTo>
                    <a:pt x="918" y="1883"/>
                    <a:pt x="903" y="1882"/>
                    <a:pt x="903" y="1888"/>
                  </a:cubicBezTo>
                  <a:cubicBezTo>
                    <a:pt x="903" y="1894"/>
                    <a:pt x="899" y="1911"/>
                    <a:pt x="899" y="1911"/>
                  </a:cubicBezTo>
                  <a:cubicBezTo>
                    <a:pt x="915" y="1912"/>
                    <a:pt x="915" y="1912"/>
                    <a:pt x="915" y="1912"/>
                  </a:cubicBezTo>
                  <a:cubicBezTo>
                    <a:pt x="915" y="1912"/>
                    <a:pt x="921" y="1902"/>
                    <a:pt x="933" y="1904"/>
                  </a:cubicBezTo>
                  <a:cubicBezTo>
                    <a:pt x="945" y="1906"/>
                    <a:pt x="970" y="1933"/>
                    <a:pt x="970" y="1933"/>
                  </a:cubicBezTo>
                  <a:cubicBezTo>
                    <a:pt x="970" y="1933"/>
                    <a:pt x="980" y="1956"/>
                    <a:pt x="986" y="1956"/>
                  </a:cubicBezTo>
                  <a:cubicBezTo>
                    <a:pt x="992" y="1956"/>
                    <a:pt x="991" y="1942"/>
                    <a:pt x="1001" y="1945"/>
                  </a:cubicBezTo>
                  <a:cubicBezTo>
                    <a:pt x="1011" y="1948"/>
                    <a:pt x="1020" y="1964"/>
                    <a:pt x="1025" y="1967"/>
                  </a:cubicBezTo>
                  <a:cubicBezTo>
                    <a:pt x="1030" y="1970"/>
                    <a:pt x="1037" y="1969"/>
                    <a:pt x="1037" y="1969"/>
                  </a:cubicBezTo>
                  <a:cubicBezTo>
                    <a:pt x="1037" y="1969"/>
                    <a:pt x="1045" y="1976"/>
                    <a:pt x="1049" y="1978"/>
                  </a:cubicBezTo>
                  <a:cubicBezTo>
                    <a:pt x="1053" y="1980"/>
                    <a:pt x="1055" y="1993"/>
                    <a:pt x="1067" y="1997"/>
                  </a:cubicBezTo>
                  <a:cubicBezTo>
                    <a:pt x="1079" y="2001"/>
                    <a:pt x="1086" y="2000"/>
                    <a:pt x="1086" y="2000"/>
                  </a:cubicBezTo>
                  <a:cubicBezTo>
                    <a:pt x="1086" y="2000"/>
                    <a:pt x="1096" y="2024"/>
                    <a:pt x="1104" y="2029"/>
                  </a:cubicBezTo>
                  <a:cubicBezTo>
                    <a:pt x="1112" y="2034"/>
                    <a:pt x="1131" y="2033"/>
                    <a:pt x="1126" y="2042"/>
                  </a:cubicBezTo>
                  <a:cubicBezTo>
                    <a:pt x="1121" y="2051"/>
                    <a:pt x="1111" y="2064"/>
                    <a:pt x="1112" y="2071"/>
                  </a:cubicBezTo>
                  <a:cubicBezTo>
                    <a:pt x="1113" y="2078"/>
                    <a:pt x="1119" y="2078"/>
                    <a:pt x="1119" y="2078"/>
                  </a:cubicBezTo>
                  <a:cubicBezTo>
                    <a:pt x="1118" y="2099"/>
                    <a:pt x="1118" y="2099"/>
                    <a:pt x="1118" y="2099"/>
                  </a:cubicBezTo>
                  <a:cubicBezTo>
                    <a:pt x="1128" y="2098"/>
                    <a:pt x="1128" y="2098"/>
                    <a:pt x="1128" y="2098"/>
                  </a:cubicBezTo>
                  <a:cubicBezTo>
                    <a:pt x="1128" y="2096"/>
                    <a:pt x="1128" y="2096"/>
                    <a:pt x="1128" y="2096"/>
                  </a:cubicBezTo>
                  <a:cubicBezTo>
                    <a:pt x="1128" y="2096"/>
                    <a:pt x="1151" y="2070"/>
                    <a:pt x="1156" y="2061"/>
                  </a:cubicBezTo>
                  <a:cubicBezTo>
                    <a:pt x="1161" y="2052"/>
                    <a:pt x="1153" y="2031"/>
                    <a:pt x="1153" y="2031"/>
                  </a:cubicBezTo>
                  <a:cubicBezTo>
                    <a:pt x="1165" y="2013"/>
                    <a:pt x="1165" y="2013"/>
                    <a:pt x="1165" y="2013"/>
                  </a:cubicBezTo>
                  <a:cubicBezTo>
                    <a:pt x="1165" y="2013"/>
                    <a:pt x="1155" y="2005"/>
                    <a:pt x="1155" y="1995"/>
                  </a:cubicBezTo>
                  <a:cubicBezTo>
                    <a:pt x="1155" y="1985"/>
                    <a:pt x="1165" y="1984"/>
                    <a:pt x="1165" y="1984"/>
                  </a:cubicBezTo>
                  <a:cubicBezTo>
                    <a:pt x="1167" y="1968"/>
                    <a:pt x="1167" y="1968"/>
                    <a:pt x="1167" y="1968"/>
                  </a:cubicBezTo>
                  <a:cubicBezTo>
                    <a:pt x="1167" y="1968"/>
                    <a:pt x="1179" y="1966"/>
                    <a:pt x="1183" y="1962"/>
                  </a:cubicBezTo>
                  <a:cubicBezTo>
                    <a:pt x="1187" y="1958"/>
                    <a:pt x="1186" y="1944"/>
                    <a:pt x="1186" y="1936"/>
                  </a:cubicBezTo>
                  <a:cubicBezTo>
                    <a:pt x="1186" y="1928"/>
                    <a:pt x="1204" y="1911"/>
                    <a:pt x="1213" y="1909"/>
                  </a:cubicBezTo>
                  <a:cubicBezTo>
                    <a:pt x="1222" y="1907"/>
                    <a:pt x="1219" y="1931"/>
                    <a:pt x="1219" y="1931"/>
                  </a:cubicBezTo>
                  <a:cubicBezTo>
                    <a:pt x="1219" y="1931"/>
                    <a:pt x="1213" y="1941"/>
                    <a:pt x="1210" y="1943"/>
                  </a:cubicBezTo>
                  <a:cubicBezTo>
                    <a:pt x="1207" y="1945"/>
                    <a:pt x="1208" y="1956"/>
                    <a:pt x="1208" y="1956"/>
                  </a:cubicBezTo>
                  <a:cubicBezTo>
                    <a:pt x="1201" y="1960"/>
                    <a:pt x="1201" y="1960"/>
                    <a:pt x="1201" y="1960"/>
                  </a:cubicBezTo>
                  <a:cubicBezTo>
                    <a:pt x="1201" y="1969"/>
                    <a:pt x="1201" y="1969"/>
                    <a:pt x="1201" y="1969"/>
                  </a:cubicBezTo>
                  <a:cubicBezTo>
                    <a:pt x="1184" y="1987"/>
                    <a:pt x="1184" y="1987"/>
                    <a:pt x="1184" y="1987"/>
                  </a:cubicBezTo>
                  <a:cubicBezTo>
                    <a:pt x="1163" y="2002"/>
                    <a:pt x="1163" y="2002"/>
                    <a:pt x="1163" y="2002"/>
                  </a:cubicBezTo>
                  <a:cubicBezTo>
                    <a:pt x="1163" y="2002"/>
                    <a:pt x="1170" y="2008"/>
                    <a:pt x="1177" y="2006"/>
                  </a:cubicBezTo>
                  <a:cubicBezTo>
                    <a:pt x="1182" y="2005"/>
                    <a:pt x="1182" y="1993"/>
                    <a:pt x="1187" y="1990"/>
                  </a:cubicBezTo>
                  <a:cubicBezTo>
                    <a:pt x="1191" y="1986"/>
                    <a:pt x="1198" y="1989"/>
                    <a:pt x="1200" y="1987"/>
                  </a:cubicBezTo>
                  <a:cubicBezTo>
                    <a:pt x="1206" y="1978"/>
                    <a:pt x="1228" y="1944"/>
                    <a:pt x="1233" y="1920"/>
                  </a:cubicBezTo>
                  <a:cubicBezTo>
                    <a:pt x="1238" y="1896"/>
                    <a:pt x="1248" y="1874"/>
                    <a:pt x="1252" y="1860"/>
                  </a:cubicBezTo>
                  <a:cubicBezTo>
                    <a:pt x="1256" y="1846"/>
                    <a:pt x="1284" y="1829"/>
                    <a:pt x="1286" y="1825"/>
                  </a:cubicBezTo>
                  <a:cubicBezTo>
                    <a:pt x="1288" y="1821"/>
                    <a:pt x="1281" y="1811"/>
                    <a:pt x="1281" y="1811"/>
                  </a:cubicBezTo>
                  <a:cubicBezTo>
                    <a:pt x="1294" y="1802"/>
                    <a:pt x="1294" y="1802"/>
                    <a:pt x="1294" y="1802"/>
                  </a:cubicBezTo>
                  <a:cubicBezTo>
                    <a:pt x="1290" y="1778"/>
                    <a:pt x="1290" y="1778"/>
                    <a:pt x="1290" y="1778"/>
                  </a:cubicBezTo>
                  <a:cubicBezTo>
                    <a:pt x="1294" y="1764"/>
                    <a:pt x="1294" y="1764"/>
                    <a:pt x="1294" y="1764"/>
                  </a:cubicBezTo>
                  <a:cubicBezTo>
                    <a:pt x="1285" y="1759"/>
                    <a:pt x="1285" y="1759"/>
                    <a:pt x="1285" y="1759"/>
                  </a:cubicBezTo>
                  <a:cubicBezTo>
                    <a:pt x="1285" y="1759"/>
                    <a:pt x="1292" y="1750"/>
                    <a:pt x="1292" y="1742"/>
                  </a:cubicBezTo>
                  <a:cubicBezTo>
                    <a:pt x="1292" y="1734"/>
                    <a:pt x="1277" y="1728"/>
                    <a:pt x="1277" y="1728"/>
                  </a:cubicBezTo>
                  <a:cubicBezTo>
                    <a:pt x="1276" y="1705"/>
                    <a:pt x="1276" y="1705"/>
                    <a:pt x="1276" y="1705"/>
                  </a:cubicBezTo>
                  <a:cubicBezTo>
                    <a:pt x="1266" y="1694"/>
                    <a:pt x="1266" y="1694"/>
                    <a:pt x="1266" y="1694"/>
                  </a:cubicBezTo>
                  <a:cubicBezTo>
                    <a:pt x="1280" y="1695"/>
                    <a:pt x="1280" y="1695"/>
                    <a:pt x="1280" y="1695"/>
                  </a:cubicBezTo>
                  <a:cubicBezTo>
                    <a:pt x="1279" y="1678"/>
                    <a:pt x="1279" y="1678"/>
                    <a:pt x="1279" y="1678"/>
                  </a:cubicBezTo>
                  <a:cubicBezTo>
                    <a:pt x="1270" y="1673"/>
                    <a:pt x="1270" y="1673"/>
                    <a:pt x="1270" y="1673"/>
                  </a:cubicBezTo>
                  <a:cubicBezTo>
                    <a:pt x="1270" y="1673"/>
                    <a:pt x="1282" y="1670"/>
                    <a:pt x="1282" y="1665"/>
                  </a:cubicBezTo>
                  <a:cubicBezTo>
                    <a:pt x="1282" y="1660"/>
                    <a:pt x="1266" y="1650"/>
                    <a:pt x="1266" y="1650"/>
                  </a:cubicBezTo>
                  <a:cubicBezTo>
                    <a:pt x="1282" y="1639"/>
                    <a:pt x="1282" y="1639"/>
                    <a:pt x="1282" y="1639"/>
                  </a:cubicBezTo>
                  <a:cubicBezTo>
                    <a:pt x="1282" y="1639"/>
                    <a:pt x="1295" y="1653"/>
                    <a:pt x="1301" y="1652"/>
                  </a:cubicBezTo>
                  <a:cubicBezTo>
                    <a:pt x="1307" y="1651"/>
                    <a:pt x="1303" y="1639"/>
                    <a:pt x="1303" y="1639"/>
                  </a:cubicBezTo>
                  <a:cubicBezTo>
                    <a:pt x="1303" y="1639"/>
                    <a:pt x="1303" y="1627"/>
                    <a:pt x="1311" y="1617"/>
                  </a:cubicBezTo>
                  <a:cubicBezTo>
                    <a:pt x="1319" y="1607"/>
                    <a:pt x="1331" y="1610"/>
                    <a:pt x="1337" y="1605"/>
                  </a:cubicBezTo>
                  <a:cubicBezTo>
                    <a:pt x="1343" y="1600"/>
                    <a:pt x="1340" y="1596"/>
                    <a:pt x="1343" y="1589"/>
                  </a:cubicBezTo>
                  <a:cubicBezTo>
                    <a:pt x="1346" y="1582"/>
                    <a:pt x="1364" y="1579"/>
                    <a:pt x="1364" y="1579"/>
                  </a:cubicBezTo>
                  <a:cubicBezTo>
                    <a:pt x="1366" y="1571"/>
                    <a:pt x="1366" y="1571"/>
                    <a:pt x="1366" y="1571"/>
                  </a:cubicBezTo>
                  <a:cubicBezTo>
                    <a:pt x="1366" y="1571"/>
                    <a:pt x="1372" y="1574"/>
                    <a:pt x="1377" y="1573"/>
                  </a:cubicBezTo>
                  <a:cubicBezTo>
                    <a:pt x="1382" y="1572"/>
                    <a:pt x="1381" y="1560"/>
                    <a:pt x="1387" y="1559"/>
                  </a:cubicBezTo>
                  <a:cubicBezTo>
                    <a:pt x="1393" y="1558"/>
                    <a:pt x="1412" y="1561"/>
                    <a:pt x="1412" y="1561"/>
                  </a:cubicBezTo>
                  <a:cubicBezTo>
                    <a:pt x="1416" y="1571"/>
                    <a:pt x="1416" y="1571"/>
                    <a:pt x="1416" y="1571"/>
                  </a:cubicBezTo>
                  <a:cubicBezTo>
                    <a:pt x="1427" y="1569"/>
                    <a:pt x="1427" y="1569"/>
                    <a:pt x="1427" y="1569"/>
                  </a:cubicBezTo>
                  <a:cubicBezTo>
                    <a:pt x="1414" y="1554"/>
                    <a:pt x="1414" y="1554"/>
                    <a:pt x="1414" y="1554"/>
                  </a:cubicBezTo>
                  <a:cubicBezTo>
                    <a:pt x="1414" y="1554"/>
                    <a:pt x="1423" y="1550"/>
                    <a:pt x="1427" y="1545"/>
                  </a:cubicBezTo>
                  <a:cubicBezTo>
                    <a:pt x="1431" y="1540"/>
                    <a:pt x="1453" y="1539"/>
                    <a:pt x="1453" y="1539"/>
                  </a:cubicBezTo>
                  <a:cubicBezTo>
                    <a:pt x="1442" y="1529"/>
                    <a:pt x="1442" y="1529"/>
                    <a:pt x="1442" y="1529"/>
                  </a:cubicBezTo>
                  <a:cubicBezTo>
                    <a:pt x="1442" y="1529"/>
                    <a:pt x="1454" y="1519"/>
                    <a:pt x="1459" y="1519"/>
                  </a:cubicBezTo>
                  <a:cubicBezTo>
                    <a:pt x="1464" y="1519"/>
                    <a:pt x="1460" y="1535"/>
                    <a:pt x="1463" y="1535"/>
                  </a:cubicBezTo>
                  <a:cubicBezTo>
                    <a:pt x="1466" y="1535"/>
                    <a:pt x="1472" y="1518"/>
                    <a:pt x="1472" y="1518"/>
                  </a:cubicBezTo>
                  <a:cubicBezTo>
                    <a:pt x="1497" y="1523"/>
                    <a:pt x="1497" y="1523"/>
                    <a:pt x="1497" y="1523"/>
                  </a:cubicBezTo>
                  <a:cubicBezTo>
                    <a:pt x="1497" y="1523"/>
                    <a:pt x="1502" y="1503"/>
                    <a:pt x="1513" y="1502"/>
                  </a:cubicBezTo>
                  <a:cubicBezTo>
                    <a:pt x="1524" y="1501"/>
                    <a:pt x="1521" y="1523"/>
                    <a:pt x="1521" y="1523"/>
                  </a:cubicBezTo>
                  <a:cubicBezTo>
                    <a:pt x="1566" y="1518"/>
                    <a:pt x="1566" y="1518"/>
                    <a:pt x="1566" y="1518"/>
                  </a:cubicBezTo>
                  <a:cubicBezTo>
                    <a:pt x="1571" y="1506"/>
                    <a:pt x="1571" y="1506"/>
                    <a:pt x="1571" y="1506"/>
                  </a:cubicBezTo>
                  <a:cubicBezTo>
                    <a:pt x="1565" y="1499"/>
                    <a:pt x="1565" y="1499"/>
                    <a:pt x="1565" y="1499"/>
                  </a:cubicBezTo>
                  <a:cubicBezTo>
                    <a:pt x="1565" y="1499"/>
                    <a:pt x="1571" y="1491"/>
                    <a:pt x="1577" y="1482"/>
                  </a:cubicBezTo>
                  <a:cubicBezTo>
                    <a:pt x="1583" y="1473"/>
                    <a:pt x="1613" y="1468"/>
                    <a:pt x="1613" y="1468"/>
                  </a:cubicBezTo>
                  <a:cubicBezTo>
                    <a:pt x="1613" y="1468"/>
                    <a:pt x="1610" y="1455"/>
                    <a:pt x="1610" y="1452"/>
                  </a:cubicBezTo>
                  <a:cubicBezTo>
                    <a:pt x="1610" y="1449"/>
                    <a:pt x="1611" y="1408"/>
                    <a:pt x="1611" y="1408"/>
                  </a:cubicBezTo>
                  <a:cubicBezTo>
                    <a:pt x="1629" y="1388"/>
                    <a:pt x="1629" y="1388"/>
                    <a:pt x="1629" y="1388"/>
                  </a:cubicBezTo>
                  <a:cubicBezTo>
                    <a:pt x="1629" y="1372"/>
                    <a:pt x="1629" y="1372"/>
                    <a:pt x="1629" y="1372"/>
                  </a:cubicBezTo>
                  <a:cubicBezTo>
                    <a:pt x="1642" y="1369"/>
                    <a:pt x="1642" y="1369"/>
                    <a:pt x="1642" y="1369"/>
                  </a:cubicBezTo>
                  <a:cubicBezTo>
                    <a:pt x="1642" y="1347"/>
                    <a:pt x="1642" y="1347"/>
                    <a:pt x="1642" y="1347"/>
                  </a:cubicBezTo>
                  <a:cubicBezTo>
                    <a:pt x="1642" y="1347"/>
                    <a:pt x="1651" y="1342"/>
                    <a:pt x="1655" y="1342"/>
                  </a:cubicBezTo>
                  <a:cubicBezTo>
                    <a:pt x="1659" y="1342"/>
                    <a:pt x="1659" y="1317"/>
                    <a:pt x="1659" y="1317"/>
                  </a:cubicBezTo>
                  <a:cubicBezTo>
                    <a:pt x="1659" y="1317"/>
                    <a:pt x="1653" y="1288"/>
                    <a:pt x="1651" y="1273"/>
                  </a:cubicBezTo>
                  <a:cubicBezTo>
                    <a:pt x="1649" y="1258"/>
                    <a:pt x="1667" y="1246"/>
                    <a:pt x="1674" y="1240"/>
                  </a:cubicBezTo>
                  <a:cubicBezTo>
                    <a:pt x="1681" y="1234"/>
                    <a:pt x="1671" y="1213"/>
                    <a:pt x="1671" y="1213"/>
                  </a:cubicBezTo>
                  <a:cubicBezTo>
                    <a:pt x="1675" y="1175"/>
                    <a:pt x="1675" y="1175"/>
                    <a:pt x="1675" y="1175"/>
                  </a:cubicBezTo>
                  <a:cubicBezTo>
                    <a:pt x="1675" y="1175"/>
                    <a:pt x="1683" y="1145"/>
                    <a:pt x="1682" y="1134"/>
                  </a:cubicBezTo>
                  <a:cubicBezTo>
                    <a:pt x="1681" y="1123"/>
                    <a:pt x="1669" y="1065"/>
                    <a:pt x="1669" y="1065"/>
                  </a:cubicBezTo>
                  <a:cubicBezTo>
                    <a:pt x="1674" y="1041"/>
                    <a:pt x="1674" y="1041"/>
                    <a:pt x="1674" y="1041"/>
                  </a:cubicBezTo>
                  <a:cubicBezTo>
                    <a:pt x="1674" y="1041"/>
                    <a:pt x="1665" y="1010"/>
                    <a:pt x="1668" y="1002"/>
                  </a:cubicBezTo>
                  <a:cubicBezTo>
                    <a:pt x="1671" y="994"/>
                    <a:pt x="1682" y="984"/>
                    <a:pt x="1682" y="984"/>
                  </a:cubicBezTo>
                  <a:cubicBezTo>
                    <a:pt x="1674" y="972"/>
                    <a:pt x="1674" y="972"/>
                    <a:pt x="1674" y="972"/>
                  </a:cubicBezTo>
                  <a:cubicBezTo>
                    <a:pt x="1674" y="972"/>
                    <a:pt x="1681" y="962"/>
                    <a:pt x="1685" y="962"/>
                  </a:cubicBezTo>
                  <a:cubicBezTo>
                    <a:pt x="1689" y="962"/>
                    <a:pt x="1698" y="981"/>
                    <a:pt x="1698" y="981"/>
                  </a:cubicBezTo>
                  <a:cubicBezTo>
                    <a:pt x="1698" y="981"/>
                    <a:pt x="1720" y="961"/>
                    <a:pt x="1727" y="951"/>
                  </a:cubicBezTo>
                  <a:cubicBezTo>
                    <a:pt x="1734" y="941"/>
                    <a:pt x="1739" y="897"/>
                    <a:pt x="1739" y="897"/>
                  </a:cubicBezTo>
                  <a:cubicBezTo>
                    <a:pt x="1739" y="897"/>
                    <a:pt x="1745" y="893"/>
                    <a:pt x="1751" y="889"/>
                  </a:cubicBezTo>
                  <a:cubicBezTo>
                    <a:pt x="1757" y="885"/>
                    <a:pt x="1762" y="863"/>
                    <a:pt x="1762" y="863"/>
                  </a:cubicBezTo>
                  <a:cubicBezTo>
                    <a:pt x="1762" y="863"/>
                    <a:pt x="1775" y="856"/>
                    <a:pt x="1782" y="855"/>
                  </a:cubicBezTo>
                  <a:cubicBezTo>
                    <a:pt x="1789" y="854"/>
                    <a:pt x="1789" y="834"/>
                    <a:pt x="1789" y="834"/>
                  </a:cubicBezTo>
                  <a:cubicBezTo>
                    <a:pt x="1789" y="834"/>
                    <a:pt x="1803" y="829"/>
                    <a:pt x="1816" y="811"/>
                  </a:cubicBezTo>
                  <a:cubicBezTo>
                    <a:pt x="1829" y="793"/>
                    <a:pt x="1844" y="746"/>
                    <a:pt x="1844" y="746"/>
                  </a:cubicBezTo>
                  <a:cubicBezTo>
                    <a:pt x="1844" y="746"/>
                    <a:pt x="1856" y="733"/>
                    <a:pt x="1857" y="727"/>
                  </a:cubicBezTo>
                  <a:cubicBezTo>
                    <a:pt x="1858" y="721"/>
                    <a:pt x="1852" y="705"/>
                    <a:pt x="1852" y="705"/>
                  </a:cubicBezTo>
                  <a:cubicBezTo>
                    <a:pt x="1852" y="705"/>
                    <a:pt x="1855" y="684"/>
                    <a:pt x="1855" y="667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26" name="Freeform 142"/>
            <p:cNvSpPr>
              <a:spLocks noEditPoints="1"/>
            </p:cNvSpPr>
            <p:nvPr/>
          </p:nvSpPr>
          <p:spPr bwMode="auto">
            <a:xfrm>
              <a:off x="1426" y="3112"/>
              <a:ext cx="293" cy="767"/>
            </a:xfrm>
            <a:custGeom>
              <a:avLst/>
              <a:gdLst>
                <a:gd name="T0" fmla="*/ 0 w 771"/>
                <a:gd name="T1" fmla="*/ 0 h 2022"/>
                <a:gd name="T2" fmla="*/ 0 w 771"/>
                <a:gd name="T3" fmla="*/ 0 h 2022"/>
                <a:gd name="T4" fmla="*/ 0 w 771"/>
                <a:gd name="T5" fmla="*/ 0 h 2022"/>
                <a:gd name="T6" fmla="*/ 0 w 771"/>
                <a:gd name="T7" fmla="*/ 0 h 2022"/>
                <a:gd name="T8" fmla="*/ 0 w 771"/>
                <a:gd name="T9" fmla="*/ 0 h 2022"/>
                <a:gd name="T10" fmla="*/ 0 w 771"/>
                <a:gd name="T11" fmla="*/ 0 h 2022"/>
                <a:gd name="T12" fmla="*/ 0 w 771"/>
                <a:gd name="T13" fmla="*/ 0 h 2022"/>
                <a:gd name="T14" fmla="*/ 0 w 771"/>
                <a:gd name="T15" fmla="*/ 0 h 2022"/>
                <a:gd name="T16" fmla="*/ 0 w 771"/>
                <a:gd name="T17" fmla="*/ 0 h 2022"/>
                <a:gd name="T18" fmla="*/ 0 w 771"/>
                <a:gd name="T19" fmla="*/ 0 h 2022"/>
                <a:gd name="T20" fmla="*/ 0 w 771"/>
                <a:gd name="T21" fmla="*/ 0 h 2022"/>
                <a:gd name="T22" fmla="*/ 0 w 771"/>
                <a:gd name="T23" fmla="*/ 0 h 2022"/>
                <a:gd name="T24" fmla="*/ 0 w 771"/>
                <a:gd name="T25" fmla="*/ 0 h 2022"/>
                <a:gd name="T26" fmla="*/ 0 w 771"/>
                <a:gd name="T27" fmla="*/ 0 h 2022"/>
                <a:gd name="T28" fmla="*/ 0 w 771"/>
                <a:gd name="T29" fmla="*/ 0 h 2022"/>
                <a:gd name="T30" fmla="*/ 0 w 771"/>
                <a:gd name="T31" fmla="*/ 0 h 2022"/>
                <a:gd name="T32" fmla="*/ 0 w 771"/>
                <a:gd name="T33" fmla="*/ 0 h 2022"/>
                <a:gd name="T34" fmla="*/ 0 w 771"/>
                <a:gd name="T35" fmla="*/ 0 h 2022"/>
                <a:gd name="T36" fmla="*/ 0 w 771"/>
                <a:gd name="T37" fmla="*/ 0 h 2022"/>
                <a:gd name="T38" fmla="*/ 0 w 771"/>
                <a:gd name="T39" fmla="*/ 0 h 2022"/>
                <a:gd name="T40" fmla="*/ 0 w 771"/>
                <a:gd name="T41" fmla="*/ 0 h 2022"/>
                <a:gd name="T42" fmla="*/ 0 w 771"/>
                <a:gd name="T43" fmla="*/ 0 h 2022"/>
                <a:gd name="T44" fmla="*/ 0 w 771"/>
                <a:gd name="T45" fmla="*/ 0 h 2022"/>
                <a:gd name="T46" fmla="*/ 0 w 771"/>
                <a:gd name="T47" fmla="*/ 0 h 2022"/>
                <a:gd name="T48" fmla="*/ 0 w 771"/>
                <a:gd name="T49" fmla="*/ 0 h 2022"/>
                <a:gd name="T50" fmla="*/ 0 w 771"/>
                <a:gd name="T51" fmla="*/ 0 h 2022"/>
                <a:gd name="T52" fmla="*/ 0 w 771"/>
                <a:gd name="T53" fmla="*/ 0 h 2022"/>
                <a:gd name="T54" fmla="*/ 0 w 771"/>
                <a:gd name="T55" fmla="*/ 0 h 2022"/>
                <a:gd name="T56" fmla="*/ 0 w 771"/>
                <a:gd name="T57" fmla="*/ 0 h 2022"/>
                <a:gd name="T58" fmla="*/ 0 w 771"/>
                <a:gd name="T59" fmla="*/ 0 h 2022"/>
                <a:gd name="T60" fmla="*/ 0 w 771"/>
                <a:gd name="T61" fmla="*/ 0 h 2022"/>
                <a:gd name="T62" fmla="*/ 0 w 771"/>
                <a:gd name="T63" fmla="*/ 0 h 2022"/>
                <a:gd name="T64" fmla="*/ 0 w 771"/>
                <a:gd name="T65" fmla="*/ 0 h 2022"/>
                <a:gd name="T66" fmla="*/ 0 w 771"/>
                <a:gd name="T67" fmla="*/ 0 h 2022"/>
                <a:gd name="T68" fmla="*/ 0 w 771"/>
                <a:gd name="T69" fmla="*/ 0 h 2022"/>
                <a:gd name="T70" fmla="*/ 0 w 771"/>
                <a:gd name="T71" fmla="*/ 0 h 2022"/>
                <a:gd name="T72" fmla="*/ 0 w 771"/>
                <a:gd name="T73" fmla="*/ 0 h 2022"/>
                <a:gd name="T74" fmla="*/ 0 w 771"/>
                <a:gd name="T75" fmla="*/ 0 h 2022"/>
                <a:gd name="T76" fmla="*/ 0 w 771"/>
                <a:gd name="T77" fmla="*/ 0 h 2022"/>
                <a:gd name="T78" fmla="*/ 0 w 771"/>
                <a:gd name="T79" fmla="*/ 0 h 2022"/>
                <a:gd name="T80" fmla="*/ 0 w 771"/>
                <a:gd name="T81" fmla="*/ 0 h 2022"/>
                <a:gd name="T82" fmla="*/ 0 w 771"/>
                <a:gd name="T83" fmla="*/ 0 h 2022"/>
                <a:gd name="T84" fmla="*/ 0 w 771"/>
                <a:gd name="T85" fmla="*/ 0 h 2022"/>
                <a:gd name="T86" fmla="*/ 0 w 771"/>
                <a:gd name="T87" fmla="*/ 0 h 2022"/>
                <a:gd name="T88" fmla="*/ 0 w 771"/>
                <a:gd name="T89" fmla="*/ 0 h 2022"/>
                <a:gd name="T90" fmla="*/ 0 w 771"/>
                <a:gd name="T91" fmla="*/ 0 h 2022"/>
                <a:gd name="T92" fmla="*/ 0 w 771"/>
                <a:gd name="T93" fmla="*/ 0 h 2022"/>
                <a:gd name="T94" fmla="*/ 0 w 771"/>
                <a:gd name="T95" fmla="*/ 0 h 2022"/>
                <a:gd name="T96" fmla="*/ 0 w 771"/>
                <a:gd name="T97" fmla="*/ 0 h 2022"/>
                <a:gd name="T98" fmla="*/ 0 w 771"/>
                <a:gd name="T99" fmla="*/ 0 h 2022"/>
                <a:gd name="T100" fmla="*/ 0 w 771"/>
                <a:gd name="T101" fmla="*/ 0 h 2022"/>
                <a:gd name="T102" fmla="*/ 0 w 771"/>
                <a:gd name="T103" fmla="*/ 0 h 2022"/>
                <a:gd name="T104" fmla="*/ 0 w 771"/>
                <a:gd name="T105" fmla="*/ 0 h 2022"/>
                <a:gd name="T106" fmla="*/ 0 w 771"/>
                <a:gd name="T107" fmla="*/ 0 h 2022"/>
                <a:gd name="T108" fmla="*/ 0 w 771"/>
                <a:gd name="T109" fmla="*/ 0 h 2022"/>
                <a:gd name="T110" fmla="*/ 0 w 771"/>
                <a:gd name="T111" fmla="*/ 0 h 2022"/>
                <a:gd name="T112" fmla="*/ 0 w 771"/>
                <a:gd name="T113" fmla="*/ 0 h 2022"/>
                <a:gd name="T114" fmla="*/ 0 w 771"/>
                <a:gd name="T115" fmla="*/ 0 h 2022"/>
                <a:gd name="T116" fmla="*/ 0 w 771"/>
                <a:gd name="T117" fmla="*/ 0 h 2022"/>
                <a:gd name="T118" fmla="*/ 0 w 771"/>
                <a:gd name="T119" fmla="*/ 0 h 2022"/>
                <a:gd name="T120" fmla="*/ 0 w 771"/>
                <a:gd name="T121" fmla="*/ 0 h 202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71"/>
                <a:gd name="T184" fmla="*/ 0 h 2022"/>
                <a:gd name="T185" fmla="*/ 771 w 771"/>
                <a:gd name="T186" fmla="*/ 2022 h 202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71" h="2022">
                  <a:moveTo>
                    <a:pt x="677" y="1942"/>
                  </a:moveTo>
                  <a:cubicBezTo>
                    <a:pt x="625" y="1916"/>
                    <a:pt x="625" y="1903"/>
                    <a:pt x="625" y="1903"/>
                  </a:cubicBezTo>
                  <a:cubicBezTo>
                    <a:pt x="602" y="1903"/>
                    <a:pt x="602" y="1903"/>
                    <a:pt x="602" y="1903"/>
                  </a:cubicBezTo>
                  <a:cubicBezTo>
                    <a:pt x="606" y="1892"/>
                    <a:pt x="606" y="1892"/>
                    <a:pt x="606" y="1892"/>
                  </a:cubicBezTo>
                  <a:cubicBezTo>
                    <a:pt x="580" y="1866"/>
                    <a:pt x="580" y="1866"/>
                    <a:pt x="580" y="1866"/>
                  </a:cubicBezTo>
                  <a:cubicBezTo>
                    <a:pt x="559" y="1872"/>
                    <a:pt x="559" y="1872"/>
                    <a:pt x="559" y="1872"/>
                  </a:cubicBezTo>
                  <a:cubicBezTo>
                    <a:pt x="550" y="1864"/>
                    <a:pt x="550" y="1864"/>
                    <a:pt x="550" y="1864"/>
                  </a:cubicBezTo>
                  <a:cubicBezTo>
                    <a:pt x="543" y="1876"/>
                    <a:pt x="543" y="1876"/>
                    <a:pt x="543" y="1876"/>
                  </a:cubicBezTo>
                  <a:cubicBezTo>
                    <a:pt x="530" y="1879"/>
                    <a:pt x="530" y="1879"/>
                    <a:pt x="530" y="1879"/>
                  </a:cubicBezTo>
                  <a:cubicBezTo>
                    <a:pt x="531" y="1890"/>
                    <a:pt x="531" y="1890"/>
                    <a:pt x="531" y="1890"/>
                  </a:cubicBezTo>
                  <a:cubicBezTo>
                    <a:pt x="520" y="1892"/>
                    <a:pt x="520" y="1892"/>
                    <a:pt x="520" y="1892"/>
                  </a:cubicBezTo>
                  <a:cubicBezTo>
                    <a:pt x="521" y="1910"/>
                    <a:pt x="521" y="1910"/>
                    <a:pt x="521" y="1910"/>
                  </a:cubicBezTo>
                  <a:cubicBezTo>
                    <a:pt x="534" y="1923"/>
                    <a:pt x="557" y="1900"/>
                    <a:pt x="557" y="1900"/>
                  </a:cubicBezTo>
                  <a:cubicBezTo>
                    <a:pt x="572" y="1906"/>
                    <a:pt x="572" y="1906"/>
                    <a:pt x="572" y="1906"/>
                  </a:cubicBezTo>
                  <a:cubicBezTo>
                    <a:pt x="572" y="1919"/>
                    <a:pt x="572" y="1919"/>
                    <a:pt x="572" y="1919"/>
                  </a:cubicBezTo>
                  <a:cubicBezTo>
                    <a:pt x="572" y="1919"/>
                    <a:pt x="541" y="1934"/>
                    <a:pt x="552" y="1938"/>
                  </a:cubicBezTo>
                  <a:cubicBezTo>
                    <a:pt x="562" y="1942"/>
                    <a:pt x="615" y="1960"/>
                    <a:pt x="615" y="1960"/>
                  </a:cubicBezTo>
                  <a:cubicBezTo>
                    <a:pt x="605" y="1974"/>
                    <a:pt x="605" y="1974"/>
                    <a:pt x="605" y="1974"/>
                  </a:cubicBezTo>
                  <a:cubicBezTo>
                    <a:pt x="605" y="1974"/>
                    <a:pt x="602" y="1961"/>
                    <a:pt x="592" y="1961"/>
                  </a:cubicBezTo>
                  <a:cubicBezTo>
                    <a:pt x="582" y="1961"/>
                    <a:pt x="579" y="1968"/>
                    <a:pt x="579" y="1968"/>
                  </a:cubicBezTo>
                  <a:cubicBezTo>
                    <a:pt x="567" y="1954"/>
                    <a:pt x="567" y="1954"/>
                    <a:pt x="567" y="1954"/>
                  </a:cubicBezTo>
                  <a:cubicBezTo>
                    <a:pt x="556" y="1958"/>
                    <a:pt x="556" y="1958"/>
                    <a:pt x="556" y="1958"/>
                  </a:cubicBezTo>
                  <a:cubicBezTo>
                    <a:pt x="565" y="1965"/>
                    <a:pt x="565" y="1965"/>
                    <a:pt x="565" y="1965"/>
                  </a:cubicBezTo>
                  <a:cubicBezTo>
                    <a:pt x="544" y="1962"/>
                    <a:pt x="544" y="1962"/>
                    <a:pt x="544" y="1962"/>
                  </a:cubicBezTo>
                  <a:cubicBezTo>
                    <a:pt x="544" y="1962"/>
                    <a:pt x="550" y="1978"/>
                    <a:pt x="566" y="1978"/>
                  </a:cubicBezTo>
                  <a:cubicBezTo>
                    <a:pt x="582" y="1978"/>
                    <a:pt x="595" y="1978"/>
                    <a:pt x="595" y="1978"/>
                  </a:cubicBezTo>
                  <a:cubicBezTo>
                    <a:pt x="595" y="1978"/>
                    <a:pt x="611" y="1984"/>
                    <a:pt x="621" y="1983"/>
                  </a:cubicBezTo>
                  <a:cubicBezTo>
                    <a:pt x="631" y="1981"/>
                    <a:pt x="676" y="1981"/>
                    <a:pt x="690" y="1981"/>
                  </a:cubicBezTo>
                  <a:cubicBezTo>
                    <a:pt x="705" y="1981"/>
                    <a:pt x="725" y="1994"/>
                    <a:pt x="725" y="1994"/>
                  </a:cubicBezTo>
                  <a:cubicBezTo>
                    <a:pt x="746" y="1983"/>
                    <a:pt x="746" y="1983"/>
                    <a:pt x="746" y="1983"/>
                  </a:cubicBezTo>
                  <a:cubicBezTo>
                    <a:pt x="758" y="1987"/>
                    <a:pt x="758" y="1987"/>
                    <a:pt x="758" y="1987"/>
                  </a:cubicBezTo>
                  <a:cubicBezTo>
                    <a:pt x="770" y="1986"/>
                    <a:pt x="770" y="1986"/>
                    <a:pt x="770" y="1986"/>
                  </a:cubicBezTo>
                  <a:cubicBezTo>
                    <a:pt x="771" y="1970"/>
                    <a:pt x="771" y="1970"/>
                    <a:pt x="771" y="1970"/>
                  </a:cubicBezTo>
                  <a:cubicBezTo>
                    <a:pt x="771" y="1970"/>
                    <a:pt x="729" y="1968"/>
                    <a:pt x="677" y="1942"/>
                  </a:cubicBezTo>
                  <a:close/>
                  <a:moveTo>
                    <a:pt x="658" y="1993"/>
                  </a:moveTo>
                  <a:cubicBezTo>
                    <a:pt x="676" y="2003"/>
                    <a:pt x="676" y="2003"/>
                    <a:pt x="676" y="2003"/>
                  </a:cubicBezTo>
                  <a:cubicBezTo>
                    <a:pt x="712" y="2006"/>
                    <a:pt x="712" y="2006"/>
                    <a:pt x="712" y="2006"/>
                  </a:cubicBezTo>
                  <a:cubicBezTo>
                    <a:pt x="693" y="1988"/>
                    <a:pt x="693" y="1988"/>
                    <a:pt x="693" y="1988"/>
                  </a:cubicBezTo>
                  <a:lnTo>
                    <a:pt x="658" y="1993"/>
                  </a:lnTo>
                  <a:close/>
                  <a:moveTo>
                    <a:pt x="638" y="1997"/>
                  </a:moveTo>
                  <a:cubicBezTo>
                    <a:pt x="644" y="1991"/>
                    <a:pt x="644" y="1991"/>
                    <a:pt x="644" y="1991"/>
                  </a:cubicBezTo>
                  <a:cubicBezTo>
                    <a:pt x="617" y="1988"/>
                    <a:pt x="617" y="1988"/>
                    <a:pt x="617" y="1988"/>
                  </a:cubicBezTo>
                  <a:cubicBezTo>
                    <a:pt x="593" y="1988"/>
                    <a:pt x="593" y="1988"/>
                    <a:pt x="593" y="1988"/>
                  </a:cubicBezTo>
                  <a:cubicBezTo>
                    <a:pt x="602" y="2012"/>
                    <a:pt x="602" y="2012"/>
                    <a:pt x="602" y="2012"/>
                  </a:cubicBezTo>
                  <a:cubicBezTo>
                    <a:pt x="625" y="2014"/>
                    <a:pt x="625" y="2014"/>
                    <a:pt x="625" y="2014"/>
                  </a:cubicBezTo>
                  <a:cubicBezTo>
                    <a:pt x="619" y="2004"/>
                    <a:pt x="619" y="2004"/>
                    <a:pt x="619" y="2004"/>
                  </a:cubicBezTo>
                  <a:cubicBezTo>
                    <a:pt x="625" y="2000"/>
                    <a:pt x="625" y="2000"/>
                    <a:pt x="625" y="2000"/>
                  </a:cubicBezTo>
                  <a:cubicBezTo>
                    <a:pt x="632" y="2010"/>
                    <a:pt x="632" y="2010"/>
                    <a:pt x="632" y="2010"/>
                  </a:cubicBezTo>
                  <a:cubicBezTo>
                    <a:pt x="663" y="2010"/>
                    <a:pt x="663" y="2010"/>
                    <a:pt x="663" y="2010"/>
                  </a:cubicBezTo>
                  <a:cubicBezTo>
                    <a:pt x="673" y="2022"/>
                    <a:pt x="673" y="2022"/>
                    <a:pt x="673" y="2022"/>
                  </a:cubicBezTo>
                  <a:cubicBezTo>
                    <a:pt x="686" y="2022"/>
                    <a:pt x="686" y="2022"/>
                    <a:pt x="686" y="2022"/>
                  </a:cubicBezTo>
                  <a:cubicBezTo>
                    <a:pt x="666" y="2001"/>
                    <a:pt x="666" y="2001"/>
                    <a:pt x="666" y="2001"/>
                  </a:cubicBezTo>
                  <a:lnTo>
                    <a:pt x="638" y="1997"/>
                  </a:lnTo>
                  <a:close/>
                  <a:moveTo>
                    <a:pt x="537" y="1967"/>
                  </a:moveTo>
                  <a:cubicBezTo>
                    <a:pt x="495" y="1962"/>
                    <a:pt x="495" y="1962"/>
                    <a:pt x="495" y="1962"/>
                  </a:cubicBezTo>
                  <a:cubicBezTo>
                    <a:pt x="500" y="1974"/>
                    <a:pt x="500" y="1974"/>
                    <a:pt x="500" y="1974"/>
                  </a:cubicBezTo>
                  <a:cubicBezTo>
                    <a:pt x="527" y="1973"/>
                    <a:pt x="527" y="1973"/>
                    <a:pt x="527" y="1973"/>
                  </a:cubicBezTo>
                  <a:cubicBezTo>
                    <a:pt x="537" y="1987"/>
                    <a:pt x="537" y="1987"/>
                    <a:pt x="537" y="1987"/>
                  </a:cubicBezTo>
                  <a:cubicBezTo>
                    <a:pt x="575" y="2003"/>
                    <a:pt x="575" y="2003"/>
                    <a:pt x="575" y="2003"/>
                  </a:cubicBezTo>
                  <a:cubicBezTo>
                    <a:pt x="552" y="1983"/>
                    <a:pt x="552" y="1983"/>
                    <a:pt x="552" y="1983"/>
                  </a:cubicBezTo>
                  <a:lnTo>
                    <a:pt x="537" y="1967"/>
                  </a:lnTo>
                  <a:close/>
                  <a:moveTo>
                    <a:pt x="534" y="1924"/>
                  </a:moveTo>
                  <a:cubicBezTo>
                    <a:pt x="526" y="1935"/>
                    <a:pt x="526" y="1935"/>
                    <a:pt x="526" y="1935"/>
                  </a:cubicBezTo>
                  <a:cubicBezTo>
                    <a:pt x="530" y="1955"/>
                    <a:pt x="530" y="1955"/>
                    <a:pt x="530" y="1955"/>
                  </a:cubicBezTo>
                  <a:cubicBezTo>
                    <a:pt x="546" y="1949"/>
                    <a:pt x="546" y="1949"/>
                    <a:pt x="546" y="1949"/>
                  </a:cubicBezTo>
                  <a:lnTo>
                    <a:pt x="534" y="1924"/>
                  </a:lnTo>
                  <a:close/>
                  <a:moveTo>
                    <a:pt x="515" y="1954"/>
                  </a:moveTo>
                  <a:cubicBezTo>
                    <a:pt x="513" y="1942"/>
                    <a:pt x="513" y="1942"/>
                    <a:pt x="513" y="1942"/>
                  </a:cubicBezTo>
                  <a:cubicBezTo>
                    <a:pt x="479" y="1934"/>
                    <a:pt x="479" y="1934"/>
                    <a:pt x="479" y="1934"/>
                  </a:cubicBezTo>
                  <a:cubicBezTo>
                    <a:pt x="471" y="1945"/>
                    <a:pt x="471" y="1945"/>
                    <a:pt x="471" y="1945"/>
                  </a:cubicBezTo>
                  <a:cubicBezTo>
                    <a:pt x="472" y="1958"/>
                    <a:pt x="472" y="1958"/>
                    <a:pt x="472" y="1958"/>
                  </a:cubicBezTo>
                  <a:cubicBezTo>
                    <a:pt x="495" y="1949"/>
                    <a:pt x="495" y="1949"/>
                    <a:pt x="495" y="1949"/>
                  </a:cubicBezTo>
                  <a:lnTo>
                    <a:pt x="515" y="1954"/>
                  </a:lnTo>
                  <a:close/>
                  <a:moveTo>
                    <a:pt x="407" y="1848"/>
                  </a:moveTo>
                  <a:cubicBezTo>
                    <a:pt x="407" y="1848"/>
                    <a:pt x="381" y="1835"/>
                    <a:pt x="378" y="1847"/>
                  </a:cubicBezTo>
                  <a:cubicBezTo>
                    <a:pt x="375" y="1859"/>
                    <a:pt x="371" y="1874"/>
                    <a:pt x="375" y="1874"/>
                  </a:cubicBezTo>
                  <a:cubicBezTo>
                    <a:pt x="380" y="1874"/>
                    <a:pt x="397" y="1867"/>
                    <a:pt x="397" y="1867"/>
                  </a:cubicBezTo>
                  <a:cubicBezTo>
                    <a:pt x="399" y="1883"/>
                    <a:pt x="399" y="1883"/>
                    <a:pt x="399" y="1883"/>
                  </a:cubicBezTo>
                  <a:cubicBezTo>
                    <a:pt x="420" y="1873"/>
                    <a:pt x="420" y="1873"/>
                    <a:pt x="420" y="1873"/>
                  </a:cubicBezTo>
                  <a:cubicBezTo>
                    <a:pt x="409" y="1863"/>
                    <a:pt x="409" y="1863"/>
                    <a:pt x="409" y="1863"/>
                  </a:cubicBezTo>
                  <a:cubicBezTo>
                    <a:pt x="413" y="1851"/>
                    <a:pt x="413" y="1851"/>
                    <a:pt x="413" y="1851"/>
                  </a:cubicBezTo>
                  <a:lnTo>
                    <a:pt x="407" y="1848"/>
                  </a:lnTo>
                  <a:close/>
                  <a:moveTo>
                    <a:pt x="368" y="1886"/>
                  </a:moveTo>
                  <a:cubicBezTo>
                    <a:pt x="345" y="1873"/>
                    <a:pt x="345" y="1873"/>
                    <a:pt x="345" y="1873"/>
                  </a:cubicBezTo>
                  <a:cubicBezTo>
                    <a:pt x="362" y="1892"/>
                    <a:pt x="362" y="1892"/>
                    <a:pt x="362" y="1892"/>
                  </a:cubicBezTo>
                  <a:cubicBezTo>
                    <a:pt x="393" y="1896"/>
                    <a:pt x="393" y="1896"/>
                    <a:pt x="393" y="1896"/>
                  </a:cubicBezTo>
                  <a:cubicBezTo>
                    <a:pt x="404" y="1903"/>
                    <a:pt x="404" y="1903"/>
                    <a:pt x="404" y="1903"/>
                  </a:cubicBezTo>
                  <a:cubicBezTo>
                    <a:pt x="393" y="1889"/>
                    <a:pt x="393" y="1889"/>
                    <a:pt x="393" y="1889"/>
                  </a:cubicBezTo>
                  <a:lnTo>
                    <a:pt x="368" y="1886"/>
                  </a:lnTo>
                  <a:close/>
                  <a:moveTo>
                    <a:pt x="368" y="1835"/>
                  </a:moveTo>
                  <a:cubicBezTo>
                    <a:pt x="355" y="1822"/>
                    <a:pt x="355" y="1822"/>
                    <a:pt x="355" y="1822"/>
                  </a:cubicBezTo>
                  <a:cubicBezTo>
                    <a:pt x="351" y="1844"/>
                    <a:pt x="351" y="1844"/>
                    <a:pt x="351" y="1844"/>
                  </a:cubicBezTo>
                  <a:cubicBezTo>
                    <a:pt x="336" y="1848"/>
                    <a:pt x="336" y="1848"/>
                    <a:pt x="336" y="1848"/>
                  </a:cubicBezTo>
                  <a:cubicBezTo>
                    <a:pt x="365" y="1860"/>
                    <a:pt x="365" y="1860"/>
                    <a:pt x="365" y="1860"/>
                  </a:cubicBezTo>
                  <a:lnTo>
                    <a:pt x="368" y="1835"/>
                  </a:lnTo>
                  <a:close/>
                  <a:moveTo>
                    <a:pt x="296" y="1827"/>
                  </a:moveTo>
                  <a:cubicBezTo>
                    <a:pt x="319" y="1848"/>
                    <a:pt x="319" y="1848"/>
                    <a:pt x="319" y="1848"/>
                  </a:cubicBezTo>
                  <a:cubicBezTo>
                    <a:pt x="326" y="1841"/>
                    <a:pt x="326" y="1841"/>
                    <a:pt x="326" y="1841"/>
                  </a:cubicBezTo>
                  <a:cubicBezTo>
                    <a:pt x="306" y="1818"/>
                    <a:pt x="306" y="1818"/>
                    <a:pt x="306" y="1818"/>
                  </a:cubicBezTo>
                  <a:lnTo>
                    <a:pt x="296" y="1827"/>
                  </a:lnTo>
                  <a:close/>
                  <a:moveTo>
                    <a:pt x="342" y="1820"/>
                  </a:moveTo>
                  <a:cubicBezTo>
                    <a:pt x="335" y="1814"/>
                    <a:pt x="335" y="1814"/>
                    <a:pt x="335" y="1814"/>
                  </a:cubicBezTo>
                  <a:cubicBezTo>
                    <a:pt x="329" y="1824"/>
                    <a:pt x="329" y="1824"/>
                    <a:pt x="329" y="1824"/>
                  </a:cubicBezTo>
                  <a:cubicBezTo>
                    <a:pt x="336" y="1833"/>
                    <a:pt x="336" y="1833"/>
                    <a:pt x="336" y="1833"/>
                  </a:cubicBezTo>
                  <a:lnTo>
                    <a:pt x="342" y="1820"/>
                  </a:lnTo>
                  <a:close/>
                  <a:moveTo>
                    <a:pt x="303" y="1805"/>
                  </a:moveTo>
                  <a:cubicBezTo>
                    <a:pt x="306" y="1788"/>
                    <a:pt x="306" y="1788"/>
                    <a:pt x="306" y="1788"/>
                  </a:cubicBezTo>
                  <a:cubicBezTo>
                    <a:pt x="303" y="1763"/>
                    <a:pt x="303" y="1763"/>
                    <a:pt x="303" y="1763"/>
                  </a:cubicBezTo>
                  <a:cubicBezTo>
                    <a:pt x="292" y="1759"/>
                    <a:pt x="292" y="1759"/>
                    <a:pt x="292" y="1759"/>
                  </a:cubicBezTo>
                  <a:cubicBezTo>
                    <a:pt x="292" y="1770"/>
                    <a:pt x="292" y="1770"/>
                    <a:pt x="292" y="1770"/>
                  </a:cubicBezTo>
                  <a:cubicBezTo>
                    <a:pt x="270" y="1766"/>
                    <a:pt x="270" y="1766"/>
                    <a:pt x="270" y="1766"/>
                  </a:cubicBezTo>
                  <a:cubicBezTo>
                    <a:pt x="287" y="1789"/>
                    <a:pt x="287" y="1789"/>
                    <a:pt x="287" y="1789"/>
                  </a:cubicBezTo>
                  <a:cubicBezTo>
                    <a:pt x="283" y="1818"/>
                    <a:pt x="283" y="1818"/>
                    <a:pt x="283" y="1818"/>
                  </a:cubicBezTo>
                  <a:lnTo>
                    <a:pt x="303" y="1805"/>
                  </a:lnTo>
                  <a:close/>
                  <a:moveTo>
                    <a:pt x="243" y="1752"/>
                  </a:moveTo>
                  <a:cubicBezTo>
                    <a:pt x="254" y="1753"/>
                    <a:pt x="254" y="1753"/>
                    <a:pt x="254" y="1753"/>
                  </a:cubicBezTo>
                  <a:cubicBezTo>
                    <a:pt x="261" y="1775"/>
                    <a:pt x="261" y="1775"/>
                    <a:pt x="261" y="1775"/>
                  </a:cubicBezTo>
                  <a:cubicBezTo>
                    <a:pt x="266" y="1755"/>
                    <a:pt x="266" y="1755"/>
                    <a:pt x="266" y="1755"/>
                  </a:cubicBezTo>
                  <a:cubicBezTo>
                    <a:pt x="267" y="1739"/>
                    <a:pt x="267" y="1739"/>
                    <a:pt x="267" y="1739"/>
                  </a:cubicBezTo>
                  <a:cubicBezTo>
                    <a:pt x="250" y="1734"/>
                    <a:pt x="250" y="1734"/>
                    <a:pt x="250" y="1734"/>
                  </a:cubicBezTo>
                  <a:lnTo>
                    <a:pt x="243" y="1752"/>
                  </a:lnTo>
                  <a:close/>
                  <a:moveTo>
                    <a:pt x="248" y="1727"/>
                  </a:moveTo>
                  <a:cubicBezTo>
                    <a:pt x="253" y="1726"/>
                    <a:pt x="256" y="1717"/>
                    <a:pt x="256" y="1717"/>
                  </a:cubicBezTo>
                  <a:cubicBezTo>
                    <a:pt x="276" y="1734"/>
                    <a:pt x="276" y="1734"/>
                    <a:pt x="276" y="1734"/>
                  </a:cubicBezTo>
                  <a:cubicBezTo>
                    <a:pt x="277" y="1718"/>
                    <a:pt x="277" y="1718"/>
                    <a:pt x="277" y="1718"/>
                  </a:cubicBezTo>
                  <a:cubicBezTo>
                    <a:pt x="257" y="1697"/>
                    <a:pt x="257" y="1697"/>
                    <a:pt x="257" y="1697"/>
                  </a:cubicBezTo>
                  <a:cubicBezTo>
                    <a:pt x="257" y="1697"/>
                    <a:pt x="241" y="1674"/>
                    <a:pt x="241" y="1662"/>
                  </a:cubicBezTo>
                  <a:cubicBezTo>
                    <a:pt x="241" y="1651"/>
                    <a:pt x="230" y="1639"/>
                    <a:pt x="219" y="1633"/>
                  </a:cubicBezTo>
                  <a:cubicBezTo>
                    <a:pt x="209" y="1628"/>
                    <a:pt x="209" y="1639"/>
                    <a:pt x="209" y="1639"/>
                  </a:cubicBezTo>
                  <a:cubicBezTo>
                    <a:pt x="195" y="1635"/>
                    <a:pt x="195" y="1635"/>
                    <a:pt x="195" y="1635"/>
                  </a:cubicBezTo>
                  <a:cubicBezTo>
                    <a:pt x="195" y="1635"/>
                    <a:pt x="180" y="1662"/>
                    <a:pt x="191" y="1662"/>
                  </a:cubicBezTo>
                  <a:cubicBezTo>
                    <a:pt x="201" y="1662"/>
                    <a:pt x="221" y="1662"/>
                    <a:pt x="221" y="1662"/>
                  </a:cubicBezTo>
                  <a:cubicBezTo>
                    <a:pt x="208" y="1688"/>
                    <a:pt x="208" y="1688"/>
                    <a:pt x="208" y="1688"/>
                  </a:cubicBezTo>
                  <a:cubicBezTo>
                    <a:pt x="217" y="1688"/>
                    <a:pt x="217" y="1688"/>
                    <a:pt x="217" y="1688"/>
                  </a:cubicBezTo>
                  <a:cubicBezTo>
                    <a:pt x="231" y="1675"/>
                    <a:pt x="231" y="1675"/>
                    <a:pt x="231" y="1675"/>
                  </a:cubicBezTo>
                  <a:cubicBezTo>
                    <a:pt x="230" y="1691"/>
                    <a:pt x="230" y="1691"/>
                    <a:pt x="230" y="1691"/>
                  </a:cubicBezTo>
                  <a:cubicBezTo>
                    <a:pt x="230" y="1691"/>
                    <a:pt x="244" y="1729"/>
                    <a:pt x="248" y="1727"/>
                  </a:cubicBezTo>
                  <a:close/>
                  <a:moveTo>
                    <a:pt x="163" y="1391"/>
                  </a:moveTo>
                  <a:cubicBezTo>
                    <a:pt x="165" y="1359"/>
                    <a:pt x="165" y="1359"/>
                    <a:pt x="165" y="1359"/>
                  </a:cubicBezTo>
                  <a:cubicBezTo>
                    <a:pt x="144" y="1339"/>
                    <a:pt x="144" y="1339"/>
                    <a:pt x="144" y="1339"/>
                  </a:cubicBezTo>
                  <a:cubicBezTo>
                    <a:pt x="154" y="1329"/>
                    <a:pt x="154" y="1329"/>
                    <a:pt x="154" y="1329"/>
                  </a:cubicBezTo>
                  <a:cubicBezTo>
                    <a:pt x="140" y="1313"/>
                    <a:pt x="140" y="1313"/>
                    <a:pt x="140" y="1313"/>
                  </a:cubicBezTo>
                  <a:cubicBezTo>
                    <a:pt x="117" y="1304"/>
                    <a:pt x="117" y="1304"/>
                    <a:pt x="117" y="1304"/>
                  </a:cubicBezTo>
                  <a:cubicBezTo>
                    <a:pt x="117" y="1304"/>
                    <a:pt x="114" y="1340"/>
                    <a:pt x="123" y="1343"/>
                  </a:cubicBezTo>
                  <a:cubicBezTo>
                    <a:pt x="131" y="1346"/>
                    <a:pt x="137" y="1366"/>
                    <a:pt x="137" y="1366"/>
                  </a:cubicBezTo>
                  <a:cubicBezTo>
                    <a:pt x="133" y="1379"/>
                    <a:pt x="133" y="1379"/>
                    <a:pt x="133" y="1379"/>
                  </a:cubicBezTo>
                  <a:lnTo>
                    <a:pt x="163" y="1391"/>
                  </a:lnTo>
                  <a:close/>
                  <a:moveTo>
                    <a:pt x="163" y="1453"/>
                  </a:moveTo>
                  <a:cubicBezTo>
                    <a:pt x="170" y="1461"/>
                    <a:pt x="170" y="1461"/>
                    <a:pt x="170" y="1461"/>
                  </a:cubicBezTo>
                  <a:cubicBezTo>
                    <a:pt x="188" y="1461"/>
                    <a:pt x="188" y="1461"/>
                    <a:pt x="188" y="1461"/>
                  </a:cubicBezTo>
                  <a:cubicBezTo>
                    <a:pt x="195" y="1448"/>
                    <a:pt x="195" y="1448"/>
                    <a:pt x="195" y="1448"/>
                  </a:cubicBezTo>
                  <a:cubicBezTo>
                    <a:pt x="176" y="1453"/>
                    <a:pt x="176" y="1453"/>
                    <a:pt x="176" y="1453"/>
                  </a:cubicBezTo>
                  <a:lnTo>
                    <a:pt x="163" y="1453"/>
                  </a:lnTo>
                  <a:close/>
                  <a:moveTo>
                    <a:pt x="186" y="1483"/>
                  </a:moveTo>
                  <a:cubicBezTo>
                    <a:pt x="188" y="1495"/>
                    <a:pt x="188" y="1495"/>
                    <a:pt x="188" y="1495"/>
                  </a:cubicBezTo>
                  <a:cubicBezTo>
                    <a:pt x="204" y="1505"/>
                    <a:pt x="204" y="1505"/>
                    <a:pt x="204" y="1505"/>
                  </a:cubicBezTo>
                  <a:cubicBezTo>
                    <a:pt x="204" y="1489"/>
                    <a:pt x="204" y="1489"/>
                    <a:pt x="204" y="1489"/>
                  </a:cubicBezTo>
                  <a:cubicBezTo>
                    <a:pt x="195" y="1473"/>
                    <a:pt x="195" y="1473"/>
                    <a:pt x="195" y="1473"/>
                  </a:cubicBezTo>
                  <a:cubicBezTo>
                    <a:pt x="173" y="1474"/>
                    <a:pt x="173" y="1474"/>
                    <a:pt x="173" y="1474"/>
                  </a:cubicBezTo>
                  <a:lnTo>
                    <a:pt x="186" y="1483"/>
                  </a:lnTo>
                  <a:close/>
                  <a:moveTo>
                    <a:pt x="212" y="1463"/>
                  </a:moveTo>
                  <a:cubicBezTo>
                    <a:pt x="212" y="1463"/>
                    <a:pt x="244" y="1444"/>
                    <a:pt x="222" y="1440"/>
                  </a:cubicBezTo>
                  <a:cubicBezTo>
                    <a:pt x="201" y="1435"/>
                    <a:pt x="199" y="1463"/>
                    <a:pt x="212" y="1463"/>
                  </a:cubicBezTo>
                  <a:close/>
                  <a:moveTo>
                    <a:pt x="166" y="1409"/>
                  </a:moveTo>
                  <a:cubicBezTo>
                    <a:pt x="152" y="1420"/>
                    <a:pt x="159" y="1430"/>
                    <a:pt x="169" y="1427"/>
                  </a:cubicBezTo>
                  <a:cubicBezTo>
                    <a:pt x="181" y="1423"/>
                    <a:pt x="180" y="1399"/>
                    <a:pt x="166" y="1409"/>
                  </a:cubicBezTo>
                  <a:close/>
                  <a:moveTo>
                    <a:pt x="156" y="1437"/>
                  </a:moveTo>
                  <a:cubicBezTo>
                    <a:pt x="143" y="1440"/>
                    <a:pt x="143" y="1440"/>
                    <a:pt x="143" y="1440"/>
                  </a:cubicBezTo>
                  <a:cubicBezTo>
                    <a:pt x="150" y="1453"/>
                    <a:pt x="150" y="1453"/>
                    <a:pt x="150" y="1453"/>
                  </a:cubicBezTo>
                  <a:lnTo>
                    <a:pt x="156" y="1437"/>
                  </a:lnTo>
                  <a:close/>
                  <a:moveTo>
                    <a:pt x="476" y="1919"/>
                  </a:moveTo>
                  <a:cubicBezTo>
                    <a:pt x="485" y="1915"/>
                    <a:pt x="484" y="1925"/>
                    <a:pt x="484" y="1925"/>
                  </a:cubicBezTo>
                  <a:cubicBezTo>
                    <a:pt x="484" y="1925"/>
                    <a:pt x="499" y="1928"/>
                    <a:pt x="514" y="1925"/>
                  </a:cubicBezTo>
                  <a:cubicBezTo>
                    <a:pt x="528" y="1921"/>
                    <a:pt x="498" y="1899"/>
                    <a:pt x="498" y="1899"/>
                  </a:cubicBezTo>
                  <a:cubicBezTo>
                    <a:pt x="498" y="1874"/>
                    <a:pt x="498" y="1874"/>
                    <a:pt x="498" y="1874"/>
                  </a:cubicBezTo>
                  <a:cubicBezTo>
                    <a:pt x="523" y="1872"/>
                    <a:pt x="523" y="1872"/>
                    <a:pt x="523" y="1872"/>
                  </a:cubicBezTo>
                  <a:cubicBezTo>
                    <a:pt x="521" y="1860"/>
                    <a:pt x="521" y="1860"/>
                    <a:pt x="521" y="1860"/>
                  </a:cubicBezTo>
                  <a:cubicBezTo>
                    <a:pt x="537" y="1862"/>
                    <a:pt x="537" y="1862"/>
                    <a:pt x="537" y="1862"/>
                  </a:cubicBezTo>
                  <a:cubicBezTo>
                    <a:pt x="542" y="1850"/>
                    <a:pt x="542" y="1850"/>
                    <a:pt x="542" y="1850"/>
                  </a:cubicBezTo>
                  <a:cubicBezTo>
                    <a:pt x="527" y="1838"/>
                    <a:pt x="527" y="1838"/>
                    <a:pt x="527" y="1838"/>
                  </a:cubicBezTo>
                  <a:cubicBezTo>
                    <a:pt x="527" y="1838"/>
                    <a:pt x="507" y="1839"/>
                    <a:pt x="491" y="1837"/>
                  </a:cubicBezTo>
                  <a:cubicBezTo>
                    <a:pt x="475" y="1835"/>
                    <a:pt x="449" y="1842"/>
                    <a:pt x="449" y="1842"/>
                  </a:cubicBezTo>
                  <a:cubicBezTo>
                    <a:pt x="437" y="1830"/>
                    <a:pt x="437" y="1830"/>
                    <a:pt x="437" y="1830"/>
                  </a:cubicBezTo>
                  <a:cubicBezTo>
                    <a:pt x="413" y="1819"/>
                    <a:pt x="413" y="1819"/>
                    <a:pt x="413" y="1819"/>
                  </a:cubicBezTo>
                  <a:cubicBezTo>
                    <a:pt x="406" y="1808"/>
                    <a:pt x="406" y="1808"/>
                    <a:pt x="406" y="1808"/>
                  </a:cubicBezTo>
                  <a:cubicBezTo>
                    <a:pt x="392" y="1792"/>
                    <a:pt x="392" y="1792"/>
                    <a:pt x="392" y="1792"/>
                  </a:cubicBezTo>
                  <a:cubicBezTo>
                    <a:pt x="392" y="1792"/>
                    <a:pt x="398" y="1780"/>
                    <a:pt x="383" y="1767"/>
                  </a:cubicBezTo>
                  <a:cubicBezTo>
                    <a:pt x="368" y="1754"/>
                    <a:pt x="362" y="1772"/>
                    <a:pt x="352" y="1772"/>
                  </a:cubicBezTo>
                  <a:cubicBezTo>
                    <a:pt x="342" y="1772"/>
                    <a:pt x="338" y="1747"/>
                    <a:pt x="338" y="1747"/>
                  </a:cubicBezTo>
                  <a:cubicBezTo>
                    <a:pt x="318" y="1743"/>
                    <a:pt x="318" y="1743"/>
                    <a:pt x="318" y="1743"/>
                  </a:cubicBezTo>
                  <a:cubicBezTo>
                    <a:pt x="318" y="1743"/>
                    <a:pt x="320" y="1723"/>
                    <a:pt x="315" y="1718"/>
                  </a:cubicBezTo>
                  <a:cubicBezTo>
                    <a:pt x="310" y="1713"/>
                    <a:pt x="308" y="1697"/>
                    <a:pt x="308" y="1697"/>
                  </a:cubicBezTo>
                  <a:cubicBezTo>
                    <a:pt x="315" y="1693"/>
                    <a:pt x="315" y="1693"/>
                    <a:pt x="315" y="1693"/>
                  </a:cubicBezTo>
                  <a:cubicBezTo>
                    <a:pt x="316" y="1680"/>
                    <a:pt x="316" y="1680"/>
                    <a:pt x="316" y="1680"/>
                  </a:cubicBezTo>
                  <a:cubicBezTo>
                    <a:pt x="316" y="1680"/>
                    <a:pt x="331" y="1675"/>
                    <a:pt x="334" y="1670"/>
                  </a:cubicBezTo>
                  <a:cubicBezTo>
                    <a:pt x="337" y="1665"/>
                    <a:pt x="317" y="1650"/>
                    <a:pt x="317" y="1650"/>
                  </a:cubicBezTo>
                  <a:cubicBezTo>
                    <a:pt x="317" y="1650"/>
                    <a:pt x="333" y="1641"/>
                    <a:pt x="332" y="1638"/>
                  </a:cubicBezTo>
                  <a:cubicBezTo>
                    <a:pt x="331" y="1635"/>
                    <a:pt x="312" y="1624"/>
                    <a:pt x="312" y="1624"/>
                  </a:cubicBezTo>
                  <a:cubicBezTo>
                    <a:pt x="315" y="1594"/>
                    <a:pt x="315" y="1594"/>
                    <a:pt x="315" y="1594"/>
                  </a:cubicBezTo>
                  <a:cubicBezTo>
                    <a:pt x="326" y="1590"/>
                    <a:pt x="326" y="1590"/>
                    <a:pt x="326" y="1590"/>
                  </a:cubicBezTo>
                  <a:cubicBezTo>
                    <a:pt x="316" y="1573"/>
                    <a:pt x="316" y="1573"/>
                    <a:pt x="316" y="1573"/>
                  </a:cubicBezTo>
                  <a:cubicBezTo>
                    <a:pt x="319" y="1551"/>
                    <a:pt x="319" y="1551"/>
                    <a:pt x="319" y="1551"/>
                  </a:cubicBezTo>
                  <a:cubicBezTo>
                    <a:pt x="304" y="1533"/>
                    <a:pt x="304" y="1533"/>
                    <a:pt x="304" y="1533"/>
                  </a:cubicBezTo>
                  <a:cubicBezTo>
                    <a:pt x="307" y="1518"/>
                    <a:pt x="307" y="1518"/>
                    <a:pt x="307" y="1518"/>
                  </a:cubicBezTo>
                  <a:cubicBezTo>
                    <a:pt x="291" y="1506"/>
                    <a:pt x="291" y="1506"/>
                    <a:pt x="291" y="1506"/>
                  </a:cubicBezTo>
                  <a:cubicBezTo>
                    <a:pt x="291" y="1506"/>
                    <a:pt x="304" y="1495"/>
                    <a:pt x="307" y="1487"/>
                  </a:cubicBezTo>
                  <a:cubicBezTo>
                    <a:pt x="310" y="1479"/>
                    <a:pt x="287" y="1470"/>
                    <a:pt x="287" y="1470"/>
                  </a:cubicBezTo>
                  <a:cubicBezTo>
                    <a:pt x="287" y="1470"/>
                    <a:pt x="264" y="1463"/>
                    <a:pt x="263" y="1460"/>
                  </a:cubicBezTo>
                  <a:cubicBezTo>
                    <a:pt x="262" y="1457"/>
                    <a:pt x="294" y="1460"/>
                    <a:pt x="296" y="1449"/>
                  </a:cubicBezTo>
                  <a:cubicBezTo>
                    <a:pt x="298" y="1438"/>
                    <a:pt x="279" y="1443"/>
                    <a:pt x="272" y="1443"/>
                  </a:cubicBezTo>
                  <a:cubicBezTo>
                    <a:pt x="265" y="1443"/>
                    <a:pt x="260" y="1433"/>
                    <a:pt x="260" y="1433"/>
                  </a:cubicBezTo>
                  <a:cubicBezTo>
                    <a:pt x="260" y="1433"/>
                    <a:pt x="259" y="1416"/>
                    <a:pt x="258" y="1405"/>
                  </a:cubicBezTo>
                  <a:cubicBezTo>
                    <a:pt x="257" y="1394"/>
                    <a:pt x="241" y="1393"/>
                    <a:pt x="241" y="1393"/>
                  </a:cubicBezTo>
                  <a:cubicBezTo>
                    <a:pt x="245" y="1375"/>
                    <a:pt x="245" y="1375"/>
                    <a:pt x="245" y="1375"/>
                  </a:cubicBezTo>
                  <a:cubicBezTo>
                    <a:pt x="235" y="1370"/>
                    <a:pt x="235" y="1370"/>
                    <a:pt x="235" y="1370"/>
                  </a:cubicBezTo>
                  <a:cubicBezTo>
                    <a:pt x="235" y="1370"/>
                    <a:pt x="226" y="1366"/>
                    <a:pt x="223" y="1358"/>
                  </a:cubicBezTo>
                  <a:cubicBezTo>
                    <a:pt x="220" y="1350"/>
                    <a:pt x="215" y="1320"/>
                    <a:pt x="215" y="1320"/>
                  </a:cubicBezTo>
                  <a:cubicBezTo>
                    <a:pt x="215" y="1320"/>
                    <a:pt x="226" y="1311"/>
                    <a:pt x="231" y="1312"/>
                  </a:cubicBezTo>
                  <a:cubicBezTo>
                    <a:pt x="236" y="1313"/>
                    <a:pt x="207" y="1292"/>
                    <a:pt x="204" y="1286"/>
                  </a:cubicBezTo>
                  <a:cubicBezTo>
                    <a:pt x="201" y="1280"/>
                    <a:pt x="201" y="1261"/>
                    <a:pt x="201" y="1261"/>
                  </a:cubicBezTo>
                  <a:cubicBezTo>
                    <a:pt x="201" y="1261"/>
                    <a:pt x="194" y="1250"/>
                    <a:pt x="193" y="1244"/>
                  </a:cubicBezTo>
                  <a:cubicBezTo>
                    <a:pt x="192" y="1238"/>
                    <a:pt x="197" y="1220"/>
                    <a:pt x="197" y="1220"/>
                  </a:cubicBezTo>
                  <a:cubicBezTo>
                    <a:pt x="183" y="1212"/>
                    <a:pt x="183" y="1212"/>
                    <a:pt x="183" y="1212"/>
                  </a:cubicBezTo>
                  <a:cubicBezTo>
                    <a:pt x="183" y="1212"/>
                    <a:pt x="188" y="1204"/>
                    <a:pt x="187" y="1196"/>
                  </a:cubicBezTo>
                  <a:cubicBezTo>
                    <a:pt x="186" y="1188"/>
                    <a:pt x="176" y="1183"/>
                    <a:pt x="176" y="1183"/>
                  </a:cubicBezTo>
                  <a:cubicBezTo>
                    <a:pt x="189" y="1174"/>
                    <a:pt x="189" y="1174"/>
                    <a:pt x="189" y="1174"/>
                  </a:cubicBezTo>
                  <a:cubicBezTo>
                    <a:pt x="181" y="1146"/>
                    <a:pt x="181" y="1146"/>
                    <a:pt x="181" y="1146"/>
                  </a:cubicBezTo>
                  <a:cubicBezTo>
                    <a:pt x="181" y="1146"/>
                    <a:pt x="195" y="1141"/>
                    <a:pt x="200" y="1132"/>
                  </a:cubicBezTo>
                  <a:cubicBezTo>
                    <a:pt x="205" y="1123"/>
                    <a:pt x="186" y="1114"/>
                    <a:pt x="186" y="1114"/>
                  </a:cubicBezTo>
                  <a:cubicBezTo>
                    <a:pt x="185" y="1102"/>
                    <a:pt x="185" y="1102"/>
                    <a:pt x="185" y="1102"/>
                  </a:cubicBezTo>
                  <a:cubicBezTo>
                    <a:pt x="165" y="1085"/>
                    <a:pt x="165" y="1085"/>
                    <a:pt x="165" y="1085"/>
                  </a:cubicBezTo>
                  <a:cubicBezTo>
                    <a:pt x="165" y="1085"/>
                    <a:pt x="165" y="1064"/>
                    <a:pt x="165" y="1057"/>
                  </a:cubicBezTo>
                  <a:cubicBezTo>
                    <a:pt x="165" y="1050"/>
                    <a:pt x="153" y="1017"/>
                    <a:pt x="153" y="1017"/>
                  </a:cubicBezTo>
                  <a:cubicBezTo>
                    <a:pt x="170" y="1016"/>
                    <a:pt x="170" y="1016"/>
                    <a:pt x="170" y="1016"/>
                  </a:cubicBezTo>
                  <a:cubicBezTo>
                    <a:pt x="172" y="1004"/>
                    <a:pt x="172" y="1004"/>
                    <a:pt x="172" y="1004"/>
                  </a:cubicBezTo>
                  <a:cubicBezTo>
                    <a:pt x="172" y="1004"/>
                    <a:pt x="176" y="993"/>
                    <a:pt x="175" y="983"/>
                  </a:cubicBezTo>
                  <a:cubicBezTo>
                    <a:pt x="174" y="973"/>
                    <a:pt x="157" y="955"/>
                    <a:pt x="157" y="955"/>
                  </a:cubicBezTo>
                  <a:cubicBezTo>
                    <a:pt x="166" y="954"/>
                    <a:pt x="166" y="954"/>
                    <a:pt x="166" y="954"/>
                  </a:cubicBezTo>
                  <a:cubicBezTo>
                    <a:pt x="166" y="954"/>
                    <a:pt x="167" y="915"/>
                    <a:pt x="167" y="911"/>
                  </a:cubicBezTo>
                  <a:cubicBezTo>
                    <a:pt x="167" y="907"/>
                    <a:pt x="176" y="900"/>
                    <a:pt x="179" y="894"/>
                  </a:cubicBezTo>
                  <a:cubicBezTo>
                    <a:pt x="182" y="888"/>
                    <a:pt x="167" y="869"/>
                    <a:pt x="167" y="869"/>
                  </a:cubicBezTo>
                  <a:cubicBezTo>
                    <a:pt x="165" y="844"/>
                    <a:pt x="165" y="844"/>
                    <a:pt x="165" y="844"/>
                  </a:cubicBezTo>
                  <a:cubicBezTo>
                    <a:pt x="165" y="844"/>
                    <a:pt x="161" y="846"/>
                    <a:pt x="149" y="843"/>
                  </a:cubicBezTo>
                  <a:cubicBezTo>
                    <a:pt x="137" y="840"/>
                    <a:pt x="145" y="821"/>
                    <a:pt x="145" y="821"/>
                  </a:cubicBezTo>
                  <a:cubicBezTo>
                    <a:pt x="142" y="815"/>
                    <a:pt x="142" y="815"/>
                    <a:pt x="142" y="815"/>
                  </a:cubicBezTo>
                  <a:cubicBezTo>
                    <a:pt x="134" y="794"/>
                    <a:pt x="134" y="794"/>
                    <a:pt x="134" y="794"/>
                  </a:cubicBezTo>
                  <a:cubicBezTo>
                    <a:pt x="121" y="784"/>
                    <a:pt x="121" y="784"/>
                    <a:pt x="121" y="784"/>
                  </a:cubicBezTo>
                  <a:cubicBezTo>
                    <a:pt x="121" y="784"/>
                    <a:pt x="123" y="775"/>
                    <a:pt x="125" y="771"/>
                  </a:cubicBezTo>
                  <a:cubicBezTo>
                    <a:pt x="127" y="767"/>
                    <a:pt x="104" y="752"/>
                    <a:pt x="104" y="752"/>
                  </a:cubicBezTo>
                  <a:cubicBezTo>
                    <a:pt x="104" y="752"/>
                    <a:pt x="102" y="735"/>
                    <a:pt x="102" y="730"/>
                  </a:cubicBezTo>
                  <a:cubicBezTo>
                    <a:pt x="102" y="725"/>
                    <a:pt x="112" y="724"/>
                    <a:pt x="112" y="724"/>
                  </a:cubicBezTo>
                  <a:cubicBezTo>
                    <a:pt x="109" y="685"/>
                    <a:pt x="109" y="685"/>
                    <a:pt x="109" y="685"/>
                  </a:cubicBezTo>
                  <a:cubicBezTo>
                    <a:pt x="109" y="685"/>
                    <a:pt x="118" y="690"/>
                    <a:pt x="123" y="685"/>
                  </a:cubicBezTo>
                  <a:cubicBezTo>
                    <a:pt x="128" y="680"/>
                    <a:pt x="105" y="635"/>
                    <a:pt x="104" y="631"/>
                  </a:cubicBezTo>
                  <a:cubicBezTo>
                    <a:pt x="103" y="627"/>
                    <a:pt x="112" y="619"/>
                    <a:pt x="114" y="615"/>
                  </a:cubicBezTo>
                  <a:cubicBezTo>
                    <a:pt x="116" y="611"/>
                    <a:pt x="111" y="586"/>
                    <a:pt x="111" y="576"/>
                  </a:cubicBezTo>
                  <a:cubicBezTo>
                    <a:pt x="111" y="566"/>
                    <a:pt x="129" y="558"/>
                    <a:pt x="130" y="553"/>
                  </a:cubicBezTo>
                  <a:cubicBezTo>
                    <a:pt x="131" y="548"/>
                    <a:pt x="137" y="510"/>
                    <a:pt x="137" y="510"/>
                  </a:cubicBezTo>
                  <a:cubicBezTo>
                    <a:pt x="137" y="510"/>
                    <a:pt x="159" y="509"/>
                    <a:pt x="162" y="498"/>
                  </a:cubicBezTo>
                  <a:cubicBezTo>
                    <a:pt x="165" y="487"/>
                    <a:pt x="134" y="476"/>
                    <a:pt x="134" y="476"/>
                  </a:cubicBezTo>
                  <a:cubicBezTo>
                    <a:pt x="134" y="476"/>
                    <a:pt x="151" y="464"/>
                    <a:pt x="152" y="454"/>
                  </a:cubicBezTo>
                  <a:cubicBezTo>
                    <a:pt x="153" y="444"/>
                    <a:pt x="134" y="436"/>
                    <a:pt x="129" y="429"/>
                  </a:cubicBezTo>
                  <a:cubicBezTo>
                    <a:pt x="124" y="422"/>
                    <a:pt x="134" y="413"/>
                    <a:pt x="143" y="404"/>
                  </a:cubicBezTo>
                  <a:cubicBezTo>
                    <a:pt x="152" y="395"/>
                    <a:pt x="125" y="401"/>
                    <a:pt x="124" y="387"/>
                  </a:cubicBezTo>
                  <a:cubicBezTo>
                    <a:pt x="123" y="373"/>
                    <a:pt x="178" y="349"/>
                    <a:pt x="178" y="349"/>
                  </a:cubicBezTo>
                  <a:cubicBezTo>
                    <a:pt x="184" y="293"/>
                    <a:pt x="184" y="293"/>
                    <a:pt x="184" y="293"/>
                  </a:cubicBezTo>
                  <a:cubicBezTo>
                    <a:pt x="177" y="282"/>
                    <a:pt x="177" y="282"/>
                    <a:pt x="177" y="282"/>
                  </a:cubicBezTo>
                  <a:cubicBezTo>
                    <a:pt x="170" y="284"/>
                    <a:pt x="161" y="285"/>
                    <a:pt x="153" y="284"/>
                  </a:cubicBezTo>
                  <a:cubicBezTo>
                    <a:pt x="141" y="283"/>
                    <a:pt x="142" y="257"/>
                    <a:pt x="142" y="257"/>
                  </a:cubicBezTo>
                  <a:cubicBezTo>
                    <a:pt x="129" y="241"/>
                    <a:pt x="129" y="241"/>
                    <a:pt x="129" y="241"/>
                  </a:cubicBezTo>
                  <a:cubicBezTo>
                    <a:pt x="129" y="241"/>
                    <a:pt x="131" y="211"/>
                    <a:pt x="129" y="200"/>
                  </a:cubicBezTo>
                  <a:cubicBezTo>
                    <a:pt x="126" y="189"/>
                    <a:pt x="97" y="178"/>
                    <a:pt x="97" y="178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97" y="161"/>
                    <a:pt x="92" y="158"/>
                    <a:pt x="88" y="148"/>
                  </a:cubicBezTo>
                  <a:cubicBezTo>
                    <a:pt x="84" y="139"/>
                    <a:pt x="99" y="127"/>
                    <a:pt x="99" y="127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96" y="110"/>
                    <a:pt x="100" y="98"/>
                  </a:cubicBezTo>
                  <a:cubicBezTo>
                    <a:pt x="104" y="86"/>
                    <a:pt x="68" y="74"/>
                    <a:pt x="68" y="74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35" y="21"/>
                    <a:pt x="23" y="30"/>
                  </a:cubicBezTo>
                  <a:cubicBezTo>
                    <a:pt x="16" y="36"/>
                    <a:pt x="7" y="42"/>
                    <a:pt x="1" y="46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13" y="99"/>
                    <a:pt x="19" y="119"/>
                  </a:cubicBezTo>
                  <a:cubicBezTo>
                    <a:pt x="25" y="139"/>
                    <a:pt x="24" y="169"/>
                    <a:pt x="24" y="182"/>
                  </a:cubicBezTo>
                  <a:cubicBezTo>
                    <a:pt x="24" y="195"/>
                    <a:pt x="32" y="206"/>
                    <a:pt x="33" y="229"/>
                  </a:cubicBezTo>
                  <a:cubicBezTo>
                    <a:pt x="34" y="253"/>
                    <a:pt x="34" y="290"/>
                    <a:pt x="34" y="290"/>
                  </a:cubicBezTo>
                  <a:cubicBezTo>
                    <a:pt x="20" y="298"/>
                    <a:pt x="20" y="298"/>
                    <a:pt x="20" y="298"/>
                  </a:cubicBezTo>
                  <a:cubicBezTo>
                    <a:pt x="23" y="318"/>
                    <a:pt x="23" y="318"/>
                    <a:pt x="23" y="318"/>
                  </a:cubicBezTo>
                  <a:cubicBezTo>
                    <a:pt x="38" y="327"/>
                    <a:pt x="38" y="327"/>
                    <a:pt x="38" y="327"/>
                  </a:cubicBezTo>
                  <a:cubicBezTo>
                    <a:pt x="32" y="389"/>
                    <a:pt x="32" y="389"/>
                    <a:pt x="32" y="389"/>
                  </a:cubicBezTo>
                  <a:cubicBezTo>
                    <a:pt x="47" y="417"/>
                    <a:pt x="47" y="417"/>
                    <a:pt x="47" y="417"/>
                  </a:cubicBezTo>
                  <a:cubicBezTo>
                    <a:pt x="36" y="430"/>
                    <a:pt x="36" y="430"/>
                    <a:pt x="36" y="430"/>
                  </a:cubicBezTo>
                  <a:cubicBezTo>
                    <a:pt x="42" y="472"/>
                    <a:pt x="42" y="472"/>
                    <a:pt x="42" y="472"/>
                  </a:cubicBezTo>
                  <a:cubicBezTo>
                    <a:pt x="42" y="472"/>
                    <a:pt x="49" y="475"/>
                    <a:pt x="51" y="492"/>
                  </a:cubicBezTo>
                  <a:cubicBezTo>
                    <a:pt x="53" y="508"/>
                    <a:pt x="42" y="509"/>
                    <a:pt x="42" y="509"/>
                  </a:cubicBezTo>
                  <a:cubicBezTo>
                    <a:pt x="40" y="531"/>
                    <a:pt x="40" y="531"/>
                    <a:pt x="40" y="531"/>
                  </a:cubicBezTo>
                  <a:cubicBezTo>
                    <a:pt x="47" y="540"/>
                    <a:pt x="47" y="540"/>
                    <a:pt x="47" y="540"/>
                  </a:cubicBezTo>
                  <a:cubicBezTo>
                    <a:pt x="47" y="540"/>
                    <a:pt x="40" y="545"/>
                    <a:pt x="34" y="559"/>
                  </a:cubicBezTo>
                  <a:cubicBezTo>
                    <a:pt x="28" y="573"/>
                    <a:pt x="40" y="571"/>
                    <a:pt x="40" y="571"/>
                  </a:cubicBezTo>
                  <a:cubicBezTo>
                    <a:pt x="40" y="571"/>
                    <a:pt x="44" y="580"/>
                    <a:pt x="44" y="591"/>
                  </a:cubicBezTo>
                  <a:cubicBezTo>
                    <a:pt x="44" y="602"/>
                    <a:pt x="33" y="599"/>
                    <a:pt x="33" y="619"/>
                  </a:cubicBezTo>
                  <a:cubicBezTo>
                    <a:pt x="33" y="640"/>
                    <a:pt x="49" y="638"/>
                    <a:pt x="52" y="648"/>
                  </a:cubicBezTo>
                  <a:cubicBezTo>
                    <a:pt x="56" y="657"/>
                    <a:pt x="52" y="681"/>
                    <a:pt x="52" y="681"/>
                  </a:cubicBezTo>
                  <a:cubicBezTo>
                    <a:pt x="52" y="681"/>
                    <a:pt x="45" y="679"/>
                    <a:pt x="40" y="681"/>
                  </a:cubicBezTo>
                  <a:cubicBezTo>
                    <a:pt x="36" y="683"/>
                    <a:pt x="40" y="700"/>
                    <a:pt x="47" y="720"/>
                  </a:cubicBezTo>
                  <a:cubicBezTo>
                    <a:pt x="55" y="740"/>
                    <a:pt x="66" y="770"/>
                    <a:pt x="66" y="770"/>
                  </a:cubicBezTo>
                  <a:cubicBezTo>
                    <a:pt x="66" y="770"/>
                    <a:pt x="69" y="784"/>
                    <a:pt x="76" y="790"/>
                  </a:cubicBezTo>
                  <a:cubicBezTo>
                    <a:pt x="83" y="796"/>
                    <a:pt x="79" y="826"/>
                    <a:pt x="79" y="826"/>
                  </a:cubicBezTo>
                  <a:cubicBezTo>
                    <a:pt x="76" y="845"/>
                    <a:pt x="76" y="845"/>
                    <a:pt x="76" y="845"/>
                  </a:cubicBezTo>
                  <a:cubicBezTo>
                    <a:pt x="92" y="862"/>
                    <a:pt x="92" y="862"/>
                    <a:pt x="92" y="862"/>
                  </a:cubicBezTo>
                  <a:cubicBezTo>
                    <a:pt x="92" y="862"/>
                    <a:pt x="82" y="889"/>
                    <a:pt x="82" y="903"/>
                  </a:cubicBezTo>
                  <a:cubicBezTo>
                    <a:pt x="82" y="917"/>
                    <a:pt x="82" y="947"/>
                    <a:pt x="82" y="947"/>
                  </a:cubicBezTo>
                  <a:cubicBezTo>
                    <a:pt x="66" y="972"/>
                    <a:pt x="66" y="972"/>
                    <a:pt x="66" y="972"/>
                  </a:cubicBezTo>
                  <a:cubicBezTo>
                    <a:pt x="76" y="979"/>
                    <a:pt x="76" y="979"/>
                    <a:pt x="76" y="979"/>
                  </a:cubicBezTo>
                  <a:cubicBezTo>
                    <a:pt x="76" y="979"/>
                    <a:pt x="72" y="995"/>
                    <a:pt x="72" y="1004"/>
                  </a:cubicBezTo>
                  <a:cubicBezTo>
                    <a:pt x="72" y="1012"/>
                    <a:pt x="66" y="1056"/>
                    <a:pt x="66" y="1056"/>
                  </a:cubicBezTo>
                  <a:cubicBezTo>
                    <a:pt x="56" y="1058"/>
                    <a:pt x="56" y="1058"/>
                    <a:pt x="56" y="1058"/>
                  </a:cubicBezTo>
                  <a:cubicBezTo>
                    <a:pt x="56" y="1072"/>
                    <a:pt x="56" y="1072"/>
                    <a:pt x="56" y="1072"/>
                  </a:cubicBezTo>
                  <a:cubicBezTo>
                    <a:pt x="72" y="1102"/>
                    <a:pt x="72" y="1102"/>
                    <a:pt x="72" y="1102"/>
                  </a:cubicBezTo>
                  <a:cubicBezTo>
                    <a:pt x="72" y="1102"/>
                    <a:pt x="72" y="1121"/>
                    <a:pt x="72" y="1131"/>
                  </a:cubicBezTo>
                  <a:cubicBezTo>
                    <a:pt x="72" y="1142"/>
                    <a:pt x="95" y="1149"/>
                    <a:pt x="101" y="1165"/>
                  </a:cubicBezTo>
                  <a:cubicBezTo>
                    <a:pt x="107" y="1180"/>
                    <a:pt x="98" y="1218"/>
                    <a:pt x="98" y="1218"/>
                  </a:cubicBezTo>
                  <a:cubicBezTo>
                    <a:pt x="107" y="1225"/>
                    <a:pt x="107" y="1225"/>
                    <a:pt x="107" y="1225"/>
                  </a:cubicBezTo>
                  <a:cubicBezTo>
                    <a:pt x="107" y="1225"/>
                    <a:pt x="107" y="1254"/>
                    <a:pt x="107" y="1266"/>
                  </a:cubicBezTo>
                  <a:cubicBezTo>
                    <a:pt x="107" y="1278"/>
                    <a:pt x="134" y="1286"/>
                    <a:pt x="134" y="1286"/>
                  </a:cubicBezTo>
                  <a:cubicBezTo>
                    <a:pt x="129" y="1299"/>
                    <a:pt x="129" y="1299"/>
                    <a:pt x="129" y="1299"/>
                  </a:cubicBezTo>
                  <a:cubicBezTo>
                    <a:pt x="156" y="1299"/>
                    <a:pt x="156" y="1299"/>
                    <a:pt x="156" y="1299"/>
                  </a:cubicBezTo>
                  <a:cubicBezTo>
                    <a:pt x="156" y="1279"/>
                    <a:pt x="156" y="1279"/>
                    <a:pt x="156" y="1279"/>
                  </a:cubicBezTo>
                  <a:cubicBezTo>
                    <a:pt x="156" y="1279"/>
                    <a:pt x="169" y="1289"/>
                    <a:pt x="177" y="1290"/>
                  </a:cubicBezTo>
                  <a:cubicBezTo>
                    <a:pt x="186" y="1291"/>
                    <a:pt x="186" y="1277"/>
                    <a:pt x="186" y="1277"/>
                  </a:cubicBezTo>
                  <a:cubicBezTo>
                    <a:pt x="192" y="1290"/>
                    <a:pt x="192" y="1290"/>
                    <a:pt x="192" y="1290"/>
                  </a:cubicBezTo>
                  <a:cubicBezTo>
                    <a:pt x="192" y="1290"/>
                    <a:pt x="175" y="1300"/>
                    <a:pt x="173" y="1311"/>
                  </a:cubicBezTo>
                  <a:cubicBezTo>
                    <a:pt x="170" y="1322"/>
                    <a:pt x="186" y="1310"/>
                    <a:pt x="193" y="1313"/>
                  </a:cubicBezTo>
                  <a:cubicBezTo>
                    <a:pt x="200" y="1317"/>
                    <a:pt x="198" y="1330"/>
                    <a:pt x="198" y="1330"/>
                  </a:cubicBezTo>
                  <a:cubicBezTo>
                    <a:pt x="179" y="1328"/>
                    <a:pt x="179" y="1328"/>
                    <a:pt x="179" y="1328"/>
                  </a:cubicBezTo>
                  <a:cubicBezTo>
                    <a:pt x="190" y="1341"/>
                    <a:pt x="190" y="1341"/>
                    <a:pt x="190" y="1341"/>
                  </a:cubicBezTo>
                  <a:cubicBezTo>
                    <a:pt x="183" y="1349"/>
                    <a:pt x="183" y="1349"/>
                    <a:pt x="183" y="1349"/>
                  </a:cubicBezTo>
                  <a:cubicBezTo>
                    <a:pt x="195" y="1367"/>
                    <a:pt x="195" y="1367"/>
                    <a:pt x="195" y="1367"/>
                  </a:cubicBezTo>
                  <a:cubicBezTo>
                    <a:pt x="195" y="1367"/>
                    <a:pt x="188" y="1375"/>
                    <a:pt x="181" y="1384"/>
                  </a:cubicBezTo>
                  <a:cubicBezTo>
                    <a:pt x="174" y="1394"/>
                    <a:pt x="212" y="1403"/>
                    <a:pt x="212" y="1403"/>
                  </a:cubicBezTo>
                  <a:cubicBezTo>
                    <a:pt x="212" y="1403"/>
                    <a:pt x="205" y="1409"/>
                    <a:pt x="200" y="1413"/>
                  </a:cubicBezTo>
                  <a:cubicBezTo>
                    <a:pt x="195" y="1416"/>
                    <a:pt x="202" y="1427"/>
                    <a:pt x="212" y="1432"/>
                  </a:cubicBezTo>
                  <a:cubicBezTo>
                    <a:pt x="221" y="1436"/>
                    <a:pt x="234" y="1433"/>
                    <a:pt x="234" y="1433"/>
                  </a:cubicBezTo>
                  <a:cubicBezTo>
                    <a:pt x="239" y="1457"/>
                    <a:pt x="239" y="1457"/>
                    <a:pt x="239" y="1457"/>
                  </a:cubicBezTo>
                  <a:cubicBezTo>
                    <a:pt x="239" y="1457"/>
                    <a:pt x="219" y="1470"/>
                    <a:pt x="214" y="1477"/>
                  </a:cubicBezTo>
                  <a:cubicBezTo>
                    <a:pt x="209" y="1484"/>
                    <a:pt x="228" y="1485"/>
                    <a:pt x="228" y="1485"/>
                  </a:cubicBezTo>
                  <a:cubicBezTo>
                    <a:pt x="228" y="1485"/>
                    <a:pt x="252" y="1490"/>
                    <a:pt x="252" y="1497"/>
                  </a:cubicBezTo>
                  <a:cubicBezTo>
                    <a:pt x="252" y="1504"/>
                    <a:pt x="237" y="1498"/>
                    <a:pt x="227" y="1493"/>
                  </a:cubicBezTo>
                  <a:cubicBezTo>
                    <a:pt x="218" y="1488"/>
                    <a:pt x="216" y="1503"/>
                    <a:pt x="216" y="1503"/>
                  </a:cubicBezTo>
                  <a:cubicBezTo>
                    <a:pt x="235" y="1507"/>
                    <a:pt x="235" y="1507"/>
                    <a:pt x="235" y="1507"/>
                  </a:cubicBezTo>
                  <a:cubicBezTo>
                    <a:pt x="221" y="1514"/>
                    <a:pt x="221" y="1514"/>
                    <a:pt x="221" y="1514"/>
                  </a:cubicBezTo>
                  <a:cubicBezTo>
                    <a:pt x="222" y="1531"/>
                    <a:pt x="222" y="1531"/>
                    <a:pt x="222" y="1531"/>
                  </a:cubicBezTo>
                  <a:cubicBezTo>
                    <a:pt x="222" y="1531"/>
                    <a:pt x="238" y="1523"/>
                    <a:pt x="231" y="1544"/>
                  </a:cubicBezTo>
                  <a:cubicBezTo>
                    <a:pt x="224" y="1565"/>
                    <a:pt x="214" y="1535"/>
                    <a:pt x="214" y="1535"/>
                  </a:cubicBezTo>
                  <a:cubicBezTo>
                    <a:pt x="190" y="1536"/>
                    <a:pt x="190" y="1536"/>
                    <a:pt x="190" y="1536"/>
                  </a:cubicBezTo>
                  <a:cubicBezTo>
                    <a:pt x="206" y="1529"/>
                    <a:pt x="206" y="1529"/>
                    <a:pt x="206" y="1529"/>
                  </a:cubicBezTo>
                  <a:cubicBezTo>
                    <a:pt x="206" y="1529"/>
                    <a:pt x="189" y="1511"/>
                    <a:pt x="186" y="1512"/>
                  </a:cubicBezTo>
                  <a:cubicBezTo>
                    <a:pt x="182" y="1513"/>
                    <a:pt x="185" y="1522"/>
                    <a:pt x="185" y="1522"/>
                  </a:cubicBezTo>
                  <a:cubicBezTo>
                    <a:pt x="179" y="1516"/>
                    <a:pt x="179" y="1516"/>
                    <a:pt x="179" y="1516"/>
                  </a:cubicBezTo>
                  <a:cubicBezTo>
                    <a:pt x="154" y="1523"/>
                    <a:pt x="154" y="1523"/>
                    <a:pt x="154" y="1523"/>
                  </a:cubicBezTo>
                  <a:cubicBezTo>
                    <a:pt x="176" y="1528"/>
                    <a:pt x="176" y="1528"/>
                    <a:pt x="176" y="1528"/>
                  </a:cubicBezTo>
                  <a:cubicBezTo>
                    <a:pt x="176" y="1528"/>
                    <a:pt x="172" y="1531"/>
                    <a:pt x="168" y="1537"/>
                  </a:cubicBezTo>
                  <a:cubicBezTo>
                    <a:pt x="164" y="1543"/>
                    <a:pt x="148" y="1549"/>
                    <a:pt x="147" y="1558"/>
                  </a:cubicBezTo>
                  <a:cubicBezTo>
                    <a:pt x="146" y="1568"/>
                    <a:pt x="166" y="1572"/>
                    <a:pt x="169" y="1570"/>
                  </a:cubicBezTo>
                  <a:cubicBezTo>
                    <a:pt x="173" y="1568"/>
                    <a:pt x="161" y="1559"/>
                    <a:pt x="161" y="1559"/>
                  </a:cubicBezTo>
                  <a:cubicBezTo>
                    <a:pt x="176" y="1556"/>
                    <a:pt x="176" y="1556"/>
                    <a:pt x="176" y="1556"/>
                  </a:cubicBezTo>
                  <a:cubicBezTo>
                    <a:pt x="176" y="1556"/>
                    <a:pt x="183" y="1561"/>
                    <a:pt x="187" y="1565"/>
                  </a:cubicBezTo>
                  <a:cubicBezTo>
                    <a:pt x="190" y="1570"/>
                    <a:pt x="214" y="1567"/>
                    <a:pt x="214" y="1567"/>
                  </a:cubicBezTo>
                  <a:cubicBezTo>
                    <a:pt x="214" y="1567"/>
                    <a:pt x="229" y="1574"/>
                    <a:pt x="235" y="1582"/>
                  </a:cubicBezTo>
                  <a:cubicBezTo>
                    <a:pt x="241" y="1590"/>
                    <a:pt x="222" y="1598"/>
                    <a:pt x="222" y="1598"/>
                  </a:cubicBezTo>
                  <a:cubicBezTo>
                    <a:pt x="228" y="1608"/>
                    <a:pt x="228" y="1608"/>
                    <a:pt x="228" y="1608"/>
                  </a:cubicBezTo>
                  <a:cubicBezTo>
                    <a:pt x="240" y="1604"/>
                    <a:pt x="240" y="1604"/>
                    <a:pt x="240" y="1604"/>
                  </a:cubicBezTo>
                  <a:cubicBezTo>
                    <a:pt x="240" y="1615"/>
                    <a:pt x="240" y="1615"/>
                    <a:pt x="240" y="1615"/>
                  </a:cubicBezTo>
                  <a:cubicBezTo>
                    <a:pt x="252" y="1620"/>
                    <a:pt x="252" y="1620"/>
                    <a:pt x="252" y="1620"/>
                  </a:cubicBezTo>
                  <a:cubicBezTo>
                    <a:pt x="257" y="1604"/>
                    <a:pt x="257" y="1604"/>
                    <a:pt x="257" y="1604"/>
                  </a:cubicBezTo>
                  <a:cubicBezTo>
                    <a:pt x="266" y="1620"/>
                    <a:pt x="266" y="1620"/>
                    <a:pt x="266" y="1620"/>
                  </a:cubicBezTo>
                  <a:cubicBezTo>
                    <a:pt x="266" y="1620"/>
                    <a:pt x="285" y="1620"/>
                    <a:pt x="283" y="1634"/>
                  </a:cubicBezTo>
                  <a:cubicBezTo>
                    <a:pt x="280" y="1648"/>
                    <a:pt x="258" y="1632"/>
                    <a:pt x="250" y="1630"/>
                  </a:cubicBezTo>
                  <a:cubicBezTo>
                    <a:pt x="241" y="1629"/>
                    <a:pt x="248" y="1643"/>
                    <a:pt x="248" y="1643"/>
                  </a:cubicBezTo>
                  <a:cubicBezTo>
                    <a:pt x="248" y="1643"/>
                    <a:pt x="269" y="1650"/>
                    <a:pt x="270" y="1665"/>
                  </a:cubicBezTo>
                  <a:cubicBezTo>
                    <a:pt x="271" y="1679"/>
                    <a:pt x="256" y="1674"/>
                    <a:pt x="256" y="1674"/>
                  </a:cubicBezTo>
                  <a:cubicBezTo>
                    <a:pt x="265" y="1686"/>
                    <a:pt x="265" y="1686"/>
                    <a:pt x="265" y="1686"/>
                  </a:cubicBezTo>
                  <a:cubicBezTo>
                    <a:pt x="274" y="1710"/>
                    <a:pt x="274" y="1710"/>
                    <a:pt x="274" y="1710"/>
                  </a:cubicBezTo>
                  <a:cubicBezTo>
                    <a:pt x="283" y="1681"/>
                    <a:pt x="283" y="1681"/>
                    <a:pt x="283" y="1681"/>
                  </a:cubicBezTo>
                  <a:cubicBezTo>
                    <a:pt x="283" y="1701"/>
                    <a:pt x="283" y="1701"/>
                    <a:pt x="283" y="1701"/>
                  </a:cubicBezTo>
                  <a:cubicBezTo>
                    <a:pt x="296" y="1717"/>
                    <a:pt x="296" y="1717"/>
                    <a:pt x="296" y="1717"/>
                  </a:cubicBezTo>
                  <a:cubicBezTo>
                    <a:pt x="280" y="1717"/>
                    <a:pt x="280" y="1717"/>
                    <a:pt x="280" y="1717"/>
                  </a:cubicBezTo>
                  <a:cubicBezTo>
                    <a:pt x="283" y="1730"/>
                    <a:pt x="283" y="1730"/>
                    <a:pt x="283" y="1730"/>
                  </a:cubicBezTo>
                  <a:cubicBezTo>
                    <a:pt x="298" y="1731"/>
                    <a:pt x="298" y="1731"/>
                    <a:pt x="298" y="1731"/>
                  </a:cubicBezTo>
                  <a:cubicBezTo>
                    <a:pt x="289" y="1739"/>
                    <a:pt x="289" y="1739"/>
                    <a:pt x="289" y="1739"/>
                  </a:cubicBezTo>
                  <a:cubicBezTo>
                    <a:pt x="309" y="1745"/>
                    <a:pt x="309" y="1745"/>
                    <a:pt x="309" y="1745"/>
                  </a:cubicBezTo>
                  <a:cubicBezTo>
                    <a:pt x="296" y="1753"/>
                    <a:pt x="296" y="1753"/>
                    <a:pt x="296" y="1753"/>
                  </a:cubicBezTo>
                  <a:cubicBezTo>
                    <a:pt x="315" y="1760"/>
                    <a:pt x="315" y="1760"/>
                    <a:pt x="315" y="1760"/>
                  </a:cubicBezTo>
                  <a:cubicBezTo>
                    <a:pt x="310" y="1770"/>
                    <a:pt x="310" y="1770"/>
                    <a:pt x="310" y="1770"/>
                  </a:cubicBezTo>
                  <a:cubicBezTo>
                    <a:pt x="322" y="1773"/>
                    <a:pt x="322" y="1773"/>
                    <a:pt x="322" y="1773"/>
                  </a:cubicBezTo>
                  <a:cubicBezTo>
                    <a:pt x="322" y="1773"/>
                    <a:pt x="324" y="1750"/>
                    <a:pt x="331" y="1762"/>
                  </a:cubicBezTo>
                  <a:cubicBezTo>
                    <a:pt x="338" y="1773"/>
                    <a:pt x="329" y="1779"/>
                    <a:pt x="323" y="1783"/>
                  </a:cubicBezTo>
                  <a:cubicBezTo>
                    <a:pt x="317" y="1786"/>
                    <a:pt x="323" y="1794"/>
                    <a:pt x="323" y="1794"/>
                  </a:cubicBezTo>
                  <a:cubicBezTo>
                    <a:pt x="343" y="1795"/>
                    <a:pt x="343" y="1795"/>
                    <a:pt x="343" y="1795"/>
                  </a:cubicBezTo>
                  <a:cubicBezTo>
                    <a:pt x="343" y="1795"/>
                    <a:pt x="344" y="1805"/>
                    <a:pt x="350" y="1810"/>
                  </a:cubicBezTo>
                  <a:cubicBezTo>
                    <a:pt x="356" y="1815"/>
                    <a:pt x="373" y="1824"/>
                    <a:pt x="373" y="1824"/>
                  </a:cubicBezTo>
                  <a:cubicBezTo>
                    <a:pt x="370" y="1802"/>
                    <a:pt x="370" y="1802"/>
                    <a:pt x="370" y="1802"/>
                  </a:cubicBezTo>
                  <a:cubicBezTo>
                    <a:pt x="370" y="1802"/>
                    <a:pt x="391" y="1810"/>
                    <a:pt x="407" y="1821"/>
                  </a:cubicBezTo>
                  <a:cubicBezTo>
                    <a:pt x="422" y="1831"/>
                    <a:pt x="409" y="1841"/>
                    <a:pt x="409" y="1841"/>
                  </a:cubicBezTo>
                  <a:cubicBezTo>
                    <a:pt x="420" y="1848"/>
                    <a:pt x="420" y="1848"/>
                    <a:pt x="420" y="1848"/>
                  </a:cubicBezTo>
                  <a:cubicBezTo>
                    <a:pt x="419" y="1861"/>
                    <a:pt x="419" y="1861"/>
                    <a:pt x="419" y="1861"/>
                  </a:cubicBezTo>
                  <a:cubicBezTo>
                    <a:pt x="458" y="1861"/>
                    <a:pt x="458" y="1861"/>
                    <a:pt x="458" y="1861"/>
                  </a:cubicBezTo>
                  <a:cubicBezTo>
                    <a:pt x="462" y="1868"/>
                    <a:pt x="462" y="1868"/>
                    <a:pt x="462" y="1868"/>
                  </a:cubicBezTo>
                  <a:cubicBezTo>
                    <a:pt x="442" y="1868"/>
                    <a:pt x="442" y="1868"/>
                    <a:pt x="442" y="1868"/>
                  </a:cubicBezTo>
                  <a:cubicBezTo>
                    <a:pt x="434" y="1876"/>
                    <a:pt x="434" y="1876"/>
                    <a:pt x="434" y="1876"/>
                  </a:cubicBezTo>
                  <a:cubicBezTo>
                    <a:pt x="421" y="1877"/>
                    <a:pt x="421" y="1877"/>
                    <a:pt x="421" y="1877"/>
                  </a:cubicBezTo>
                  <a:cubicBezTo>
                    <a:pt x="410" y="1889"/>
                    <a:pt x="410" y="1889"/>
                    <a:pt x="410" y="1889"/>
                  </a:cubicBezTo>
                  <a:cubicBezTo>
                    <a:pt x="430" y="1892"/>
                    <a:pt x="430" y="1892"/>
                    <a:pt x="430" y="1892"/>
                  </a:cubicBezTo>
                  <a:cubicBezTo>
                    <a:pt x="426" y="1902"/>
                    <a:pt x="426" y="1902"/>
                    <a:pt x="426" y="1902"/>
                  </a:cubicBezTo>
                  <a:cubicBezTo>
                    <a:pt x="442" y="1900"/>
                    <a:pt x="442" y="1900"/>
                    <a:pt x="442" y="1900"/>
                  </a:cubicBezTo>
                  <a:cubicBezTo>
                    <a:pt x="444" y="1887"/>
                    <a:pt x="444" y="1887"/>
                    <a:pt x="444" y="1887"/>
                  </a:cubicBezTo>
                  <a:cubicBezTo>
                    <a:pt x="459" y="1893"/>
                    <a:pt x="459" y="1893"/>
                    <a:pt x="459" y="1893"/>
                  </a:cubicBezTo>
                  <a:cubicBezTo>
                    <a:pt x="459" y="1893"/>
                    <a:pt x="477" y="1868"/>
                    <a:pt x="486" y="1875"/>
                  </a:cubicBezTo>
                  <a:cubicBezTo>
                    <a:pt x="496" y="1882"/>
                    <a:pt x="467" y="1907"/>
                    <a:pt x="467" y="1907"/>
                  </a:cubicBezTo>
                  <a:cubicBezTo>
                    <a:pt x="467" y="1907"/>
                    <a:pt x="464" y="1900"/>
                    <a:pt x="455" y="1901"/>
                  </a:cubicBezTo>
                  <a:cubicBezTo>
                    <a:pt x="447" y="1902"/>
                    <a:pt x="452" y="1913"/>
                    <a:pt x="452" y="1913"/>
                  </a:cubicBezTo>
                  <a:cubicBezTo>
                    <a:pt x="440" y="1913"/>
                    <a:pt x="440" y="1913"/>
                    <a:pt x="440" y="1913"/>
                  </a:cubicBezTo>
                  <a:cubicBezTo>
                    <a:pt x="431" y="1910"/>
                    <a:pt x="419" y="1921"/>
                    <a:pt x="419" y="1921"/>
                  </a:cubicBezTo>
                  <a:cubicBezTo>
                    <a:pt x="428" y="1927"/>
                    <a:pt x="428" y="1927"/>
                    <a:pt x="428" y="1927"/>
                  </a:cubicBezTo>
                  <a:cubicBezTo>
                    <a:pt x="430" y="1945"/>
                    <a:pt x="430" y="1945"/>
                    <a:pt x="430" y="1945"/>
                  </a:cubicBezTo>
                  <a:cubicBezTo>
                    <a:pt x="450" y="1935"/>
                    <a:pt x="450" y="1935"/>
                    <a:pt x="450" y="1935"/>
                  </a:cubicBezTo>
                  <a:cubicBezTo>
                    <a:pt x="450" y="1935"/>
                    <a:pt x="455" y="1946"/>
                    <a:pt x="461" y="1945"/>
                  </a:cubicBezTo>
                  <a:cubicBezTo>
                    <a:pt x="466" y="1944"/>
                    <a:pt x="467" y="1924"/>
                    <a:pt x="476" y="1919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27" name="Freeform 143"/>
            <p:cNvSpPr>
              <a:spLocks/>
            </p:cNvSpPr>
            <p:nvPr/>
          </p:nvSpPr>
          <p:spPr bwMode="auto">
            <a:xfrm>
              <a:off x="1398" y="2348"/>
              <a:ext cx="65" cy="42"/>
            </a:xfrm>
            <a:custGeom>
              <a:avLst/>
              <a:gdLst>
                <a:gd name="T0" fmla="*/ 0 w 172"/>
                <a:gd name="T1" fmla="*/ 0 h 111"/>
                <a:gd name="T2" fmla="*/ 0 w 172"/>
                <a:gd name="T3" fmla="*/ 0 h 111"/>
                <a:gd name="T4" fmla="*/ 0 w 172"/>
                <a:gd name="T5" fmla="*/ 0 h 111"/>
                <a:gd name="T6" fmla="*/ 0 w 172"/>
                <a:gd name="T7" fmla="*/ 0 h 111"/>
                <a:gd name="T8" fmla="*/ 0 w 172"/>
                <a:gd name="T9" fmla="*/ 0 h 111"/>
                <a:gd name="T10" fmla="*/ 0 w 172"/>
                <a:gd name="T11" fmla="*/ 0 h 111"/>
                <a:gd name="T12" fmla="*/ 0 w 172"/>
                <a:gd name="T13" fmla="*/ 0 h 111"/>
                <a:gd name="T14" fmla="*/ 0 w 172"/>
                <a:gd name="T15" fmla="*/ 0 h 111"/>
                <a:gd name="T16" fmla="*/ 0 w 172"/>
                <a:gd name="T17" fmla="*/ 0 h 111"/>
                <a:gd name="T18" fmla="*/ 0 w 172"/>
                <a:gd name="T19" fmla="*/ 0 h 111"/>
                <a:gd name="T20" fmla="*/ 0 w 172"/>
                <a:gd name="T21" fmla="*/ 0 h 111"/>
                <a:gd name="T22" fmla="*/ 0 w 172"/>
                <a:gd name="T23" fmla="*/ 0 h 111"/>
                <a:gd name="T24" fmla="*/ 0 w 172"/>
                <a:gd name="T25" fmla="*/ 0 h 111"/>
                <a:gd name="T26" fmla="*/ 0 w 172"/>
                <a:gd name="T27" fmla="*/ 0 h 111"/>
                <a:gd name="T28" fmla="*/ 0 w 172"/>
                <a:gd name="T29" fmla="*/ 0 h 111"/>
                <a:gd name="T30" fmla="*/ 0 w 172"/>
                <a:gd name="T31" fmla="*/ 0 h 1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2"/>
                <a:gd name="T49" fmla="*/ 0 h 111"/>
                <a:gd name="T50" fmla="*/ 172 w 172"/>
                <a:gd name="T51" fmla="*/ 111 h 1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2" h="111">
                  <a:moveTo>
                    <a:pt x="165" y="68"/>
                  </a:moveTo>
                  <a:cubicBezTo>
                    <a:pt x="165" y="68"/>
                    <a:pt x="143" y="49"/>
                    <a:pt x="128" y="43"/>
                  </a:cubicBezTo>
                  <a:cubicBezTo>
                    <a:pt x="114" y="38"/>
                    <a:pt x="108" y="36"/>
                    <a:pt x="97" y="32"/>
                  </a:cubicBezTo>
                  <a:cubicBezTo>
                    <a:pt x="87" y="28"/>
                    <a:pt x="81" y="9"/>
                    <a:pt x="75" y="5"/>
                  </a:cubicBezTo>
                  <a:cubicBezTo>
                    <a:pt x="69" y="2"/>
                    <a:pt x="46" y="0"/>
                    <a:pt x="29" y="0"/>
                  </a:cubicBezTo>
                  <a:cubicBezTo>
                    <a:pt x="22" y="0"/>
                    <a:pt x="18" y="2"/>
                    <a:pt x="15" y="4"/>
                  </a:cubicBezTo>
                  <a:cubicBezTo>
                    <a:pt x="17" y="10"/>
                    <a:pt x="21" y="20"/>
                    <a:pt x="21" y="26"/>
                  </a:cubicBezTo>
                  <a:cubicBezTo>
                    <a:pt x="20" y="36"/>
                    <a:pt x="16" y="39"/>
                    <a:pt x="14" y="48"/>
                  </a:cubicBezTo>
                  <a:cubicBezTo>
                    <a:pt x="11" y="57"/>
                    <a:pt x="3" y="73"/>
                    <a:pt x="3" y="73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85" y="87"/>
                    <a:pt x="118" y="89"/>
                  </a:cubicBezTo>
                  <a:cubicBezTo>
                    <a:pt x="131" y="90"/>
                    <a:pt x="153" y="93"/>
                    <a:pt x="161" y="89"/>
                  </a:cubicBezTo>
                  <a:cubicBezTo>
                    <a:pt x="172" y="83"/>
                    <a:pt x="165" y="68"/>
                    <a:pt x="165" y="68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28" name="Freeform 144"/>
            <p:cNvSpPr>
              <a:spLocks/>
            </p:cNvSpPr>
            <p:nvPr/>
          </p:nvSpPr>
          <p:spPr bwMode="auto">
            <a:xfrm>
              <a:off x="1356" y="2348"/>
              <a:ext cx="50" cy="40"/>
            </a:xfrm>
            <a:custGeom>
              <a:avLst/>
              <a:gdLst>
                <a:gd name="T0" fmla="*/ 0 w 132"/>
                <a:gd name="T1" fmla="*/ 0 h 106"/>
                <a:gd name="T2" fmla="*/ 0 w 132"/>
                <a:gd name="T3" fmla="*/ 0 h 106"/>
                <a:gd name="T4" fmla="*/ 0 w 132"/>
                <a:gd name="T5" fmla="*/ 0 h 106"/>
                <a:gd name="T6" fmla="*/ 0 w 132"/>
                <a:gd name="T7" fmla="*/ 0 h 106"/>
                <a:gd name="T8" fmla="*/ 0 w 132"/>
                <a:gd name="T9" fmla="*/ 0 h 106"/>
                <a:gd name="T10" fmla="*/ 0 w 132"/>
                <a:gd name="T11" fmla="*/ 0 h 106"/>
                <a:gd name="T12" fmla="*/ 0 w 132"/>
                <a:gd name="T13" fmla="*/ 0 h 106"/>
                <a:gd name="T14" fmla="*/ 0 w 132"/>
                <a:gd name="T15" fmla="*/ 0 h 106"/>
                <a:gd name="T16" fmla="*/ 0 w 132"/>
                <a:gd name="T17" fmla="*/ 0 h 106"/>
                <a:gd name="T18" fmla="*/ 0 w 132"/>
                <a:gd name="T19" fmla="*/ 0 h 106"/>
                <a:gd name="T20" fmla="*/ 0 w 132"/>
                <a:gd name="T21" fmla="*/ 0 h 106"/>
                <a:gd name="T22" fmla="*/ 0 w 132"/>
                <a:gd name="T23" fmla="*/ 0 h 106"/>
                <a:gd name="T24" fmla="*/ 0 w 132"/>
                <a:gd name="T25" fmla="*/ 0 h 106"/>
                <a:gd name="T26" fmla="*/ 0 w 132"/>
                <a:gd name="T27" fmla="*/ 0 h 106"/>
                <a:gd name="T28" fmla="*/ 0 w 132"/>
                <a:gd name="T29" fmla="*/ 0 h 106"/>
                <a:gd name="T30" fmla="*/ 0 w 132"/>
                <a:gd name="T31" fmla="*/ 0 h 106"/>
                <a:gd name="T32" fmla="*/ 0 w 132"/>
                <a:gd name="T33" fmla="*/ 0 h 106"/>
                <a:gd name="T34" fmla="*/ 0 w 132"/>
                <a:gd name="T35" fmla="*/ 0 h 106"/>
                <a:gd name="T36" fmla="*/ 0 w 132"/>
                <a:gd name="T37" fmla="*/ 0 h 10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32"/>
                <a:gd name="T58" fmla="*/ 0 h 106"/>
                <a:gd name="T59" fmla="*/ 132 w 132"/>
                <a:gd name="T60" fmla="*/ 106 h 10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32" h="106">
                  <a:moveTo>
                    <a:pt x="114" y="74"/>
                  </a:moveTo>
                  <a:cubicBezTo>
                    <a:pt x="114" y="74"/>
                    <a:pt x="122" y="58"/>
                    <a:pt x="125" y="49"/>
                  </a:cubicBezTo>
                  <a:cubicBezTo>
                    <a:pt x="127" y="40"/>
                    <a:pt x="131" y="37"/>
                    <a:pt x="132" y="27"/>
                  </a:cubicBezTo>
                  <a:cubicBezTo>
                    <a:pt x="132" y="21"/>
                    <a:pt x="128" y="11"/>
                    <a:pt x="126" y="5"/>
                  </a:cubicBezTo>
                  <a:cubicBezTo>
                    <a:pt x="121" y="8"/>
                    <a:pt x="120" y="12"/>
                    <a:pt x="120" y="12"/>
                  </a:cubicBezTo>
                  <a:cubicBezTo>
                    <a:pt x="120" y="12"/>
                    <a:pt x="85" y="0"/>
                    <a:pt x="70" y="0"/>
                  </a:cubicBezTo>
                  <a:cubicBezTo>
                    <a:pt x="56" y="0"/>
                    <a:pt x="49" y="2"/>
                    <a:pt x="43" y="10"/>
                  </a:cubicBezTo>
                  <a:cubicBezTo>
                    <a:pt x="37" y="17"/>
                    <a:pt x="62" y="17"/>
                    <a:pt x="68" y="17"/>
                  </a:cubicBezTo>
                  <a:cubicBezTo>
                    <a:pt x="74" y="17"/>
                    <a:pt x="87" y="31"/>
                    <a:pt x="87" y="31"/>
                  </a:cubicBezTo>
                  <a:cubicBezTo>
                    <a:pt x="87" y="31"/>
                    <a:pt x="72" y="34"/>
                    <a:pt x="74" y="49"/>
                  </a:cubicBezTo>
                  <a:cubicBezTo>
                    <a:pt x="76" y="65"/>
                    <a:pt x="84" y="70"/>
                    <a:pt x="72" y="70"/>
                  </a:cubicBezTo>
                  <a:cubicBezTo>
                    <a:pt x="59" y="70"/>
                    <a:pt x="39" y="63"/>
                    <a:pt x="31" y="64"/>
                  </a:cubicBezTo>
                  <a:cubicBezTo>
                    <a:pt x="22" y="66"/>
                    <a:pt x="6" y="62"/>
                    <a:pt x="0" y="72"/>
                  </a:cubicBezTo>
                  <a:cubicBezTo>
                    <a:pt x="0" y="72"/>
                    <a:pt x="18" y="98"/>
                    <a:pt x="26" y="102"/>
                  </a:cubicBezTo>
                  <a:cubicBezTo>
                    <a:pt x="35" y="106"/>
                    <a:pt x="43" y="87"/>
                    <a:pt x="43" y="87"/>
                  </a:cubicBezTo>
                  <a:cubicBezTo>
                    <a:pt x="43" y="87"/>
                    <a:pt x="57" y="89"/>
                    <a:pt x="74" y="89"/>
                  </a:cubicBezTo>
                  <a:cubicBezTo>
                    <a:pt x="90" y="89"/>
                    <a:pt x="111" y="85"/>
                    <a:pt x="111" y="85"/>
                  </a:cubicBezTo>
                  <a:cubicBezTo>
                    <a:pt x="121" y="98"/>
                    <a:pt x="121" y="98"/>
                    <a:pt x="121" y="98"/>
                  </a:cubicBezTo>
                  <a:lnTo>
                    <a:pt x="114" y="74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29" name="Freeform 145"/>
            <p:cNvSpPr>
              <a:spLocks noEditPoints="1"/>
            </p:cNvSpPr>
            <p:nvPr/>
          </p:nvSpPr>
          <p:spPr bwMode="auto">
            <a:xfrm>
              <a:off x="1689" y="1716"/>
              <a:ext cx="1157" cy="995"/>
            </a:xfrm>
            <a:custGeom>
              <a:avLst/>
              <a:gdLst>
                <a:gd name="T0" fmla="*/ 0 w 3050"/>
                <a:gd name="T1" fmla="*/ 0 h 2623"/>
                <a:gd name="T2" fmla="*/ 0 w 3050"/>
                <a:gd name="T3" fmla="*/ 0 h 2623"/>
                <a:gd name="T4" fmla="*/ 0 w 3050"/>
                <a:gd name="T5" fmla="*/ 0 h 2623"/>
                <a:gd name="T6" fmla="*/ 0 w 3050"/>
                <a:gd name="T7" fmla="*/ 0 h 2623"/>
                <a:gd name="T8" fmla="*/ 0 w 3050"/>
                <a:gd name="T9" fmla="*/ 0 h 2623"/>
                <a:gd name="T10" fmla="*/ 0 w 3050"/>
                <a:gd name="T11" fmla="*/ 0 h 2623"/>
                <a:gd name="T12" fmla="*/ 0 w 3050"/>
                <a:gd name="T13" fmla="*/ 0 h 2623"/>
                <a:gd name="T14" fmla="*/ 0 w 3050"/>
                <a:gd name="T15" fmla="*/ 0 h 2623"/>
                <a:gd name="T16" fmla="*/ 0 w 3050"/>
                <a:gd name="T17" fmla="*/ 0 h 2623"/>
                <a:gd name="T18" fmla="*/ 0 w 3050"/>
                <a:gd name="T19" fmla="*/ 0 h 2623"/>
                <a:gd name="T20" fmla="*/ 0 w 3050"/>
                <a:gd name="T21" fmla="*/ 0 h 2623"/>
                <a:gd name="T22" fmla="*/ 0 w 3050"/>
                <a:gd name="T23" fmla="*/ 0 h 2623"/>
                <a:gd name="T24" fmla="*/ 0 w 3050"/>
                <a:gd name="T25" fmla="*/ 0 h 2623"/>
                <a:gd name="T26" fmla="*/ 0 w 3050"/>
                <a:gd name="T27" fmla="*/ 0 h 2623"/>
                <a:gd name="T28" fmla="*/ 0 w 3050"/>
                <a:gd name="T29" fmla="*/ 0 h 2623"/>
                <a:gd name="T30" fmla="*/ 0 w 3050"/>
                <a:gd name="T31" fmla="*/ 0 h 2623"/>
                <a:gd name="T32" fmla="*/ 0 w 3050"/>
                <a:gd name="T33" fmla="*/ 0 h 2623"/>
                <a:gd name="T34" fmla="*/ 0 w 3050"/>
                <a:gd name="T35" fmla="*/ 0 h 2623"/>
                <a:gd name="T36" fmla="*/ 0 w 3050"/>
                <a:gd name="T37" fmla="*/ 0 h 2623"/>
                <a:gd name="T38" fmla="*/ 0 w 3050"/>
                <a:gd name="T39" fmla="*/ 0 h 2623"/>
                <a:gd name="T40" fmla="*/ 0 w 3050"/>
                <a:gd name="T41" fmla="*/ 0 h 2623"/>
                <a:gd name="T42" fmla="*/ 0 w 3050"/>
                <a:gd name="T43" fmla="*/ 0 h 2623"/>
                <a:gd name="T44" fmla="*/ 0 w 3050"/>
                <a:gd name="T45" fmla="*/ 0 h 2623"/>
                <a:gd name="T46" fmla="*/ 0 w 3050"/>
                <a:gd name="T47" fmla="*/ 0 h 2623"/>
                <a:gd name="T48" fmla="*/ 0 w 3050"/>
                <a:gd name="T49" fmla="*/ 0 h 2623"/>
                <a:gd name="T50" fmla="*/ 0 w 3050"/>
                <a:gd name="T51" fmla="*/ 0 h 2623"/>
                <a:gd name="T52" fmla="*/ 0 w 3050"/>
                <a:gd name="T53" fmla="*/ 0 h 2623"/>
                <a:gd name="T54" fmla="*/ 0 w 3050"/>
                <a:gd name="T55" fmla="*/ 0 h 2623"/>
                <a:gd name="T56" fmla="*/ 0 w 3050"/>
                <a:gd name="T57" fmla="*/ 0 h 2623"/>
                <a:gd name="T58" fmla="*/ 0 w 3050"/>
                <a:gd name="T59" fmla="*/ 0 h 2623"/>
                <a:gd name="T60" fmla="*/ 0 w 3050"/>
                <a:gd name="T61" fmla="*/ 0 h 2623"/>
                <a:gd name="T62" fmla="*/ 0 w 3050"/>
                <a:gd name="T63" fmla="*/ 0 h 2623"/>
                <a:gd name="T64" fmla="*/ 0 w 3050"/>
                <a:gd name="T65" fmla="*/ 0 h 2623"/>
                <a:gd name="T66" fmla="*/ 0 w 3050"/>
                <a:gd name="T67" fmla="*/ 0 h 2623"/>
                <a:gd name="T68" fmla="*/ 0 w 3050"/>
                <a:gd name="T69" fmla="*/ 0 h 2623"/>
                <a:gd name="T70" fmla="*/ 0 w 3050"/>
                <a:gd name="T71" fmla="*/ 0 h 2623"/>
                <a:gd name="T72" fmla="*/ 0 w 3050"/>
                <a:gd name="T73" fmla="*/ 0 h 2623"/>
                <a:gd name="T74" fmla="*/ 0 w 3050"/>
                <a:gd name="T75" fmla="*/ 0 h 2623"/>
                <a:gd name="T76" fmla="*/ 0 w 3050"/>
                <a:gd name="T77" fmla="*/ 0 h 2623"/>
                <a:gd name="T78" fmla="*/ 0 w 3050"/>
                <a:gd name="T79" fmla="*/ 0 h 2623"/>
                <a:gd name="T80" fmla="*/ 0 w 3050"/>
                <a:gd name="T81" fmla="*/ 0 h 2623"/>
                <a:gd name="T82" fmla="*/ 0 w 3050"/>
                <a:gd name="T83" fmla="*/ 0 h 2623"/>
                <a:gd name="T84" fmla="*/ 0 w 3050"/>
                <a:gd name="T85" fmla="*/ 0 h 2623"/>
                <a:gd name="T86" fmla="*/ 0 w 3050"/>
                <a:gd name="T87" fmla="*/ 0 h 2623"/>
                <a:gd name="T88" fmla="*/ 0 w 3050"/>
                <a:gd name="T89" fmla="*/ 0 h 2623"/>
                <a:gd name="T90" fmla="*/ 0 w 3050"/>
                <a:gd name="T91" fmla="*/ 0 h 2623"/>
                <a:gd name="T92" fmla="*/ 0 w 3050"/>
                <a:gd name="T93" fmla="*/ 0 h 2623"/>
                <a:gd name="T94" fmla="*/ 0 w 3050"/>
                <a:gd name="T95" fmla="*/ 0 h 2623"/>
                <a:gd name="T96" fmla="*/ 0 w 3050"/>
                <a:gd name="T97" fmla="*/ 0 h 2623"/>
                <a:gd name="T98" fmla="*/ 0 w 3050"/>
                <a:gd name="T99" fmla="*/ 0 h 2623"/>
                <a:gd name="T100" fmla="*/ 0 w 3050"/>
                <a:gd name="T101" fmla="*/ 0 h 2623"/>
                <a:gd name="T102" fmla="*/ 0 w 3050"/>
                <a:gd name="T103" fmla="*/ 0 h 2623"/>
                <a:gd name="T104" fmla="*/ 0 w 3050"/>
                <a:gd name="T105" fmla="*/ 0 h 262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050"/>
                <a:gd name="T160" fmla="*/ 0 h 2623"/>
                <a:gd name="T161" fmla="*/ 3050 w 3050"/>
                <a:gd name="T162" fmla="*/ 2623 h 262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050" h="2623">
                  <a:moveTo>
                    <a:pt x="3048" y="446"/>
                  </a:moveTo>
                  <a:cubicBezTo>
                    <a:pt x="3043" y="444"/>
                    <a:pt x="3043" y="444"/>
                    <a:pt x="3043" y="444"/>
                  </a:cubicBezTo>
                  <a:cubicBezTo>
                    <a:pt x="3043" y="444"/>
                    <a:pt x="3049" y="436"/>
                    <a:pt x="3045" y="429"/>
                  </a:cubicBezTo>
                  <a:cubicBezTo>
                    <a:pt x="3041" y="422"/>
                    <a:pt x="3033" y="440"/>
                    <a:pt x="3033" y="440"/>
                  </a:cubicBezTo>
                  <a:cubicBezTo>
                    <a:pt x="3033" y="440"/>
                    <a:pt x="3004" y="453"/>
                    <a:pt x="3007" y="467"/>
                  </a:cubicBezTo>
                  <a:cubicBezTo>
                    <a:pt x="3010" y="481"/>
                    <a:pt x="3017" y="487"/>
                    <a:pt x="3017" y="487"/>
                  </a:cubicBezTo>
                  <a:cubicBezTo>
                    <a:pt x="3017" y="487"/>
                    <a:pt x="3008" y="498"/>
                    <a:pt x="3016" y="505"/>
                  </a:cubicBezTo>
                  <a:cubicBezTo>
                    <a:pt x="3024" y="512"/>
                    <a:pt x="3033" y="513"/>
                    <a:pt x="3033" y="513"/>
                  </a:cubicBezTo>
                  <a:cubicBezTo>
                    <a:pt x="3033" y="513"/>
                    <a:pt x="3043" y="506"/>
                    <a:pt x="3043" y="495"/>
                  </a:cubicBezTo>
                  <a:cubicBezTo>
                    <a:pt x="3043" y="484"/>
                    <a:pt x="3042" y="481"/>
                    <a:pt x="3042" y="481"/>
                  </a:cubicBezTo>
                  <a:cubicBezTo>
                    <a:pt x="3050" y="477"/>
                    <a:pt x="3050" y="477"/>
                    <a:pt x="3050" y="477"/>
                  </a:cubicBezTo>
                  <a:lnTo>
                    <a:pt x="3048" y="446"/>
                  </a:lnTo>
                  <a:close/>
                  <a:moveTo>
                    <a:pt x="2964" y="107"/>
                  </a:moveTo>
                  <a:cubicBezTo>
                    <a:pt x="2964" y="103"/>
                    <a:pt x="2964" y="103"/>
                    <a:pt x="2964" y="103"/>
                  </a:cubicBezTo>
                  <a:cubicBezTo>
                    <a:pt x="2964" y="103"/>
                    <a:pt x="2950" y="107"/>
                    <a:pt x="2944" y="106"/>
                  </a:cubicBezTo>
                  <a:cubicBezTo>
                    <a:pt x="2938" y="105"/>
                    <a:pt x="2940" y="100"/>
                    <a:pt x="2940" y="100"/>
                  </a:cubicBezTo>
                  <a:cubicBezTo>
                    <a:pt x="2923" y="100"/>
                    <a:pt x="2923" y="100"/>
                    <a:pt x="2923" y="100"/>
                  </a:cubicBezTo>
                  <a:cubicBezTo>
                    <a:pt x="2923" y="100"/>
                    <a:pt x="2927" y="90"/>
                    <a:pt x="2924" y="87"/>
                  </a:cubicBezTo>
                  <a:cubicBezTo>
                    <a:pt x="2921" y="84"/>
                    <a:pt x="2919" y="80"/>
                    <a:pt x="2919" y="80"/>
                  </a:cubicBezTo>
                  <a:cubicBezTo>
                    <a:pt x="2908" y="78"/>
                    <a:pt x="2908" y="78"/>
                    <a:pt x="2908" y="78"/>
                  </a:cubicBezTo>
                  <a:cubicBezTo>
                    <a:pt x="2899" y="85"/>
                    <a:pt x="2899" y="85"/>
                    <a:pt x="2899" y="85"/>
                  </a:cubicBezTo>
                  <a:cubicBezTo>
                    <a:pt x="2894" y="81"/>
                    <a:pt x="2894" y="81"/>
                    <a:pt x="2894" y="81"/>
                  </a:cubicBezTo>
                  <a:cubicBezTo>
                    <a:pt x="2880" y="81"/>
                    <a:pt x="2880" y="81"/>
                    <a:pt x="2880" y="81"/>
                  </a:cubicBezTo>
                  <a:cubicBezTo>
                    <a:pt x="2880" y="81"/>
                    <a:pt x="2879" y="80"/>
                    <a:pt x="2877" y="77"/>
                  </a:cubicBezTo>
                  <a:cubicBezTo>
                    <a:pt x="2875" y="74"/>
                    <a:pt x="2853" y="70"/>
                    <a:pt x="2853" y="70"/>
                  </a:cubicBezTo>
                  <a:cubicBezTo>
                    <a:pt x="2853" y="54"/>
                    <a:pt x="2853" y="54"/>
                    <a:pt x="2853" y="54"/>
                  </a:cubicBezTo>
                  <a:cubicBezTo>
                    <a:pt x="2843" y="61"/>
                    <a:pt x="2843" y="61"/>
                    <a:pt x="2843" y="61"/>
                  </a:cubicBezTo>
                  <a:cubicBezTo>
                    <a:pt x="2828" y="61"/>
                    <a:pt x="2828" y="61"/>
                    <a:pt x="2828" y="61"/>
                  </a:cubicBezTo>
                  <a:cubicBezTo>
                    <a:pt x="2828" y="61"/>
                    <a:pt x="2828" y="45"/>
                    <a:pt x="2823" y="42"/>
                  </a:cubicBezTo>
                  <a:cubicBezTo>
                    <a:pt x="2818" y="39"/>
                    <a:pt x="2800" y="37"/>
                    <a:pt x="2800" y="37"/>
                  </a:cubicBezTo>
                  <a:cubicBezTo>
                    <a:pt x="2793" y="30"/>
                    <a:pt x="2793" y="30"/>
                    <a:pt x="2793" y="30"/>
                  </a:cubicBezTo>
                  <a:cubicBezTo>
                    <a:pt x="2777" y="26"/>
                    <a:pt x="2777" y="26"/>
                    <a:pt x="2777" y="26"/>
                  </a:cubicBezTo>
                  <a:cubicBezTo>
                    <a:pt x="2771" y="12"/>
                    <a:pt x="2771" y="12"/>
                    <a:pt x="2771" y="12"/>
                  </a:cubicBezTo>
                  <a:cubicBezTo>
                    <a:pt x="2772" y="3"/>
                    <a:pt x="2772" y="3"/>
                    <a:pt x="2772" y="3"/>
                  </a:cubicBezTo>
                  <a:cubicBezTo>
                    <a:pt x="2772" y="3"/>
                    <a:pt x="2756" y="0"/>
                    <a:pt x="2746" y="4"/>
                  </a:cubicBezTo>
                  <a:cubicBezTo>
                    <a:pt x="2736" y="8"/>
                    <a:pt x="2711" y="4"/>
                    <a:pt x="2715" y="12"/>
                  </a:cubicBezTo>
                  <a:cubicBezTo>
                    <a:pt x="2719" y="20"/>
                    <a:pt x="2722" y="27"/>
                    <a:pt x="2722" y="27"/>
                  </a:cubicBezTo>
                  <a:cubicBezTo>
                    <a:pt x="2722" y="27"/>
                    <a:pt x="2730" y="44"/>
                    <a:pt x="2719" y="52"/>
                  </a:cubicBezTo>
                  <a:cubicBezTo>
                    <a:pt x="2708" y="60"/>
                    <a:pt x="2686" y="60"/>
                    <a:pt x="2686" y="60"/>
                  </a:cubicBezTo>
                  <a:cubicBezTo>
                    <a:pt x="2661" y="80"/>
                    <a:pt x="2661" y="80"/>
                    <a:pt x="2661" y="80"/>
                  </a:cubicBezTo>
                  <a:cubicBezTo>
                    <a:pt x="2670" y="86"/>
                    <a:pt x="2670" y="86"/>
                    <a:pt x="2670" y="86"/>
                  </a:cubicBezTo>
                  <a:cubicBezTo>
                    <a:pt x="2670" y="86"/>
                    <a:pt x="2650" y="98"/>
                    <a:pt x="2635" y="97"/>
                  </a:cubicBezTo>
                  <a:cubicBezTo>
                    <a:pt x="2620" y="96"/>
                    <a:pt x="2611" y="91"/>
                    <a:pt x="2611" y="91"/>
                  </a:cubicBezTo>
                  <a:cubicBezTo>
                    <a:pt x="2600" y="76"/>
                    <a:pt x="2600" y="76"/>
                    <a:pt x="2600" y="76"/>
                  </a:cubicBezTo>
                  <a:cubicBezTo>
                    <a:pt x="2600" y="76"/>
                    <a:pt x="2579" y="68"/>
                    <a:pt x="2580" y="75"/>
                  </a:cubicBezTo>
                  <a:cubicBezTo>
                    <a:pt x="2581" y="82"/>
                    <a:pt x="2592" y="96"/>
                    <a:pt x="2592" y="96"/>
                  </a:cubicBezTo>
                  <a:cubicBezTo>
                    <a:pt x="2592" y="96"/>
                    <a:pt x="2605" y="120"/>
                    <a:pt x="2587" y="123"/>
                  </a:cubicBezTo>
                  <a:cubicBezTo>
                    <a:pt x="2569" y="126"/>
                    <a:pt x="2550" y="125"/>
                    <a:pt x="2550" y="125"/>
                  </a:cubicBezTo>
                  <a:cubicBezTo>
                    <a:pt x="2543" y="136"/>
                    <a:pt x="2543" y="136"/>
                    <a:pt x="2543" y="136"/>
                  </a:cubicBezTo>
                  <a:cubicBezTo>
                    <a:pt x="2543" y="136"/>
                    <a:pt x="2527" y="116"/>
                    <a:pt x="2521" y="117"/>
                  </a:cubicBezTo>
                  <a:cubicBezTo>
                    <a:pt x="2515" y="118"/>
                    <a:pt x="2495" y="124"/>
                    <a:pt x="2495" y="124"/>
                  </a:cubicBezTo>
                  <a:cubicBezTo>
                    <a:pt x="2495" y="124"/>
                    <a:pt x="2459" y="129"/>
                    <a:pt x="2456" y="136"/>
                  </a:cubicBezTo>
                  <a:cubicBezTo>
                    <a:pt x="2453" y="143"/>
                    <a:pt x="2475" y="149"/>
                    <a:pt x="2474" y="152"/>
                  </a:cubicBezTo>
                  <a:cubicBezTo>
                    <a:pt x="2473" y="155"/>
                    <a:pt x="2444" y="153"/>
                    <a:pt x="2450" y="161"/>
                  </a:cubicBezTo>
                  <a:cubicBezTo>
                    <a:pt x="2456" y="169"/>
                    <a:pt x="2475" y="170"/>
                    <a:pt x="2475" y="170"/>
                  </a:cubicBezTo>
                  <a:cubicBezTo>
                    <a:pt x="2482" y="166"/>
                    <a:pt x="2482" y="166"/>
                    <a:pt x="2482" y="166"/>
                  </a:cubicBezTo>
                  <a:cubicBezTo>
                    <a:pt x="2514" y="184"/>
                    <a:pt x="2514" y="184"/>
                    <a:pt x="2514" y="184"/>
                  </a:cubicBezTo>
                  <a:cubicBezTo>
                    <a:pt x="2534" y="184"/>
                    <a:pt x="2534" y="184"/>
                    <a:pt x="2534" y="184"/>
                  </a:cubicBezTo>
                  <a:cubicBezTo>
                    <a:pt x="2546" y="196"/>
                    <a:pt x="2546" y="196"/>
                    <a:pt x="2546" y="196"/>
                  </a:cubicBezTo>
                  <a:cubicBezTo>
                    <a:pt x="2572" y="199"/>
                    <a:pt x="2572" y="199"/>
                    <a:pt x="2572" y="199"/>
                  </a:cubicBezTo>
                  <a:cubicBezTo>
                    <a:pt x="2553" y="209"/>
                    <a:pt x="2553" y="209"/>
                    <a:pt x="2553" y="209"/>
                  </a:cubicBezTo>
                  <a:cubicBezTo>
                    <a:pt x="2553" y="209"/>
                    <a:pt x="2572" y="240"/>
                    <a:pt x="2576" y="244"/>
                  </a:cubicBezTo>
                  <a:cubicBezTo>
                    <a:pt x="2580" y="248"/>
                    <a:pt x="2597" y="248"/>
                    <a:pt x="2597" y="248"/>
                  </a:cubicBezTo>
                  <a:cubicBezTo>
                    <a:pt x="2595" y="277"/>
                    <a:pt x="2595" y="277"/>
                    <a:pt x="2595" y="277"/>
                  </a:cubicBezTo>
                  <a:cubicBezTo>
                    <a:pt x="2608" y="297"/>
                    <a:pt x="2608" y="297"/>
                    <a:pt x="2608" y="297"/>
                  </a:cubicBezTo>
                  <a:cubicBezTo>
                    <a:pt x="2617" y="320"/>
                    <a:pt x="2617" y="320"/>
                    <a:pt x="2617" y="320"/>
                  </a:cubicBezTo>
                  <a:cubicBezTo>
                    <a:pt x="2596" y="294"/>
                    <a:pt x="2596" y="294"/>
                    <a:pt x="2596" y="294"/>
                  </a:cubicBezTo>
                  <a:cubicBezTo>
                    <a:pt x="2596" y="294"/>
                    <a:pt x="2594" y="323"/>
                    <a:pt x="2593" y="333"/>
                  </a:cubicBezTo>
                  <a:cubicBezTo>
                    <a:pt x="2592" y="343"/>
                    <a:pt x="2581" y="383"/>
                    <a:pt x="2576" y="391"/>
                  </a:cubicBezTo>
                  <a:cubicBezTo>
                    <a:pt x="2572" y="398"/>
                    <a:pt x="2574" y="407"/>
                    <a:pt x="2562" y="409"/>
                  </a:cubicBezTo>
                  <a:cubicBezTo>
                    <a:pt x="2563" y="415"/>
                    <a:pt x="2563" y="415"/>
                    <a:pt x="2563" y="415"/>
                  </a:cubicBezTo>
                  <a:cubicBezTo>
                    <a:pt x="2563" y="415"/>
                    <a:pt x="2572" y="407"/>
                    <a:pt x="2578" y="414"/>
                  </a:cubicBezTo>
                  <a:cubicBezTo>
                    <a:pt x="2584" y="421"/>
                    <a:pt x="2578" y="424"/>
                    <a:pt x="2578" y="424"/>
                  </a:cubicBezTo>
                  <a:cubicBezTo>
                    <a:pt x="2578" y="424"/>
                    <a:pt x="2592" y="426"/>
                    <a:pt x="2599" y="427"/>
                  </a:cubicBezTo>
                  <a:cubicBezTo>
                    <a:pt x="2606" y="428"/>
                    <a:pt x="2612" y="437"/>
                    <a:pt x="2612" y="437"/>
                  </a:cubicBezTo>
                  <a:cubicBezTo>
                    <a:pt x="2612" y="437"/>
                    <a:pt x="2622" y="433"/>
                    <a:pt x="2626" y="435"/>
                  </a:cubicBezTo>
                  <a:cubicBezTo>
                    <a:pt x="2630" y="437"/>
                    <a:pt x="2631" y="440"/>
                    <a:pt x="2631" y="440"/>
                  </a:cubicBezTo>
                  <a:cubicBezTo>
                    <a:pt x="2651" y="441"/>
                    <a:pt x="2651" y="441"/>
                    <a:pt x="2651" y="441"/>
                  </a:cubicBezTo>
                  <a:cubicBezTo>
                    <a:pt x="2653" y="449"/>
                    <a:pt x="2653" y="449"/>
                    <a:pt x="2653" y="449"/>
                  </a:cubicBezTo>
                  <a:cubicBezTo>
                    <a:pt x="2666" y="446"/>
                    <a:pt x="2666" y="446"/>
                    <a:pt x="2666" y="446"/>
                  </a:cubicBezTo>
                  <a:cubicBezTo>
                    <a:pt x="2666" y="446"/>
                    <a:pt x="2660" y="434"/>
                    <a:pt x="2673" y="434"/>
                  </a:cubicBezTo>
                  <a:cubicBezTo>
                    <a:pt x="2686" y="434"/>
                    <a:pt x="2686" y="441"/>
                    <a:pt x="2686" y="441"/>
                  </a:cubicBezTo>
                  <a:cubicBezTo>
                    <a:pt x="2695" y="442"/>
                    <a:pt x="2695" y="442"/>
                    <a:pt x="2695" y="442"/>
                  </a:cubicBezTo>
                  <a:cubicBezTo>
                    <a:pt x="2697" y="446"/>
                    <a:pt x="2697" y="446"/>
                    <a:pt x="2697" y="446"/>
                  </a:cubicBezTo>
                  <a:cubicBezTo>
                    <a:pt x="2698" y="445"/>
                    <a:pt x="2700" y="445"/>
                    <a:pt x="2702" y="445"/>
                  </a:cubicBezTo>
                  <a:cubicBezTo>
                    <a:pt x="2712" y="444"/>
                    <a:pt x="2716" y="445"/>
                    <a:pt x="2716" y="445"/>
                  </a:cubicBezTo>
                  <a:cubicBezTo>
                    <a:pt x="2717" y="454"/>
                    <a:pt x="2717" y="454"/>
                    <a:pt x="2717" y="454"/>
                  </a:cubicBezTo>
                  <a:cubicBezTo>
                    <a:pt x="2720" y="455"/>
                    <a:pt x="2722" y="459"/>
                    <a:pt x="2722" y="459"/>
                  </a:cubicBezTo>
                  <a:cubicBezTo>
                    <a:pt x="2722" y="459"/>
                    <a:pt x="2729" y="457"/>
                    <a:pt x="2732" y="456"/>
                  </a:cubicBezTo>
                  <a:cubicBezTo>
                    <a:pt x="2735" y="455"/>
                    <a:pt x="2742" y="463"/>
                    <a:pt x="2742" y="463"/>
                  </a:cubicBezTo>
                  <a:cubicBezTo>
                    <a:pt x="2742" y="463"/>
                    <a:pt x="2743" y="463"/>
                    <a:pt x="2750" y="463"/>
                  </a:cubicBezTo>
                  <a:cubicBezTo>
                    <a:pt x="2757" y="463"/>
                    <a:pt x="2757" y="453"/>
                    <a:pt x="2757" y="453"/>
                  </a:cubicBezTo>
                  <a:cubicBezTo>
                    <a:pt x="2763" y="453"/>
                    <a:pt x="2763" y="453"/>
                    <a:pt x="2763" y="453"/>
                  </a:cubicBezTo>
                  <a:cubicBezTo>
                    <a:pt x="2763" y="452"/>
                    <a:pt x="2763" y="451"/>
                    <a:pt x="2763" y="450"/>
                  </a:cubicBezTo>
                  <a:cubicBezTo>
                    <a:pt x="2763" y="440"/>
                    <a:pt x="2778" y="417"/>
                    <a:pt x="2785" y="413"/>
                  </a:cubicBezTo>
                  <a:cubicBezTo>
                    <a:pt x="2792" y="409"/>
                    <a:pt x="2813" y="392"/>
                    <a:pt x="2822" y="397"/>
                  </a:cubicBezTo>
                  <a:cubicBezTo>
                    <a:pt x="2831" y="402"/>
                    <a:pt x="2839" y="407"/>
                    <a:pt x="2839" y="407"/>
                  </a:cubicBezTo>
                  <a:cubicBezTo>
                    <a:pt x="2839" y="407"/>
                    <a:pt x="2862" y="401"/>
                    <a:pt x="2867" y="406"/>
                  </a:cubicBezTo>
                  <a:cubicBezTo>
                    <a:pt x="2872" y="411"/>
                    <a:pt x="2879" y="419"/>
                    <a:pt x="2882" y="421"/>
                  </a:cubicBezTo>
                  <a:cubicBezTo>
                    <a:pt x="2882" y="421"/>
                    <a:pt x="2907" y="431"/>
                    <a:pt x="2920" y="421"/>
                  </a:cubicBezTo>
                  <a:cubicBezTo>
                    <a:pt x="2933" y="411"/>
                    <a:pt x="2937" y="392"/>
                    <a:pt x="2943" y="390"/>
                  </a:cubicBezTo>
                  <a:cubicBezTo>
                    <a:pt x="2945" y="389"/>
                    <a:pt x="2951" y="389"/>
                    <a:pt x="2957" y="388"/>
                  </a:cubicBezTo>
                  <a:cubicBezTo>
                    <a:pt x="2957" y="385"/>
                    <a:pt x="2958" y="383"/>
                    <a:pt x="2960" y="383"/>
                  </a:cubicBezTo>
                  <a:cubicBezTo>
                    <a:pt x="2964" y="383"/>
                    <a:pt x="2970" y="373"/>
                    <a:pt x="2967" y="369"/>
                  </a:cubicBezTo>
                  <a:cubicBezTo>
                    <a:pt x="2964" y="365"/>
                    <a:pt x="2950" y="367"/>
                    <a:pt x="2950" y="367"/>
                  </a:cubicBezTo>
                  <a:cubicBezTo>
                    <a:pt x="2947" y="361"/>
                    <a:pt x="2947" y="361"/>
                    <a:pt x="2947" y="361"/>
                  </a:cubicBezTo>
                  <a:cubicBezTo>
                    <a:pt x="2947" y="361"/>
                    <a:pt x="2933" y="360"/>
                    <a:pt x="2934" y="350"/>
                  </a:cubicBezTo>
                  <a:cubicBezTo>
                    <a:pt x="2935" y="340"/>
                    <a:pt x="2941" y="340"/>
                    <a:pt x="2940" y="335"/>
                  </a:cubicBezTo>
                  <a:cubicBezTo>
                    <a:pt x="2939" y="330"/>
                    <a:pt x="2935" y="327"/>
                    <a:pt x="2935" y="327"/>
                  </a:cubicBezTo>
                  <a:cubicBezTo>
                    <a:pt x="2928" y="327"/>
                    <a:pt x="2928" y="327"/>
                    <a:pt x="2928" y="327"/>
                  </a:cubicBezTo>
                  <a:cubicBezTo>
                    <a:pt x="2922" y="314"/>
                    <a:pt x="2922" y="314"/>
                    <a:pt x="2922" y="314"/>
                  </a:cubicBezTo>
                  <a:cubicBezTo>
                    <a:pt x="2931" y="312"/>
                    <a:pt x="2931" y="312"/>
                    <a:pt x="2931" y="312"/>
                  </a:cubicBezTo>
                  <a:cubicBezTo>
                    <a:pt x="2931" y="312"/>
                    <a:pt x="2950" y="311"/>
                    <a:pt x="2950" y="302"/>
                  </a:cubicBezTo>
                  <a:cubicBezTo>
                    <a:pt x="2950" y="293"/>
                    <a:pt x="2939" y="289"/>
                    <a:pt x="2939" y="289"/>
                  </a:cubicBezTo>
                  <a:cubicBezTo>
                    <a:pt x="2931" y="281"/>
                    <a:pt x="2931" y="281"/>
                    <a:pt x="2931" y="281"/>
                  </a:cubicBezTo>
                  <a:cubicBezTo>
                    <a:pt x="2931" y="281"/>
                    <a:pt x="2941" y="277"/>
                    <a:pt x="2941" y="273"/>
                  </a:cubicBezTo>
                  <a:cubicBezTo>
                    <a:pt x="2941" y="269"/>
                    <a:pt x="2934" y="263"/>
                    <a:pt x="2934" y="263"/>
                  </a:cubicBezTo>
                  <a:cubicBezTo>
                    <a:pt x="2935" y="245"/>
                    <a:pt x="2935" y="245"/>
                    <a:pt x="2935" y="245"/>
                  </a:cubicBezTo>
                  <a:cubicBezTo>
                    <a:pt x="2935" y="245"/>
                    <a:pt x="2927" y="239"/>
                    <a:pt x="2920" y="243"/>
                  </a:cubicBezTo>
                  <a:cubicBezTo>
                    <a:pt x="2913" y="247"/>
                    <a:pt x="2908" y="260"/>
                    <a:pt x="2902" y="259"/>
                  </a:cubicBezTo>
                  <a:cubicBezTo>
                    <a:pt x="2896" y="258"/>
                    <a:pt x="2906" y="250"/>
                    <a:pt x="2906" y="250"/>
                  </a:cubicBezTo>
                  <a:cubicBezTo>
                    <a:pt x="2900" y="242"/>
                    <a:pt x="2900" y="242"/>
                    <a:pt x="2900" y="242"/>
                  </a:cubicBezTo>
                  <a:cubicBezTo>
                    <a:pt x="2900" y="242"/>
                    <a:pt x="2912" y="233"/>
                    <a:pt x="2918" y="226"/>
                  </a:cubicBezTo>
                  <a:cubicBezTo>
                    <a:pt x="2924" y="219"/>
                    <a:pt x="2921" y="213"/>
                    <a:pt x="2921" y="213"/>
                  </a:cubicBezTo>
                  <a:cubicBezTo>
                    <a:pt x="2921" y="213"/>
                    <a:pt x="2927" y="219"/>
                    <a:pt x="2932" y="213"/>
                  </a:cubicBezTo>
                  <a:cubicBezTo>
                    <a:pt x="2937" y="207"/>
                    <a:pt x="2943" y="198"/>
                    <a:pt x="2943" y="198"/>
                  </a:cubicBezTo>
                  <a:cubicBezTo>
                    <a:pt x="2948" y="189"/>
                    <a:pt x="2948" y="189"/>
                    <a:pt x="2948" y="189"/>
                  </a:cubicBezTo>
                  <a:cubicBezTo>
                    <a:pt x="2961" y="196"/>
                    <a:pt x="2961" y="196"/>
                    <a:pt x="2961" y="196"/>
                  </a:cubicBezTo>
                  <a:cubicBezTo>
                    <a:pt x="2966" y="186"/>
                    <a:pt x="2966" y="186"/>
                    <a:pt x="2966" y="186"/>
                  </a:cubicBezTo>
                  <a:cubicBezTo>
                    <a:pt x="2966" y="186"/>
                    <a:pt x="2962" y="177"/>
                    <a:pt x="2964" y="166"/>
                  </a:cubicBezTo>
                  <a:cubicBezTo>
                    <a:pt x="2966" y="155"/>
                    <a:pt x="2976" y="136"/>
                    <a:pt x="2976" y="136"/>
                  </a:cubicBezTo>
                  <a:cubicBezTo>
                    <a:pt x="2976" y="128"/>
                    <a:pt x="2976" y="128"/>
                    <a:pt x="2976" y="128"/>
                  </a:cubicBezTo>
                  <a:cubicBezTo>
                    <a:pt x="2990" y="117"/>
                    <a:pt x="2990" y="117"/>
                    <a:pt x="2990" y="117"/>
                  </a:cubicBezTo>
                  <a:cubicBezTo>
                    <a:pt x="2992" y="111"/>
                    <a:pt x="2992" y="111"/>
                    <a:pt x="2992" y="111"/>
                  </a:cubicBezTo>
                  <a:cubicBezTo>
                    <a:pt x="2982" y="106"/>
                    <a:pt x="2982" y="106"/>
                    <a:pt x="2982" y="106"/>
                  </a:cubicBezTo>
                  <a:lnTo>
                    <a:pt x="2964" y="107"/>
                  </a:lnTo>
                  <a:close/>
                  <a:moveTo>
                    <a:pt x="106" y="2472"/>
                  </a:moveTo>
                  <a:cubicBezTo>
                    <a:pt x="90" y="2439"/>
                    <a:pt x="90" y="2439"/>
                    <a:pt x="90" y="2439"/>
                  </a:cubicBezTo>
                  <a:cubicBezTo>
                    <a:pt x="67" y="2439"/>
                    <a:pt x="67" y="2439"/>
                    <a:pt x="67" y="2439"/>
                  </a:cubicBezTo>
                  <a:cubicBezTo>
                    <a:pt x="67" y="2439"/>
                    <a:pt x="44" y="2431"/>
                    <a:pt x="36" y="2423"/>
                  </a:cubicBezTo>
                  <a:cubicBezTo>
                    <a:pt x="32" y="2430"/>
                    <a:pt x="32" y="2439"/>
                    <a:pt x="32" y="2444"/>
                  </a:cubicBezTo>
                  <a:cubicBezTo>
                    <a:pt x="32" y="2451"/>
                    <a:pt x="21" y="2450"/>
                    <a:pt x="10" y="2467"/>
                  </a:cubicBezTo>
                  <a:cubicBezTo>
                    <a:pt x="0" y="2483"/>
                    <a:pt x="10" y="2504"/>
                    <a:pt x="11" y="2517"/>
                  </a:cubicBezTo>
                  <a:cubicBezTo>
                    <a:pt x="12" y="2529"/>
                    <a:pt x="31" y="2534"/>
                    <a:pt x="32" y="2544"/>
                  </a:cubicBezTo>
                  <a:cubicBezTo>
                    <a:pt x="33" y="2554"/>
                    <a:pt x="21" y="2559"/>
                    <a:pt x="21" y="2559"/>
                  </a:cubicBezTo>
                  <a:cubicBezTo>
                    <a:pt x="23" y="2587"/>
                    <a:pt x="23" y="2587"/>
                    <a:pt x="23" y="2587"/>
                  </a:cubicBezTo>
                  <a:cubicBezTo>
                    <a:pt x="23" y="2587"/>
                    <a:pt x="12" y="2591"/>
                    <a:pt x="11" y="2594"/>
                  </a:cubicBezTo>
                  <a:cubicBezTo>
                    <a:pt x="10" y="2597"/>
                    <a:pt x="4" y="2611"/>
                    <a:pt x="4" y="2611"/>
                  </a:cubicBezTo>
                  <a:cubicBezTo>
                    <a:pt x="4" y="2611"/>
                    <a:pt x="6" y="2621"/>
                    <a:pt x="20" y="2622"/>
                  </a:cubicBezTo>
                  <a:cubicBezTo>
                    <a:pt x="34" y="2623"/>
                    <a:pt x="32" y="2617"/>
                    <a:pt x="38" y="2611"/>
                  </a:cubicBezTo>
                  <a:cubicBezTo>
                    <a:pt x="44" y="2605"/>
                    <a:pt x="48" y="2613"/>
                    <a:pt x="48" y="2613"/>
                  </a:cubicBezTo>
                  <a:cubicBezTo>
                    <a:pt x="58" y="2615"/>
                    <a:pt x="58" y="2615"/>
                    <a:pt x="58" y="2615"/>
                  </a:cubicBezTo>
                  <a:cubicBezTo>
                    <a:pt x="62" y="2610"/>
                    <a:pt x="62" y="2610"/>
                    <a:pt x="62" y="2610"/>
                  </a:cubicBezTo>
                  <a:cubicBezTo>
                    <a:pt x="62" y="2610"/>
                    <a:pt x="66" y="2618"/>
                    <a:pt x="66" y="2619"/>
                  </a:cubicBezTo>
                  <a:cubicBezTo>
                    <a:pt x="72" y="2619"/>
                    <a:pt x="87" y="2613"/>
                    <a:pt x="87" y="2613"/>
                  </a:cubicBezTo>
                  <a:cubicBezTo>
                    <a:pt x="104" y="2599"/>
                    <a:pt x="105" y="2580"/>
                    <a:pt x="108" y="2570"/>
                  </a:cubicBezTo>
                  <a:cubicBezTo>
                    <a:pt x="111" y="2560"/>
                    <a:pt x="120" y="2545"/>
                    <a:pt x="127" y="2539"/>
                  </a:cubicBezTo>
                  <a:cubicBezTo>
                    <a:pt x="134" y="2533"/>
                    <a:pt x="139" y="2516"/>
                    <a:pt x="139" y="2516"/>
                  </a:cubicBezTo>
                  <a:cubicBezTo>
                    <a:pt x="137" y="2511"/>
                    <a:pt x="125" y="2479"/>
                    <a:pt x="125" y="2479"/>
                  </a:cubicBezTo>
                  <a:lnTo>
                    <a:pt x="106" y="2472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30" name="Freeform 146"/>
            <p:cNvSpPr>
              <a:spLocks noEditPoints="1"/>
            </p:cNvSpPr>
            <p:nvPr/>
          </p:nvSpPr>
          <p:spPr bwMode="auto">
            <a:xfrm>
              <a:off x="2964" y="3205"/>
              <a:ext cx="288" cy="259"/>
            </a:xfrm>
            <a:custGeom>
              <a:avLst/>
              <a:gdLst>
                <a:gd name="T0" fmla="*/ 0 w 759"/>
                <a:gd name="T1" fmla="*/ 0 h 682"/>
                <a:gd name="T2" fmla="*/ 0 w 759"/>
                <a:gd name="T3" fmla="*/ 0 h 682"/>
                <a:gd name="T4" fmla="*/ 0 w 759"/>
                <a:gd name="T5" fmla="*/ 0 h 682"/>
                <a:gd name="T6" fmla="*/ 0 w 759"/>
                <a:gd name="T7" fmla="*/ 0 h 682"/>
                <a:gd name="T8" fmla="*/ 0 w 759"/>
                <a:gd name="T9" fmla="*/ 0 h 682"/>
                <a:gd name="T10" fmla="*/ 0 w 759"/>
                <a:gd name="T11" fmla="*/ 0 h 682"/>
                <a:gd name="T12" fmla="*/ 0 w 759"/>
                <a:gd name="T13" fmla="*/ 0 h 682"/>
                <a:gd name="T14" fmla="*/ 0 w 759"/>
                <a:gd name="T15" fmla="*/ 0 h 682"/>
                <a:gd name="T16" fmla="*/ 0 w 759"/>
                <a:gd name="T17" fmla="*/ 0 h 682"/>
                <a:gd name="T18" fmla="*/ 0 w 759"/>
                <a:gd name="T19" fmla="*/ 0 h 682"/>
                <a:gd name="T20" fmla="*/ 0 w 759"/>
                <a:gd name="T21" fmla="*/ 0 h 682"/>
                <a:gd name="T22" fmla="*/ 0 w 759"/>
                <a:gd name="T23" fmla="*/ 0 h 682"/>
                <a:gd name="T24" fmla="*/ 0 w 759"/>
                <a:gd name="T25" fmla="*/ 0 h 682"/>
                <a:gd name="T26" fmla="*/ 0 w 759"/>
                <a:gd name="T27" fmla="*/ 0 h 682"/>
                <a:gd name="T28" fmla="*/ 0 w 759"/>
                <a:gd name="T29" fmla="*/ 0 h 682"/>
                <a:gd name="T30" fmla="*/ 0 w 759"/>
                <a:gd name="T31" fmla="*/ 0 h 682"/>
                <a:gd name="T32" fmla="*/ 0 w 759"/>
                <a:gd name="T33" fmla="*/ 0 h 682"/>
                <a:gd name="T34" fmla="*/ 0 w 759"/>
                <a:gd name="T35" fmla="*/ 0 h 682"/>
                <a:gd name="T36" fmla="*/ 0 w 759"/>
                <a:gd name="T37" fmla="*/ 0 h 682"/>
                <a:gd name="T38" fmla="*/ 0 w 759"/>
                <a:gd name="T39" fmla="*/ 0 h 682"/>
                <a:gd name="T40" fmla="*/ 0 w 759"/>
                <a:gd name="T41" fmla="*/ 0 h 682"/>
                <a:gd name="T42" fmla="*/ 0 w 759"/>
                <a:gd name="T43" fmla="*/ 0 h 682"/>
                <a:gd name="T44" fmla="*/ 0 w 759"/>
                <a:gd name="T45" fmla="*/ 0 h 682"/>
                <a:gd name="T46" fmla="*/ 0 w 759"/>
                <a:gd name="T47" fmla="*/ 0 h 682"/>
                <a:gd name="T48" fmla="*/ 0 w 759"/>
                <a:gd name="T49" fmla="*/ 0 h 682"/>
                <a:gd name="T50" fmla="*/ 0 w 759"/>
                <a:gd name="T51" fmla="*/ 0 h 682"/>
                <a:gd name="T52" fmla="*/ 0 w 759"/>
                <a:gd name="T53" fmla="*/ 0 h 682"/>
                <a:gd name="T54" fmla="*/ 0 w 759"/>
                <a:gd name="T55" fmla="*/ 0 h 682"/>
                <a:gd name="T56" fmla="*/ 0 w 759"/>
                <a:gd name="T57" fmla="*/ 0 h 682"/>
                <a:gd name="T58" fmla="*/ 0 w 759"/>
                <a:gd name="T59" fmla="*/ 0 h 682"/>
                <a:gd name="T60" fmla="*/ 0 w 759"/>
                <a:gd name="T61" fmla="*/ 0 h 682"/>
                <a:gd name="T62" fmla="*/ 0 w 759"/>
                <a:gd name="T63" fmla="*/ 0 h 682"/>
                <a:gd name="T64" fmla="*/ 0 w 759"/>
                <a:gd name="T65" fmla="*/ 0 h 682"/>
                <a:gd name="T66" fmla="*/ 0 w 759"/>
                <a:gd name="T67" fmla="*/ 0 h 682"/>
                <a:gd name="T68" fmla="*/ 0 w 759"/>
                <a:gd name="T69" fmla="*/ 0 h 682"/>
                <a:gd name="T70" fmla="*/ 0 w 759"/>
                <a:gd name="T71" fmla="*/ 0 h 682"/>
                <a:gd name="T72" fmla="*/ 0 w 759"/>
                <a:gd name="T73" fmla="*/ 0 h 682"/>
                <a:gd name="T74" fmla="*/ 0 w 759"/>
                <a:gd name="T75" fmla="*/ 0 h 682"/>
                <a:gd name="T76" fmla="*/ 0 w 759"/>
                <a:gd name="T77" fmla="*/ 0 h 682"/>
                <a:gd name="T78" fmla="*/ 0 w 759"/>
                <a:gd name="T79" fmla="*/ 0 h 682"/>
                <a:gd name="T80" fmla="*/ 0 w 759"/>
                <a:gd name="T81" fmla="*/ 0 h 682"/>
                <a:gd name="T82" fmla="*/ 0 w 759"/>
                <a:gd name="T83" fmla="*/ 0 h 682"/>
                <a:gd name="T84" fmla="*/ 0 w 759"/>
                <a:gd name="T85" fmla="*/ 0 h 682"/>
                <a:gd name="T86" fmla="*/ 0 w 759"/>
                <a:gd name="T87" fmla="*/ 0 h 682"/>
                <a:gd name="T88" fmla="*/ 0 w 759"/>
                <a:gd name="T89" fmla="*/ 0 h 682"/>
                <a:gd name="T90" fmla="*/ 0 w 759"/>
                <a:gd name="T91" fmla="*/ 0 h 682"/>
                <a:gd name="T92" fmla="*/ 0 w 759"/>
                <a:gd name="T93" fmla="*/ 0 h 682"/>
                <a:gd name="T94" fmla="*/ 0 w 759"/>
                <a:gd name="T95" fmla="*/ 0 h 682"/>
                <a:gd name="T96" fmla="*/ 0 w 759"/>
                <a:gd name="T97" fmla="*/ 0 h 682"/>
                <a:gd name="T98" fmla="*/ 0 w 759"/>
                <a:gd name="T99" fmla="*/ 0 h 682"/>
                <a:gd name="T100" fmla="*/ 0 w 759"/>
                <a:gd name="T101" fmla="*/ 0 h 682"/>
                <a:gd name="T102" fmla="*/ 0 w 759"/>
                <a:gd name="T103" fmla="*/ 0 h 682"/>
                <a:gd name="T104" fmla="*/ 0 w 759"/>
                <a:gd name="T105" fmla="*/ 0 h 682"/>
                <a:gd name="T106" fmla="*/ 0 w 759"/>
                <a:gd name="T107" fmla="*/ 0 h 682"/>
                <a:gd name="T108" fmla="*/ 0 w 759"/>
                <a:gd name="T109" fmla="*/ 0 h 6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59"/>
                <a:gd name="T166" fmla="*/ 0 h 682"/>
                <a:gd name="T167" fmla="*/ 759 w 759"/>
                <a:gd name="T168" fmla="*/ 682 h 68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59" h="682">
                  <a:moveTo>
                    <a:pt x="746" y="250"/>
                  </a:moveTo>
                  <a:cubicBezTo>
                    <a:pt x="738" y="246"/>
                    <a:pt x="725" y="254"/>
                    <a:pt x="725" y="254"/>
                  </a:cubicBezTo>
                  <a:cubicBezTo>
                    <a:pt x="718" y="279"/>
                    <a:pt x="718" y="279"/>
                    <a:pt x="718" y="279"/>
                  </a:cubicBezTo>
                  <a:cubicBezTo>
                    <a:pt x="718" y="279"/>
                    <a:pt x="703" y="278"/>
                    <a:pt x="696" y="278"/>
                  </a:cubicBezTo>
                  <a:cubicBezTo>
                    <a:pt x="689" y="278"/>
                    <a:pt x="666" y="262"/>
                    <a:pt x="664" y="250"/>
                  </a:cubicBezTo>
                  <a:cubicBezTo>
                    <a:pt x="662" y="238"/>
                    <a:pt x="670" y="225"/>
                    <a:pt x="673" y="221"/>
                  </a:cubicBezTo>
                  <a:cubicBezTo>
                    <a:pt x="676" y="217"/>
                    <a:pt x="682" y="192"/>
                    <a:pt x="689" y="192"/>
                  </a:cubicBezTo>
                  <a:cubicBezTo>
                    <a:pt x="696" y="192"/>
                    <a:pt x="708" y="206"/>
                    <a:pt x="708" y="206"/>
                  </a:cubicBezTo>
                  <a:cubicBezTo>
                    <a:pt x="726" y="182"/>
                    <a:pt x="726" y="182"/>
                    <a:pt x="726" y="182"/>
                  </a:cubicBezTo>
                  <a:cubicBezTo>
                    <a:pt x="726" y="182"/>
                    <a:pt x="726" y="134"/>
                    <a:pt x="727" y="125"/>
                  </a:cubicBezTo>
                  <a:cubicBezTo>
                    <a:pt x="728" y="116"/>
                    <a:pt x="707" y="84"/>
                    <a:pt x="705" y="75"/>
                  </a:cubicBezTo>
                  <a:cubicBezTo>
                    <a:pt x="703" y="66"/>
                    <a:pt x="696" y="15"/>
                    <a:pt x="696" y="15"/>
                  </a:cubicBezTo>
                  <a:cubicBezTo>
                    <a:pt x="684" y="8"/>
                    <a:pt x="684" y="8"/>
                    <a:pt x="684" y="8"/>
                  </a:cubicBezTo>
                  <a:cubicBezTo>
                    <a:pt x="684" y="8"/>
                    <a:pt x="657" y="9"/>
                    <a:pt x="649" y="8"/>
                  </a:cubicBezTo>
                  <a:cubicBezTo>
                    <a:pt x="641" y="7"/>
                    <a:pt x="625" y="0"/>
                    <a:pt x="625" y="0"/>
                  </a:cubicBezTo>
                  <a:cubicBezTo>
                    <a:pt x="586" y="2"/>
                    <a:pt x="586" y="2"/>
                    <a:pt x="586" y="2"/>
                  </a:cubicBezTo>
                  <a:cubicBezTo>
                    <a:pt x="578" y="18"/>
                    <a:pt x="578" y="18"/>
                    <a:pt x="578" y="18"/>
                  </a:cubicBezTo>
                  <a:cubicBezTo>
                    <a:pt x="578" y="18"/>
                    <a:pt x="554" y="19"/>
                    <a:pt x="549" y="25"/>
                  </a:cubicBezTo>
                  <a:cubicBezTo>
                    <a:pt x="544" y="31"/>
                    <a:pt x="530" y="57"/>
                    <a:pt x="519" y="64"/>
                  </a:cubicBezTo>
                  <a:cubicBezTo>
                    <a:pt x="508" y="71"/>
                    <a:pt x="505" y="70"/>
                    <a:pt x="495" y="77"/>
                  </a:cubicBezTo>
                  <a:cubicBezTo>
                    <a:pt x="485" y="84"/>
                    <a:pt x="484" y="107"/>
                    <a:pt x="484" y="113"/>
                  </a:cubicBezTo>
                  <a:cubicBezTo>
                    <a:pt x="484" y="119"/>
                    <a:pt x="461" y="137"/>
                    <a:pt x="461" y="137"/>
                  </a:cubicBezTo>
                  <a:cubicBezTo>
                    <a:pt x="450" y="140"/>
                    <a:pt x="450" y="140"/>
                    <a:pt x="450" y="140"/>
                  </a:cubicBezTo>
                  <a:cubicBezTo>
                    <a:pt x="436" y="152"/>
                    <a:pt x="436" y="152"/>
                    <a:pt x="436" y="152"/>
                  </a:cubicBezTo>
                  <a:cubicBezTo>
                    <a:pt x="436" y="152"/>
                    <a:pt x="432" y="185"/>
                    <a:pt x="421" y="192"/>
                  </a:cubicBezTo>
                  <a:cubicBezTo>
                    <a:pt x="410" y="199"/>
                    <a:pt x="402" y="192"/>
                    <a:pt x="402" y="192"/>
                  </a:cubicBezTo>
                  <a:cubicBezTo>
                    <a:pt x="402" y="192"/>
                    <a:pt x="399" y="197"/>
                    <a:pt x="389" y="199"/>
                  </a:cubicBezTo>
                  <a:cubicBezTo>
                    <a:pt x="379" y="201"/>
                    <a:pt x="364" y="190"/>
                    <a:pt x="364" y="190"/>
                  </a:cubicBezTo>
                  <a:cubicBezTo>
                    <a:pt x="347" y="189"/>
                    <a:pt x="347" y="189"/>
                    <a:pt x="347" y="189"/>
                  </a:cubicBezTo>
                  <a:cubicBezTo>
                    <a:pt x="337" y="179"/>
                    <a:pt x="337" y="179"/>
                    <a:pt x="337" y="179"/>
                  </a:cubicBezTo>
                  <a:cubicBezTo>
                    <a:pt x="337" y="179"/>
                    <a:pt x="321" y="167"/>
                    <a:pt x="308" y="167"/>
                  </a:cubicBezTo>
                  <a:cubicBezTo>
                    <a:pt x="295" y="167"/>
                    <a:pt x="290" y="205"/>
                    <a:pt x="290" y="212"/>
                  </a:cubicBezTo>
                  <a:cubicBezTo>
                    <a:pt x="290" y="219"/>
                    <a:pt x="279" y="217"/>
                    <a:pt x="272" y="220"/>
                  </a:cubicBezTo>
                  <a:cubicBezTo>
                    <a:pt x="265" y="223"/>
                    <a:pt x="263" y="240"/>
                    <a:pt x="263" y="240"/>
                  </a:cubicBezTo>
                  <a:cubicBezTo>
                    <a:pt x="263" y="240"/>
                    <a:pt x="253" y="238"/>
                    <a:pt x="249" y="239"/>
                  </a:cubicBezTo>
                  <a:cubicBezTo>
                    <a:pt x="245" y="240"/>
                    <a:pt x="244" y="251"/>
                    <a:pt x="244" y="251"/>
                  </a:cubicBezTo>
                  <a:cubicBezTo>
                    <a:pt x="244" y="251"/>
                    <a:pt x="198" y="256"/>
                    <a:pt x="193" y="253"/>
                  </a:cubicBezTo>
                  <a:cubicBezTo>
                    <a:pt x="188" y="250"/>
                    <a:pt x="193" y="231"/>
                    <a:pt x="193" y="231"/>
                  </a:cubicBezTo>
                  <a:cubicBezTo>
                    <a:pt x="193" y="231"/>
                    <a:pt x="201" y="218"/>
                    <a:pt x="203" y="209"/>
                  </a:cubicBezTo>
                  <a:cubicBezTo>
                    <a:pt x="205" y="200"/>
                    <a:pt x="196" y="189"/>
                    <a:pt x="196" y="189"/>
                  </a:cubicBezTo>
                  <a:cubicBezTo>
                    <a:pt x="196" y="189"/>
                    <a:pt x="197" y="179"/>
                    <a:pt x="188" y="160"/>
                  </a:cubicBezTo>
                  <a:cubicBezTo>
                    <a:pt x="184" y="152"/>
                    <a:pt x="175" y="147"/>
                    <a:pt x="166" y="143"/>
                  </a:cubicBezTo>
                  <a:cubicBezTo>
                    <a:pt x="163" y="339"/>
                    <a:pt x="163" y="339"/>
                    <a:pt x="163" y="339"/>
                  </a:cubicBezTo>
                  <a:cubicBezTo>
                    <a:pt x="163" y="339"/>
                    <a:pt x="149" y="340"/>
                    <a:pt x="142" y="343"/>
                  </a:cubicBezTo>
                  <a:cubicBezTo>
                    <a:pt x="135" y="346"/>
                    <a:pt x="137" y="351"/>
                    <a:pt x="137" y="351"/>
                  </a:cubicBezTo>
                  <a:cubicBezTo>
                    <a:pt x="129" y="353"/>
                    <a:pt x="129" y="353"/>
                    <a:pt x="129" y="353"/>
                  </a:cubicBezTo>
                  <a:cubicBezTo>
                    <a:pt x="129" y="353"/>
                    <a:pt x="132" y="367"/>
                    <a:pt x="126" y="367"/>
                  </a:cubicBezTo>
                  <a:cubicBezTo>
                    <a:pt x="121" y="367"/>
                    <a:pt x="114" y="367"/>
                    <a:pt x="114" y="367"/>
                  </a:cubicBezTo>
                  <a:cubicBezTo>
                    <a:pt x="114" y="367"/>
                    <a:pt x="110" y="361"/>
                    <a:pt x="102" y="361"/>
                  </a:cubicBezTo>
                  <a:cubicBezTo>
                    <a:pt x="94" y="361"/>
                    <a:pt x="88" y="369"/>
                    <a:pt x="88" y="369"/>
                  </a:cubicBezTo>
                  <a:cubicBezTo>
                    <a:pt x="76" y="369"/>
                    <a:pt x="76" y="369"/>
                    <a:pt x="76" y="369"/>
                  </a:cubicBezTo>
                  <a:cubicBezTo>
                    <a:pt x="76" y="369"/>
                    <a:pt x="72" y="361"/>
                    <a:pt x="65" y="357"/>
                  </a:cubicBezTo>
                  <a:cubicBezTo>
                    <a:pt x="58" y="353"/>
                    <a:pt x="49" y="359"/>
                    <a:pt x="45" y="352"/>
                  </a:cubicBezTo>
                  <a:cubicBezTo>
                    <a:pt x="40" y="345"/>
                    <a:pt x="41" y="330"/>
                    <a:pt x="41" y="330"/>
                  </a:cubicBezTo>
                  <a:cubicBezTo>
                    <a:pt x="41" y="330"/>
                    <a:pt x="31" y="318"/>
                    <a:pt x="27" y="317"/>
                  </a:cubicBezTo>
                  <a:cubicBezTo>
                    <a:pt x="23" y="316"/>
                    <a:pt x="12" y="340"/>
                    <a:pt x="12" y="340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0" y="345"/>
                    <a:pt x="0" y="345"/>
                    <a:pt x="0" y="345"/>
                  </a:cubicBezTo>
                  <a:cubicBezTo>
                    <a:pt x="0" y="345"/>
                    <a:pt x="7" y="368"/>
                    <a:pt x="11" y="372"/>
                  </a:cubicBezTo>
                  <a:cubicBezTo>
                    <a:pt x="15" y="376"/>
                    <a:pt x="31" y="394"/>
                    <a:pt x="31" y="407"/>
                  </a:cubicBezTo>
                  <a:cubicBezTo>
                    <a:pt x="31" y="420"/>
                    <a:pt x="28" y="446"/>
                    <a:pt x="38" y="461"/>
                  </a:cubicBezTo>
                  <a:cubicBezTo>
                    <a:pt x="48" y="476"/>
                    <a:pt x="83" y="509"/>
                    <a:pt x="83" y="523"/>
                  </a:cubicBezTo>
                  <a:cubicBezTo>
                    <a:pt x="83" y="537"/>
                    <a:pt x="82" y="564"/>
                    <a:pt x="78" y="568"/>
                  </a:cubicBezTo>
                  <a:cubicBezTo>
                    <a:pt x="74" y="572"/>
                    <a:pt x="62" y="564"/>
                    <a:pt x="61" y="572"/>
                  </a:cubicBezTo>
                  <a:cubicBezTo>
                    <a:pt x="60" y="580"/>
                    <a:pt x="63" y="588"/>
                    <a:pt x="73" y="605"/>
                  </a:cubicBezTo>
                  <a:cubicBezTo>
                    <a:pt x="83" y="622"/>
                    <a:pt x="75" y="641"/>
                    <a:pt x="81" y="649"/>
                  </a:cubicBezTo>
                  <a:cubicBezTo>
                    <a:pt x="87" y="657"/>
                    <a:pt x="84" y="646"/>
                    <a:pt x="90" y="643"/>
                  </a:cubicBezTo>
                  <a:cubicBezTo>
                    <a:pt x="96" y="640"/>
                    <a:pt x="103" y="650"/>
                    <a:pt x="103" y="650"/>
                  </a:cubicBezTo>
                  <a:cubicBezTo>
                    <a:pt x="121" y="656"/>
                    <a:pt x="121" y="656"/>
                    <a:pt x="121" y="656"/>
                  </a:cubicBezTo>
                  <a:cubicBezTo>
                    <a:pt x="121" y="656"/>
                    <a:pt x="126" y="682"/>
                    <a:pt x="145" y="679"/>
                  </a:cubicBezTo>
                  <a:cubicBezTo>
                    <a:pt x="164" y="676"/>
                    <a:pt x="165" y="662"/>
                    <a:pt x="177" y="658"/>
                  </a:cubicBezTo>
                  <a:cubicBezTo>
                    <a:pt x="189" y="654"/>
                    <a:pt x="224" y="665"/>
                    <a:pt x="233" y="662"/>
                  </a:cubicBezTo>
                  <a:cubicBezTo>
                    <a:pt x="242" y="659"/>
                    <a:pt x="238" y="638"/>
                    <a:pt x="261" y="638"/>
                  </a:cubicBezTo>
                  <a:cubicBezTo>
                    <a:pt x="284" y="638"/>
                    <a:pt x="292" y="646"/>
                    <a:pt x="292" y="646"/>
                  </a:cubicBezTo>
                  <a:cubicBezTo>
                    <a:pt x="292" y="646"/>
                    <a:pt x="303" y="635"/>
                    <a:pt x="326" y="636"/>
                  </a:cubicBezTo>
                  <a:cubicBezTo>
                    <a:pt x="349" y="637"/>
                    <a:pt x="361" y="647"/>
                    <a:pt x="366" y="646"/>
                  </a:cubicBezTo>
                  <a:cubicBezTo>
                    <a:pt x="371" y="645"/>
                    <a:pt x="383" y="635"/>
                    <a:pt x="383" y="635"/>
                  </a:cubicBezTo>
                  <a:cubicBezTo>
                    <a:pt x="383" y="635"/>
                    <a:pt x="397" y="642"/>
                    <a:pt x="406" y="637"/>
                  </a:cubicBezTo>
                  <a:cubicBezTo>
                    <a:pt x="415" y="632"/>
                    <a:pt x="427" y="624"/>
                    <a:pt x="427" y="624"/>
                  </a:cubicBezTo>
                  <a:cubicBezTo>
                    <a:pt x="427" y="624"/>
                    <a:pt x="451" y="632"/>
                    <a:pt x="473" y="617"/>
                  </a:cubicBezTo>
                  <a:cubicBezTo>
                    <a:pt x="495" y="602"/>
                    <a:pt x="525" y="573"/>
                    <a:pt x="525" y="573"/>
                  </a:cubicBezTo>
                  <a:cubicBezTo>
                    <a:pt x="538" y="565"/>
                    <a:pt x="538" y="565"/>
                    <a:pt x="538" y="565"/>
                  </a:cubicBezTo>
                  <a:cubicBezTo>
                    <a:pt x="600" y="499"/>
                    <a:pt x="600" y="499"/>
                    <a:pt x="600" y="499"/>
                  </a:cubicBezTo>
                  <a:cubicBezTo>
                    <a:pt x="615" y="500"/>
                    <a:pt x="615" y="500"/>
                    <a:pt x="615" y="500"/>
                  </a:cubicBezTo>
                  <a:cubicBezTo>
                    <a:pt x="615" y="500"/>
                    <a:pt x="652" y="449"/>
                    <a:pt x="656" y="435"/>
                  </a:cubicBezTo>
                  <a:cubicBezTo>
                    <a:pt x="660" y="421"/>
                    <a:pt x="677" y="385"/>
                    <a:pt x="686" y="379"/>
                  </a:cubicBezTo>
                  <a:cubicBezTo>
                    <a:pt x="695" y="373"/>
                    <a:pt x="726" y="360"/>
                    <a:pt x="729" y="349"/>
                  </a:cubicBezTo>
                  <a:cubicBezTo>
                    <a:pt x="732" y="338"/>
                    <a:pt x="748" y="297"/>
                    <a:pt x="748" y="297"/>
                  </a:cubicBezTo>
                  <a:cubicBezTo>
                    <a:pt x="748" y="297"/>
                    <a:pt x="754" y="280"/>
                    <a:pt x="759" y="264"/>
                  </a:cubicBezTo>
                  <a:cubicBezTo>
                    <a:pt x="755" y="258"/>
                    <a:pt x="750" y="252"/>
                    <a:pt x="746" y="250"/>
                  </a:cubicBezTo>
                  <a:close/>
                  <a:moveTo>
                    <a:pt x="580" y="418"/>
                  </a:moveTo>
                  <a:cubicBezTo>
                    <a:pt x="580" y="418"/>
                    <a:pt x="571" y="426"/>
                    <a:pt x="563" y="428"/>
                  </a:cubicBezTo>
                  <a:cubicBezTo>
                    <a:pt x="555" y="430"/>
                    <a:pt x="552" y="428"/>
                    <a:pt x="542" y="432"/>
                  </a:cubicBezTo>
                  <a:cubicBezTo>
                    <a:pt x="532" y="436"/>
                    <a:pt x="531" y="456"/>
                    <a:pt x="531" y="456"/>
                  </a:cubicBezTo>
                  <a:cubicBezTo>
                    <a:pt x="516" y="457"/>
                    <a:pt x="516" y="457"/>
                    <a:pt x="516" y="457"/>
                  </a:cubicBezTo>
                  <a:cubicBezTo>
                    <a:pt x="498" y="437"/>
                    <a:pt x="498" y="437"/>
                    <a:pt x="498" y="437"/>
                  </a:cubicBezTo>
                  <a:cubicBezTo>
                    <a:pt x="498" y="426"/>
                    <a:pt x="498" y="426"/>
                    <a:pt x="498" y="426"/>
                  </a:cubicBezTo>
                  <a:cubicBezTo>
                    <a:pt x="481" y="401"/>
                    <a:pt x="481" y="401"/>
                    <a:pt x="481" y="401"/>
                  </a:cubicBezTo>
                  <a:cubicBezTo>
                    <a:pt x="498" y="399"/>
                    <a:pt x="498" y="399"/>
                    <a:pt x="498" y="399"/>
                  </a:cubicBezTo>
                  <a:cubicBezTo>
                    <a:pt x="500" y="389"/>
                    <a:pt x="500" y="389"/>
                    <a:pt x="500" y="389"/>
                  </a:cubicBezTo>
                  <a:cubicBezTo>
                    <a:pt x="512" y="376"/>
                    <a:pt x="512" y="376"/>
                    <a:pt x="512" y="376"/>
                  </a:cubicBezTo>
                  <a:cubicBezTo>
                    <a:pt x="512" y="376"/>
                    <a:pt x="514" y="366"/>
                    <a:pt x="519" y="362"/>
                  </a:cubicBezTo>
                  <a:cubicBezTo>
                    <a:pt x="524" y="358"/>
                    <a:pt x="534" y="361"/>
                    <a:pt x="534" y="361"/>
                  </a:cubicBezTo>
                  <a:cubicBezTo>
                    <a:pt x="535" y="351"/>
                    <a:pt x="535" y="351"/>
                    <a:pt x="535" y="351"/>
                  </a:cubicBezTo>
                  <a:cubicBezTo>
                    <a:pt x="543" y="348"/>
                    <a:pt x="543" y="348"/>
                    <a:pt x="543" y="348"/>
                  </a:cubicBezTo>
                  <a:cubicBezTo>
                    <a:pt x="543" y="348"/>
                    <a:pt x="559" y="343"/>
                    <a:pt x="564" y="349"/>
                  </a:cubicBezTo>
                  <a:cubicBezTo>
                    <a:pt x="569" y="355"/>
                    <a:pt x="581" y="374"/>
                    <a:pt x="581" y="374"/>
                  </a:cubicBezTo>
                  <a:cubicBezTo>
                    <a:pt x="591" y="377"/>
                    <a:pt x="591" y="377"/>
                    <a:pt x="591" y="377"/>
                  </a:cubicBezTo>
                  <a:cubicBezTo>
                    <a:pt x="592" y="393"/>
                    <a:pt x="592" y="393"/>
                    <a:pt x="592" y="393"/>
                  </a:cubicBezTo>
                  <a:cubicBezTo>
                    <a:pt x="577" y="406"/>
                    <a:pt x="577" y="406"/>
                    <a:pt x="577" y="406"/>
                  </a:cubicBezTo>
                  <a:lnTo>
                    <a:pt x="580" y="418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31" name="Freeform 147"/>
            <p:cNvSpPr>
              <a:spLocks noEditPoints="1"/>
            </p:cNvSpPr>
            <p:nvPr/>
          </p:nvSpPr>
          <p:spPr bwMode="auto">
            <a:xfrm>
              <a:off x="2575" y="1530"/>
              <a:ext cx="150" cy="209"/>
            </a:xfrm>
            <a:custGeom>
              <a:avLst/>
              <a:gdLst>
                <a:gd name="T0" fmla="*/ 0 w 395"/>
                <a:gd name="T1" fmla="*/ 0 h 549"/>
                <a:gd name="T2" fmla="*/ 0 w 395"/>
                <a:gd name="T3" fmla="*/ 0 h 549"/>
                <a:gd name="T4" fmla="*/ 0 w 395"/>
                <a:gd name="T5" fmla="*/ 0 h 549"/>
                <a:gd name="T6" fmla="*/ 0 w 395"/>
                <a:gd name="T7" fmla="*/ 0 h 549"/>
                <a:gd name="T8" fmla="*/ 0 w 395"/>
                <a:gd name="T9" fmla="*/ 0 h 549"/>
                <a:gd name="T10" fmla="*/ 0 w 395"/>
                <a:gd name="T11" fmla="*/ 0 h 549"/>
                <a:gd name="T12" fmla="*/ 0 w 395"/>
                <a:gd name="T13" fmla="*/ 0 h 549"/>
                <a:gd name="T14" fmla="*/ 0 w 395"/>
                <a:gd name="T15" fmla="*/ 0 h 549"/>
                <a:gd name="T16" fmla="*/ 0 w 395"/>
                <a:gd name="T17" fmla="*/ 0 h 549"/>
                <a:gd name="T18" fmla="*/ 0 w 395"/>
                <a:gd name="T19" fmla="*/ 0 h 549"/>
                <a:gd name="T20" fmla="*/ 0 w 395"/>
                <a:gd name="T21" fmla="*/ 0 h 549"/>
                <a:gd name="T22" fmla="*/ 0 w 395"/>
                <a:gd name="T23" fmla="*/ 0 h 549"/>
                <a:gd name="T24" fmla="*/ 0 w 395"/>
                <a:gd name="T25" fmla="*/ 0 h 549"/>
                <a:gd name="T26" fmla="*/ 0 w 395"/>
                <a:gd name="T27" fmla="*/ 0 h 549"/>
                <a:gd name="T28" fmla="*/ 0 w 395"/>
                <a:gd name="T29" fmla="*/ 0 h 549"/>
                <a:gd name="T30" fmla="*/ 0 w 395"/>
                <a:gd name="T31" fmla="*/ 0 h 549"/>
                <a:gd name="T32" fmla="*/ 0 w 395"/>
                <a:gd name="T33" fmla="*/ 0 h 549"/>
                <a:gd name="T34" fmla="*/ 0 w 395"/>
                <a:gd name="T35" fmla="*/ 0 h 549"/>
                <a:gd name="T36" fmla="*/ 0 w 395"/>
                <a:gd name="T37" fmla="*/ 0 h 549"/>
                <a:gd name="T38" fmla="*/ 0 w 395"/>
                <a:gd name="T39" fmla="*/ 0 h 549"/>
                <a:gd name="T40" fmla="*/ 0 w 395"/>
                <a:gd name="T41" fmla="*/ 0 h 549"/>
                <a:gd name="T42" fmla="*/ 0 w 395"/>
                <a:gd name="T43" fmla="*/ 0 h 549"/>
                <a:gd name="T44" fmla="*/ 0 w 395"/>
                <a:gd name="T45" fmla="*/ 0 h 549"/>
                <a:gd name="T46" fmla="*/ 0 w 395"/>
                <a:gd name="T47" fmla="*/ 0 h 549"/>
                <a:gd name="T48" fmla="*/ 0 w 395"/>
                <a:gd name="T49" fmla="*/ 0 h 549"/>
                <a:gd name="T50" fmla="*/ 0 w 395"/>
                <a:gd name="T51" fmla="*/ 0 h 549"/>
                <a:gd name="T52" fmla="*/ 0 w 395"/>
                <a:gd name="T53" fmla="*/ 0 h 549"/>
                <a:gd name="T54" fmla="*/ 0 w 395"/>
                <a:gd name="T55" fmla="*/ 0 h 549"/>
                <a:gd name="T56" fmla="*/ 0 w 395"/>
                <a:gd name="T57" fmla="*/ 0 h 549"/>
                <a:gd name="T58" fmla="*/ 0 w 395"/>
                <a:gd name="T59" fmla="*/ 0 h 549"/>
                <a:gd name="T60" fmla="*/ 0 w 395"/>
                <a:gd name="T61" fmla="*/ 0 h 549"/>
                <a:gd name="T62" fmla="*/ 0 w 395"/>
                <a:gd name="T63" fmla="*/ 0 h 549"/>
                <a:gd name="T64" fmla="*/ 0 w 395"/>
                <a:gd name="T65" fmla="*/ 0 h 549"/>
                <a:gd name="T66" fmla="*/ 0 w 395"/>
                <a:gd name="T67" fmla="*/ 0 h 549"/>
                <a:gd name="T68" fmla="*/ 0 w 395"/>
                <a:gd name="T69" fmla="*/ 0 h 549"/>
                <a:gd name="T70" fmla="*/ 0 w 395"/>
                <a:gd name="T71" fmla="*/ 0 h 549"/>
                <a:gd name="T72" fmla="*/ 0 w 395"/>
                <a:gd name="T73" fmla="*/ 0 h 549"/>
                <a:gd name="T74" fmla="*/ 0 w 395"/>
                <a:gd name="T75" fmla="*/ 0 h 549"/>
                <a:gd name="T76" fmla="*/ 0 w 395"/>
                <a:gd name="T77" fmla="*/ 0 h 549"/>
                <a:gd name="T78" fmla="*/ 0 w 395"/>
                <a:gd name="T79" fmla="*/ 0 h 549"/>
                <a:gd name="T80" fmla="*/ 0 w 395"/>
                <a:gd name="T81" fmla="*/ 0 h 549"/>
                <a:gd name="T82" fmla="*/ 0 w 395"/>
                <a:gd name="T83" fmla="*/ 0 h 549"/>
                <a:gd name="T84" fmla="*/ 0 w 395"/>
                <a:gd name="T85" fmla="*/ 0 h 549"/>
                <a:gd name="T86" fmla="*/ 0 w 395"/>
                <a:gd name="T87" fmla="*/ 0 h 549"/>
                <a:gd name="T88" fmla="*/ 0 w 395"/>
                <a:gd name="T89" fmla="*/ 0 h 549"/>
                <a:gd name="T90" fmla="*/ 0 w 395"/>
                <a:gd name="T91" fmla="*/ 0 h 549"/>
                <a:gd name="T92" fmla="*/ 0 w 395"/>
                <a:gd name="T93" fmla="*/ 0 h 549"/>
                <a:gd name="T94" fmla="*/ 0 w 395"/>
                <a:gd name="T95" fmla="*/ 0 h 549"/>
                <a:gd name="T96" fmla="*/ 0 w 395"/>
                <a:gd name="T97" fmla="*/ 0 h 549"/>
                <a:gd name="T98" fmla="*/ 0 w 395"/>
                <a:gd name="T99" fmla="*/ 0 h 549"/>
                <a:gd name="T100" fmla="*/ 0 w 395"/>
                <a:gd name="T101" fmla="*/ 0 h 549"/>
                <a:gd name="T102" fmla="*/ 0 w 395"/>
                <a:gd name="T103" fmla="*/ 0 h 549"/>
                <a:gd name="T104" fmla="*/ 0 w 395"/>
                <a:gd name="T105" fmla="*/ 0 h 549"/>
                <a:gd name="T106" fmla="*/ 0 w 395"/>
                <a:gd name="T107" fmla="*/ 0 h 549"/>
                <a:gd name="T108" fmla="*/ 0 w 395"/>
                <a:gd name="T109" fmla="*/ 0 h 549"/>
                <a:gd name="T110" fmla="*/ 0 w 395"/>
                <a:gd name="T111" fmla="*/ 0 h 549"/>
                <a:gd name="T112" fmla="*/ 0 w 395"/>
                <a:gd name="T113" fmla="*/ 0 h 549"/>
                <a:gd name="T114" fmla="*/ 0 w 395"/>
                <a:gd name="T115" fmla="*/ 0 h 549"/>
                <a:gd name="T116" fmla="*/ 0 w 395"/>
                <a:gd name="T117" fmla="*/ 0 h 54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95"/>
                <a:gd name="T178" fmla="*/ 0 h 549"/>
                <a:gd name="T179" fmla="*/ 395 w 395"/>
                <a:gd name="T180" fmla="*/ 549 h 54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95" h="549">
                  <a:moveTo>
                    <a:pt x="118" y="256"/>
                  </a:moveTo>
                  <a:cubicBezTo>
                    <a:pt x="110" y="256"/>
                    <a:pt x="109" y="262"/>
                    <a:pt x="106" y="277"/>
                  </a:cubicBezTo>
                  <a:cubicBezTo>
                    <a:pt x="104" y="289"/>
                    <a:pt x="126" y="256"/>
                    <a:pt x="118" y="256"/>
                  </a:cubicBezTo>
                  <a:close/>
                  <a:moveTo>
                    <a:pt x="100" y="210"/>
                  </a:moveTo>
                  <a:cubicBezTo>
                    <a:pt x="96" y="210"/>
                    <a:pt x="90" y="222"/>
                    <a:pt x="94" y="225"/>
                  </a:cubicBezTo>
                  <a:cubicBezTo>
                    <a:pt x="98" y="228"/>
                    <a:pt x="111" y="221"/>
                    <a:pt x="111" y="221"/>
                  </a:cubicBezTo>
                  <a:cubicBezTo>
                    <a:pt x="111" y="221"/>
                    <a:pt x="104" y="210"/>
                    <a:pt x="100" y="210"/>
                  </a:cubicBezTo>
                  <a:close/>
                  <a:moveTo>
                    <a:pt x="87" y="261"/>
                  </a:moveTo>
                  <a:cubicBezTo>
                    <a:pt x="102" y="261"/>
                    <a:pt x="109" y="250"/>
                    <a:pt x="98" y="248"/>
                  </a:cubicBezTo>
                  <a:cubicBezTo>
                    <a:pt x="87" y="246"/>
                    <a:pt x="78" y="261"/>
                    <a:pt x="87" y="261"/>
                  </a:cubicBezTo>
                  <a:close/>
                  <a:moveTo>
                    <a:pt x="231" y="85"/>
                  </a:moveTo>
                  <a:cubicBezTo>
                    <a:pt x="223" y="78"/>
                    <a:pt x="222" y="93"/>
                    <a:pt x="222" y="93"/>
                  </a:cubicBezTo>
                  <a:cubicBezTo>
                    <a:pt x="229" y="99"/>
                    <a:pt x="239" y="92"/>
                    <a:pt x="231" y="85"/>
                  </a:cubicBezTo>
                  <a:close/>
                  <a:moveTo>
                    <a:pt x="103" y="176"/>
                  </a:moveTo>
                  <a:cubicBezTo>
                    <a:pt x="103" y="176"/>
                    <a:pt x="107" y="159"/>
                    <a:pt x="97" y="159"/>
                  </a:cubicBezTo>
                  <a:cubicBezTo>
                    <a:pt x="87" y="159"/>
                    <a:pt x="93" y="169"/>
                    <a:pt x="93" y="169"/>
                  </a:cubicBezTo>
                  <a:cubicBezTo>
                    <a:pt x="93" y="169"/>
                    <a:pt x="85" y="166"/>
                    <a:pt x="82" y="169"/>
                  </a:cubicBezTo>
                  <a:cubicBezTo>
                    <a:pt x="79" y="172"/>
                    <a:pt x="91" y="179"/>
                    <a:pt x="93" y="183"/>
                  </a:cubicBezTo>
                  <a:cubicBezTo>
                    <a:pt x="95" y="187"/>
                    <a:pt x="110" y="184"/>
                    <a:pt x="110" y="184"/>
                  </a:cubicBezTo>
                  <a:lnTo>
                    <a:pt x="103" y="176"/>
                  </a:lnTo>
                  <a:close/>
                  <a:moveTo>
                    <a:pt x="325" y="1"/>
                  </a:moveTo>
                  <a:cubicBezTo>
                    <a:pt x="318" y="2"/>
                    <a:pt x="316" y="11"/>
                    <a:pt x="316" y="11"/>
                  </a:cubicBezTo>
                  <a:cubicBezTo>
                    <a:pt x="327" y="16"/>
                    <a:pt x="332" y="0"/>
                    <a:pt x="325" y="1"/>
                  </a:cubicBezTo>
                  <a:close/>
                  <a:moveTo>
                    <a:pt x="296" y="36"/>
                  </a:moveTo>
                  <a:cubicBezTo>
                    <a:pt x="300" y="45"/>
                    <a:pt x="300" y="45"/>
                    <a:pt x="300" y="45"/>
                  </a:cubicBezTo>
                  <a:cubicBezTo>
                    <a:pt x="305" y="49"/>
                    <a:pt x="312" y="28"/>
                    <a:pt x="311" y="24"/>
                  </a:cubicBezTo>
                  <a:cubicBezTo>
                    <a:pt x="310" y="20"/>
                    <a:pt x="301" y="12"/>
                    <a:pt x="301" y="12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0" y="21"/>
                    <a:pt x="287" y="25"/>
                    <a:pt x="288" y="29"/>
                  </a:cubicBezTo>
                  <a:cubicBezTo>
                    <a:pt x="289" y="33"/>
                    <a:pt x="296" y="36"/>
                    <a:pt x="296" y="36"/>
                  </a:cubicBezTo>
                  <a:close/>
                  <a:moveTo>
                    <a:pt x="239" y="94"/>
                  </a:moveTo>
                  <a:cubicBezTo>
                    <a:pt x="237" y="104"/>
                    <a:pt x="237" y="104"/>
                    <a:pt x="237" y="104"/>
                  </a:cubicBezTo>
                  <a:cubicBezTo>
                    <a:pt x="246" y="96"/>
                    <a:pt x="246" y="96"/>
                    <a:pt x="246" y="96"/>
                  </a:cubicBezTo>
                  <a:lnTo>
                    <a:pt x="239" y="94"/>
                  </a:lnTo>
                  <a:close/>
                  <a:moveTo>
                    <a:pt x="137" y="269"/>
                  </a:moveTo>
                  <a:cubicBezTo>
                    <a:pt x="143" y="265"/>
                    <a:pt x="134" y="252"/>
                    <a:pt x="128" y="258"/>
                  </a:cubicBezTo>
                  <a:cubicBezTo>
                    <a:pt x="122" y="264"/>
                    <a:pt x="130" y="273"/>
                    <a:pt x="137" y="269"/>
                  </a:cubicBezTo>
                  <a:close/>
                  <a:moveTo>
                    <a:pt x="346" y="395"/>
                  </a:moveTo>
                  <a:cubicBezTo>
                    <a:pt x="346" y="395"/>
                    <a:pt x="341" y="409"/>
                    <a:pt x="331" y="402"/>
                  </a:cubicBezTo>
                  <a:cubicBezTo>
                    <a:pt x="321" y="394"/>
                    <a:pt x="341" y="387"/>
                    <a:pt x="340" y="378"/>
                  </a:cubicBezTo>
                  <a:cubicBezTo>
                    <a:pt x="339" y="369"/>
                    <a:pt x="308" y="364"/>
                    <a:pt x="308" y="359"/>
                  </a:cubicBezTo>
                  <a:cubicBezTo>
                    <a:pt x="308" y="354"/>
                    <a:pt x="330" y="357"/>
                    <a:pt x="330" y="357"/>
                  </a:cubicBezTo>
                  <a:cubicBezTo>
                    <a:pt x="321" y="349"/>
                    <a:pt x="321" y="349"/>
                    <a:pt x="321" y="349"/>
                  </a:cubicBezTo>
                  <a:cubicBezTo>
                    <a:pt x="321" y="349"/>
                    <a:pt x="312" y="328"/>
                    <a:pt x="308" y="321"/>
                  </a:cubicBezTo>
                  <a:cubicBezTo>
                    <a:pt x="304" y="314"/>
                    <a:pt x="291" y="314"/>
                    <a:pt x="291" y="314"/>
                  </a:cubicBezTo>
                  <a:cubicBezTo>
                    <a:pt x="291" y="314"/>
                    <a:pt x="283" y="305"/>
                    <a:pt x="275" y="299"/>
                  </a:cubicBezTo>
                  <a:cubicBezTo>
                    <a:pt x="267" y="293"/>
                    <a:pt x="273" y="261"/>
                    <a:pt x="273" y="261"/>
                  </a:cubicBezTo>
                  <a:cubicBezTo>
                    <a:pt x="265" y="261"/>
                    <a:pt x="265" y="261"/>
                    <a:pt x="265" y="261"/>
                  </a:cubicBezTo>
                  <a:cubicBezTo>
                    <a:pt x="265" y="261"/>
                    <a:pt x="264" y="255"/>
                    <a:pt x="250" y="245"/>
                  </a:cubicBezTo>
                  <a:cubicBezTo>
                    <a:pt x="235" y="235"/>
                    <a:pt x="216" y="245"/>
                    <a:pt x="208" y="246"/>
                  </a:cubicBezTo>
                  <a:cubicBezTo>
                    <a:pt x="200" y="247"/>
                    <a:pt x="191" y="235"/>
                    <a:pt x="191" y="235"/>
                  </a:cubicBezTo>
                  <a:cubicBezTo>
                    <a:pt x="191" y="235"/>
                    <a:pt x="205" y="240"/>
                    <a:pt x="209" y="239"/>
                  </a:cubicBezTo>
                  <a:cubicBezTo>
                    <a:pt x="213" y="238"/>
                    <a:pt x="231" y="234"/>
                    <a:pt x="232" y="228"/>
                  </a:cubicBezTo>
                  <a:cubicBezTo>
                    <a:pt x="233" y="223"/>
                    <a:pt x="214" y="222"/>
                    <a:pt x="214" y="222"/>
                  </a:cubicBezTo>
                  <a:cubicBezTo>
                    <a:pt x="230" y="218"/>
                    <a:pt x="230" y="218"/>
                    <a:pt x="230" y="218"/>
                  </a:cubicBezTo>
                  <a:cubicBezTo>
                    <a:pt x="230" y="218"/>
                    <a:pt x="239" y="211"/>
                    <a:pt x="245" y="206"/>
                  </a:cubicBezTo>
                  <a:cubicBezTo>
                    <a:pt x="250" y="201"/>
                    <a:pt x="261" y="177"/>
                    <a:pt x="261" y="177"/>
                  </a:cubicBezTo>
                  <a:cubicBezTo>
                    <a:pt x="261" y="177"/>
                    <a:pt x="276" y="168"/>
                    <a:pt x="276" y="161"/>
                  </a:cubicBezTo>
                  <a:cubicBezTo>
                    <a:pt x="276" y="154"/>
                    <a:pt x="222" y="159"/>
                    <a:pt x="222" y="159"/>
                  </a:cubicBezTo>
                  <a:cubicBezTo>
                    <a:pt x="222" y="159"/>
                    <a:pt x="223" y="154"/>
                    <a:pt x="211" y="154"/>
                  </a:cubicBezTo>
                  <a:cubicBezTo>
                    <a:pt x="199" y="154"/>
                    <a:pt x="177" y="162"/>
                    <a:pt x="177" y="162"/>
                  </a:cubicBezTo>
                  <a:cubicBezTo>
                    <a:pt x="185" y="155"/>
                    <a:pt x="185" y="155"/>
                    <a:pt x="185" y="155"/>
                  </a:cubicBezTo>
                  <a:cubicBezTo>
                    <a:pt x="179" y="147"/>
                    <a:pt x="179" y="147"/>
                    <a:pt x="179" y="147"/>
                  </a:cubicBezTo>
                  <a:cubicBezTo>
                    <a:pt x="191" y="145"/>
                    <a:pt x="191" y="145"/>
                    <a:pt x="191" y="145"/>
                  </a:cubicBezTo>
                  <a:cubicBezTo>
                    <a:pt x="212" y="132"/>
                    <a:pt x="212" y="132"/>
                    <a:pt x="212" y="132"/>
                  </a:cubicBezTo>
                  <a:cubicBezTo>
                    <a:pt x="212" y="132"/>
                    <a:pt x="223" y="123"/>
                    <a:pt x="224" y="112"/>
                  </a:cubicBezTo>
                  <a:cubicBezTo>
                    <a:pt x="225" y="105"/>
                    <a:pt x="211" y="107"/>
                    <a:pt x="203" y="108"/>
                  </a:cubicBezTo>
                  <a:cubicBezTo>
                    <a:pt x="195" y="109"/>
                    <a:pt x="183" y="115"/>
                    <a:pt x="175" y="115"/>
                  </a:cubicBezTo>
                  <a:cubicBezTo>
                    <a:pt x="167" y="115"/>
                    <a:pt x="160" y="106"/>
                    <a:pt x="153" y="110"/>
                  </a:cubicBezTo>
                  <a:cubicBezTo>
                    <a:pt x="146" y="114"/>
                    <a:pt x="153" y="124"/>
                    <a:pt x="153" y="124"/>
                  </a:cubicBezTo>
                  <a:cubicBezTo>
                    <a:pt x="153" y="124"/>
                    <a:pt x="146" y="125"/>
                    <a:pt x="141" y="129"/>
                  </a:cubicBezTo>
                  <a:cubicBezTo>
                    <a:pt x="136" y="133"/>
                    <a:pt x="144" y="148"/>
                    <a:pt x="144" y="148"/>
                  </a:cubicBezTo>
                  <a:cubicBezTo>
                    <a:pt x="115" y="151"/>
                    <a:pt x="115" y="151"/>
                    <a:pt x="115" y="151"/>
                  </a:cubicBezTo>
                  <a:cubicBezTo>
                    <a:pt x="115" y="157"/>
                    <a:pt x="115" y="157"/>
                    <a:pt x="115" y="157"/>
                  </a:cubicBezTo>
                  <a:cubicBezTo>
                    <a:pt x="121" y="162"/>
                    <a:pt x="121" y="162"/>
                    <a:pt x="121" y="162"/>
                  </a:cubicBezTo>
                  <a:cubicBezTo>
                    <a:pt x="130" y="180"/>
                    <a:pt x="130" y="180"/>
                    <a:pt x="130" y="180"/>
                  </a:cubicBezTo>
                  <a:cubicBezTo>
                    <a:pt x="130" y="180"/>
                    <a:pt x="124" y="185"/>
                    <a:pt x="121" y="188"/>
                  </a:cubicBezTo>
                  <a:cubicBezTo>
                    <a:pt x="118" y="191"/>
                    <a:pt x="116" y="198"/>
                    <a:pt x="116" y="198"/>
                  </a:cubicBezTo>
                  <a:cubicBezTo>
                    <a:pt x="105" y="203"/>
                    <a:pt x="105" y="203"/>
                    <a:pt x="105" y="203"/>
                  </a:cubicBezTo>
                  <a:cubicBezTo>
                    <a:pt x="105" y="203"/>
                    <a:pt x="111" y="212"/>
                    <a:pt x="119" y="211"/>
                  </a:cubicBezTo>
                  <a:cubicBezTo>
                    <a:pt x="127" y="210"/>
                    <a:pt x="134" y="202"/>
                    <a:pt x="134" y="202"/>
                  </a:cubicBezTo>
                  <a:cubicBezTo>
                    <a:pt x="133" y="214"/>
                    <a:pt x="133" y="214"/>
                    <a:pt x="133" y="214"/>
                  </a:cubicBezTo>
                  <a:cubicBezTo>
                    <a:pt x="133" y="214"/>
                    <a:pt x="120" y="220"/>
                    <a:pt x="115" y="228"/>
                  </a:cubicBezTo>
                  <a:cubicBezTo>
                    <a:pt x="110" y="237"/>
                    <a:pt x="116" y="250"/>
                    <a:pt x="116" y="250"/>
                  </a:cubicBezTo>
                  <a:cubicBezTo>
                    <a:pt x="116" y="250"/>
                    <a:pt x="127" y="242"/>
                    <a:pt x="134" y="247"/>
                  </a:cubicBezTo>
                  <a:cubicBezTo>
                    <a:pt x="140" y="252"/>
                    <a:pt x="153" y="241"/>
                    <a:pt x="153" y="241"/>
                  </a:cubicBezTo>
                  <a:cubicBezTo>
                    <a:pt x="144" y="251"/>
                    <a:pt x="144" y="251"/>
                    <a:pt x="144" y="251"/>
                  </a:cubicBezTo>
                  <a:cubicBezTo>
                    <a:pt x="149" y="269"/>
                    <a:pt x="149" y="269"/>
                    <a:pt x="149" y="269"/>
                  </a:cubicBezTo>
                  <a:cubicBezTo>
                    <a:pt x="149" y="269"/>
                    <a:pt x="138" y="282"/>
                    <a:pt x="130" y="296"/>
                  </a:cubicBezTo>
                  <a:cubicBezTo>
                    <a:pt x="123" y="309"/>
                    <a:pt x="146" y="306"/>
                    <a:pt x="146" y="306"/>
                  </a:cubicBezTo>
                  <a:cubicBezTo>
                    <a:pt x="146" y="306"/>
                    <a:pt x="159" y="300"/>
                    <a:pt x="166" y="303"/>
                  </a:cubicBezTo>
                  <a:cubicBezTo>
                    <a:pt x="173" y="306"/>
                    <a:pt x="189" y="293"/>
                    <a:pt x="189" y="293"/>
                  </a:cubicBezTo>
                  <a:cubicBezTo>
                    <a:pt x="211" y="295"/>
                    <a:pt x="211" y="295"/>
                    <a:pt x="211" y="295"/>
                  </a:cubicBezTo>
                  <a:cubicBezTo>
                    <a:pt x="211" y="295"/>
                    <a:pt x="188" y="308"/>
                    <a:pt x="186" y="318"/>
                  </a:cubicBezTo>
                  <a:cubicBezTo>
                    <a:pt x="185" y="328"/>
                    <a:pt x="215" y="335"/>
                    <a:pt x="215" y="335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08" y="361"/>
                    <a:pt x="208" y="361"/>
                    <a:pt x="208" y="361"/>
                  </a:cubicBezTo>
                  <a:cubicBezTo>
                    <a:pt x="208" y="361"/>
                    <a:pt x="210" y="375"/>
                    <a:pt x="207" y="379"/>
                  </a:cubicBezTo>
                  <a:cubicBezTo>
                    <a:pt x="204" y="383"/>
                    <a:pt x="162" y="377"/>
                    <a:pt x="162" y="377"/>
                  </a:cubicBezTo>
                  <a:cubicBezTo>
                    <a:pt x="162" y="377"/>
                    <a:pt x="152" y="374"/>
                    <a:pt x="143" y="376"/>
                  </a:cubicBezTo>
                  <a:cubicBezTo>
                    <a:pt x="134" y="378"/>
                    <a:pt x="149" y="389"/>
                    <a:pt x="149" y="389"/>
                  </a:cubicBezTo>
                  <a:cubicBezTo>
                    <a:pt x="135" y="402"/>
                    <a:pt x="135" y="402"/>
                    <a:pt x="135" y="402"/>
                  </a:cubicBezTo>
                  <a:cubicBezTo>
                    <a:pt x="163" y="400"/>
                    <a:pt x="163" y="400"/>
                    <a:pt x="163" y="400"/>
                  </a:cubicBezTo>
                  <a:cubicBezTo>
                    <a:pt x="163" y="400"/>
                    <a:pt x="163" y="423"/>
                    <a:pt x="156" y="430"/>
                  </a:cubicBezTo>
                  <a:cubicBezTo>
                    <a:pt x="149" y="437"/>
                    <a:pt x="121" y="445"/>
                    <a:pt x="117" y="448"/>
                  </a:cubicBezTo>
                  <a:cubicBezTo>
                    <a:pt x="113" y="451"/>
                    <a:pt x="118" y="466"/>
                    <a:pt x="122" y="468"/>
                  </a:cubicBezTo>
                  <a:cubicBezTo>
                    <a:pt x="126" y="470"/>
                    <a:pt x="144" y="456"/>
                    <a:pt x="144" y="456"/>
                  </a:cubicBezTo>
                  <a:cubicBezTo>
                    <a:pt x="144" y="456"/>
                    <a:pt x="147" y="462"/>
                    <a:pt x="151" y="466"/>
                  </a:cubicBezTo>
                  <a:cubicBezTo>
                    <a:pt x="155" y="470"/>
                    <a:pt x="165" y="466"/>
                    <a:pt x="165" y="466"/>
                  </a:cubicBezTo>
                  <a:cubicBezTo>
                    <a:pt x="165" y="466"/>
                    <a:pt x="173" y="475"/>
                    <a:pt x="181" y="476"/>
                  </a:cubicBezTo>
                  <a:cubicBezTo>
                    <a:pt x="190" y="477"/>
                    <a:pt x="197" y="472"/>
                    <a:pt x="202" y="467"/>
                  </a:cubicBezTo>
                  <a:cubicBezTo>
                    <a:pt x="207" y="462"/>
                    <a:pt x="220" y="463"/>
                    <a:pt x="220" y="463"/>
                  </a:cubicBezTo>
                  <a:cubicBezTo>
                    <a:pt x="220" y="463"/>
                    <a:pt x="204" y="478"/>
                    <a:pt x="194" y="485"/>
                  </a:cubicBezTo>
                  <a:cubicBezTo>
                    <a:pt x="183" y="492"/>
                    <a:pt x="163" y="485"/>
                    <a:pt x="156" y="485"/>
                  </a:cubicBezTo>
                  <a:cubicBezTo>
                    <a:pt x="149" y="485"/>
                    <a:pt x="151" y="495"/>
                    <a:pt x="151" y="495"/>
                  </a:cubicBezTo>
                  <a:cubicBezTo>
                    <a:pt x="151" y="495"/>
                    <a:pt x="142" y="495"/>
                    <a:pt x="135" y="498"/>
                  </a:cubicBezTo>
                  <a:cubicBezTo>
                    <a:pt x="127" y="501"/>
                    <a:pt x="135" y="507"/>
                    <a:pt x="129" y="516"/>
                  </a:cubicBezTo>
                  <a:cubicBezTo>
                    <a:pt x="124" y="524"/>
                    <a:pt x="117" y="520"/>
                    <a:pt x="110" y="520"/>
                  </a:cubicBezTo>
                  <a:cubicBezTo>
                    <a:pt x="103" y="520"/>
                    <a:pt x="106" y="530"/>
                    <a:pt x="99" y="536"/>
                  </a:cubicBezTo>
                  <a:cubicBezTo>
                    <a:pt x="92" y="542"/>
                    <a:pt x="83" y="541"/>
                    <a:pt x="83" y="545"/>
                  </a:cubicBezTo>
                  <a:cubicBezTo>
                    <a:pt x="83" y="549"/>
                    <a:pt x="102" y="549"/>
                    <a:pt x="105" y="549"/>
                  </a:cubicBezTo>
                  <a:cubicBezTo>
                    <a:pt x="108" y="549"/>
                    <a:pt x="116" y="539"/>
                    <a:pt x="122" y="534"/>
                  </a:cubicBezTo>
                  <a:cubicBezTo>
                    <a:pt x="128" y="529"/>
                    <a:pt x="138" y="530"/>
                    <a:pt x="147" y="530"/>
                  </a:cubicBezTo>
                  <a:cubicBezTo>
                    <a:pt x="156" y="530"/>
                    <a:pt x="159" y="540"/>
                    <a:pt x="165" y="540"/>
                  </a:cubicBezTo>
                  <a:cubicBezTo>
                    <a:pt x="171" y="540"/>
                    <a:pt x="184" y="515"/>
                    <a:pt x="191" y="512"/>
                  </a:cubicBezTo>
                  <a:cubicBezTo>
                    <a:pt x="197" y="508"/>
                    <a:pt x="211" y="519"/>
                    <a:pt x="211" y="519"/>
                  </a:cubicBezTo>
                  <a:cubicBezTo>
                    <a:pt x="228" y="520"/>
                    <a:pt x="228" y="520"/>
                    <a:pt x="228" y="520"/>
                  </a:cubicBezTo>
                  <a:cubicBezTo>
                    <a:pt x="248" y="512"/>
                    <a:pt x="248" y="512"/>
                    <a:pt x="248" y="512"/>
                  </a:cubicBezTo>
                  <a:cubicBezTo>
                    <a:pt x="248" y="512"/>
                    <a:pt x="267" y="521"/>
                    <a:pt x="273" y="520"/>
                  </a:cubicBezTo>
                  <a:cubicBezTo>
                    <a:pt x="279" y="519"/>
                    <a:pt x="265" y="508"/>
                    <a:pt x="271" y="503"/>
                  </a:cubicBezTo>
                  <a:cubicBezTo>
                    <a:pt x="277" y="498"/>
                    <a:pt x="286" y="513"/>
                    <a:pt x="286" y="513"/>
                  </a:cubicBezTo>
                  <a:cubicBezTo>
                    <a:pt x="293" y="508"/>
                    <a:pt x="293" y="508"/>
                    <a:pt x="293" y="508"/>
                  </a:cubicBezTo>
                  <a:cubicBezTo>
                    <a:pt x="293" y="508"/>
                    <a:pt x="346" y="508"/>
                    <a:pt x="359" y="501"/>
                  </a:cubicBezTo>
                  <a:cubicBezTo>
                    <a:pt x="371" y="494"/>
                    <a:pt x="379" y="479"/>
                    <a:pt x="379" y="479"/>
                  </a:cubicBezTo>
                  <a:cubicBezTo>
                    <a:pt x="340" y="474"/>
                    <a:pt x="340" y="474"/>
                    <a:pt x="340" y="474"/>
                  </a:cubicBezTo>
                  <a:cubicBezTo>
                    <a:pt x="358" y="471"/>
                    <a:pt x="358" y="471"/>
                    <a:pt x="358" y="471"/>
                  </a:cubicBezTo>
                  <a:cubicBezTo>
                    <a:pt x="354" y="461"/>
                    <a:pt x="354" y="461"/>
                    <a:pt x="354" y="461"/>
                  </a:cubicBezTo>
                  <a:cubicBezTo>
                    <a:pt x="354" y="461"/>
                    <a:pt x="368" y="448"/>
                    <a:pt x="375" y="447"/>
                  </a:cubicBezTo>
                  <a:cubicBezTo>
                    <a:pt x="382" y="446"/>
                    <a:pt x="393" y="435"/>
                    <a:pt x="394" y="415"/>
                  </a:cubicBezTo>
                  <a:cubicBezTo>
                    <a:pt x="395" y="394"/>
                    <a:pt x="346" y="395"/>
                    <a:pt x="346" y="395"/>
                  </a:cubicBezTo>
                  <a:close/>
                  <a:moveTo>
                    <a:pt x="157" y="325"/>
                  </a:moveTo>
                  <a:cubicBezTo>
                    <a:pt x="152" y="310"/>
                    <a:pt x="147" y="330"/>
                    <a:pt x="138" y="338"/>
                  </a:cubicBezTo>
                  <a:cubicBezTo>
                    <a:pt x="138" y="338"/>
                    <a:pt x="162" y="340"/>
                    <a:pt x="157" y="325"/>
                  </a:cubicBezTo>
                  <a:close/>
                  <a:moveTo>
                    <a:pt x="94" y="338"/>
                  </a:moveTo>
                  <a:cubicBezTo>
                    <a:pt x="97" y="335"/>
                    <a:pt x="99" y="329"/>
                    <a:pt x="99" y="329"/>
                  </a:cubicBezTo>
                  <a:cubicBezTo>
                    <a:pt x="99" y="329"/>
                    <a:pt x="104" y="336"/>
                    <a:pt x="107" y="330"/>
                  </a:cubicBezTo>
                  <a:cubicBezTo>
                    <a:pt x="110" y="324"/>
                    <a:pt x="117" y="314"/>
                    <a:pt x="110" y="308"/>
                  </a:cubicBezTo>
                  <a:cubicBezTo>
                    <a:pt x="103" y="302"/>
                    <a:pt x="103" y="293"/>
                    <a:pt x="103" y="293"/>
                  </a:cubicBezTo>
                  <a:cubicBezTo>
                    <a:pt x="98" y="295"/>
                    <a:pt x="98" y="295"/>
                    <a:pt x="98" y="295"/>
                  </a:cubicBezTo>
                  <a:cubicBezTo>
                    <a:pt x="98" y="295"/>
                    <a:pt x="93" y="283"/>
                    <a:pt x="86" y="281"/>
                  </a:cubicBezTo>
                  <a:cubicBezTo>
                    <a:pt x="79" y="279"/>
                    <a:pt x="61" y="282"/>
                    <a:pt x="61" y="282"/>
                  </a:cubicBezTo>
                  <a:cubicBezTo>
                    <a:pt x="61" y="282"/>
                    <a:pt x="61" y="282"/>
                    <a:pt x="61" y="281"/>
                  </a:cubicBezTo>
                  <a:cubicBezTo>
                    <a:pt x="58" y="288"/>
                    <a:pt x="58" y="288"/>
                    <a:pt x="58" y="288"/>
                  </a:cubicBezTo>
                  <a:cubicBezTo>
                    <a:pt x="28" y="302"/>
                    <a:pt x="28" y="302"/>
                    <a:pt x="28" y="302"/>
                  </a:cubicBezTo>
                  <a:cubicBezTo>
                    <a:pt x="29" y="312"/>
                    <a:pt x="29" y="312"/>
                    <a:pt x="29" y="312"/>
                  </a:cubicBezTo>
                  <a:cubicBezTo>
                    <a:pt x="29" y="312"/>
                    <a:pt x="0" y="318"/>
                    <a:pt x="13" y="325"/>
                  </a:cubicBezTo>
                  <a:cubicBezTo>
                    <a:pt x="26" y="333"/>
                    <a:pt x="38" y="335"/>
                    <a:pt x="38" y="335"/>
                  </a:cubicBezTo>
                  <a:cubicBezTo>
                    <a:pt x="55" y="319"/>
                    <a:pt x="55" y="319"/>
                    <a:pt x="55" y="319"/>
                  </a:cubicBezTo>
                  <a:cubicBezTo>
                    <a:pt x="67" y="335"/>
                    <a:pt x="67" y="335"/>
                    <a:pt x="67" y="335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91" y="340"/>
                    <a:pt x="93" y="339"/>
                    <a:pt x="94" y="338"/>
                  </a:cubicBezTo>
                  <a:close/>
                  <a:moveTo>
                    <a:pt x="63" y="155"/>
                  </a:moveTo>
                  <a:cubicBezTo>
                    <a:pt x="57" y="155"/>
                    <a:pt x="54" y="155"/>
                    <a:pt x="52" y="163"/>
                  </a:cubicBezTo>
                  <a:cubicBezTo>
                    <a:pt x="66" y="163"/>
                    <a:pt x="66" y="163"/>
                    <a:pt x="66" y="163"/>
                  </a:cubicBezTo>
                  <a:cubicBezTo>
                    <a:pt x="66" y="163"/>
                    <a:pt x="69" y="155"/>
                    <a:pt x="63" y="155"/>
                  </a:cubicBezTo>
                  <a:close/>
                  <a:moveTo>
                    <a:pt x="82" y="144"/>
                  </a:moveTo>
                  <a:cubicBezTo>
                    <a:pt x="82" y="144"/>
                    <a:pt x="88" y="146"/>
                    <a:pt x="94" y="145"/>
                  </a:cubicBezTo>
                  <a:cubicBezTo>
                    <a:pt x="100" y="144"/>
                    <a:pt x="108" y="115"/>
                    <a:pt x="108" y="115"/>
                  </a:cubicBezTo>
                  <a:cubicBezTo>
                    <a:pt x="108" y="115"/>
                    <a:pt x="100" y="117"/>
                    <a:pt x="94" y="122"/>
                  </a:cubicBezTo>
                  <a:cubicBezTo>
                    <a:pt x="88" y="126"/>
                    <a:pt x="86" y="133"/>
                    <a:pt x="86" y="133"/>
                  </a:cubicBezTo>
                  <a:cubicBezTo>
                    <a:pt x="86" y="133"/>
                    <a:pt x="78" y="125"/>
                    <a:pt x="72" y="128"/>
                  </a:cubicBezTo>
                  <a:cubicBezTo>
                    <a:pt x="67" y="131"/>
                    <a:pt x="73" y="153"/>
                    <a:pt x="73" y="153"/>
                  </a:cubicBezTo>
                  <a:lnTo>
                    <a:pt x="82" y="144"/>
                  </a:lnTo>
                  <a:close/>
                  <a:moveTo>
                    <a:pt x="57" y="169"/>
                  </a:moveTo>
                  <a:cubicBezTo>
                    <a:pt x="51" y="191"/>
                    <a:pt x="51" y="191"/>
                    <a:pt x="51" y="191"/>
                  </a:cubicBezTo>
                  <a:cubicBezTo>
                    <a:pt x="62" y="177"/>
                    <a:pt x="62" y="177"/>
                    <a:pt x="62" y="177"/>
                  </a:cubicBezTo>
                  <a:lnTo>
                    <a:pt x="57" y="169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32" name="Freeform 148"/>
            <p:cNvSpPr>
              <a:spLocks/>
            </p:cNvSpPr>
            <p:nvPr/>
          </p:nvSpPr>
          <p:spPr bwMode="auto">
            <a:xfrm>
              <a:off x="2538" y="1634"/>
              <a:ext cx="71" cy="77"/>
            </a:xfrm>
            <a:custGeom>
              <a:avLst/>
              <a:gdLst>
                <a:gd name="T0" fmla="*/ 0 w 189"/>
                <a:gd name="T1" fmla="*/ 0 h 202"/>
                <a:gd name="T2" fmla="*/ 0 w 189"/>
                <a:gd name="T3" fmla="*/ 0 h 202"/>
                <a:gd name="T4" fmla="*/ 0 w 189"/>
                <a:gd name="T5" fmla="*/ 0 h 202"/>
                <a:gd name="T6" fmla="*/ 0 w 189"/>
                <a:gd name="T7" fmla="*/ 0 h 202"/>
                <a:gd name="T8" fmla="*/ 0 w 189"/>
                <a:gd name="T9" fmla="*/ 0 h 202"/>
                <a:gd name="T10" fmla="*/ 0 w 189"/>
                <a:gd name="T11" fmla="*/ 0 h 202"/>
                <a:gd name="T12" fmla="*/ 0 w 189"/>
                <a:gd name="T13" fmla="*/ 0 h 202"/>
                <a:gd name="T14" fmla="*/ 0 w 189"/>
                <a:gd name="T15" fmla="*/ 0 h 202"/>
                <a:gd name="T16" fmla="*/ 0 w 189"/>
                <a:gd name="T17" fmla="*/ 0 h 202"/>
                <a:gd name="T18" fmla="*/ 0 w 189"/>
                <a:gd name="T19" fmla="*/ 0 h 202"/>
                <a:gd name="T20" fmla="*/ 0 w 189"/>
                <a:gd name="T21" fmla="*/ 0 h 202"/>
                <a:gd name="T22" fmla="*/ 0 w 189"/>
                <a:gd name="T23" fmla="*/ 0 h 202"/>
                <a:gd name="T24" fmla="*/ 0 w 189"/>
                <a:gd name="T25" fmla="*/ 0 h 202"/>
                <a:gd name="T26" fmla="*/ 0 w 189"/>
                <a:gd name="T27" fmla="*/ 0 h 202"/>
                <a:gd name="T28" fmla="*/ 0 w 189"/>
                <a:gd name="T29" fmla="*/ 0 h 202"/>
                <a:gd name="T30" fmla="*/ 0 w 189"/>
                <a:gd name="T31" fmla="*/ 0 h 202"/>
                <a:gd name="T32" fmla="*/ 0 w 189"/>
                <a:gd name="T33" fmla="*/ 0 h 202"/>
                <a:gd name="T34" fmla="*/ 0 w 189"/>
                <a:gd name="T35" fmla="*/ 0 h 202"/>
                <a:gd name="T36" fmla="*/ 0 w 189"/>
                <a:gd name="T37" fmla="*/ 0 h 202"/>
                <a:gd name="T38" fmla="*/ 0 w 189"/>
                <a:gd name="T39" fmla="*/ 0 h 202"/>
                <a:gd name="T40" fmla="*/ 0 w 189"/>
                <a:gd name="T41" fmla="*/ 0 h 202"/>
                <a:gd name="T42" fmla="*/ 0 w 189"/>
                <a:gd name="T43" fmla="*/ 0 h 202"/>
                <a:gd name="T44" fmla="*/ 0 w 189"/>
                <a:gd name="T45" fmla="*/ 0 h 202"/>
                <a:gd name="T46" fmla="*/ 0 w 189"/>
                <a:gd name="T47" fmla="*/ 0 h 202"/>
                <a:gd name="T48" fmla="*/ 0 w 189"/>
                <a:gd name="T49" fmla="*/ 0 h 202"/>
                <a:gd name="T50" fmla="*/ 0 w 189"/>
                <a:gd name="T51" fmla="*/ 0 h 202"/>
                <a:gd name="T52" fmla="*/ 0 w 189"/>
                <a:gd name="T53" fmla="*/ 0 h 202"/>
                <a:gd name="T54" fmla="*/ 0 w 189"/>
                <a:gd name="T55" fmla="*/ 0 h 202"/>
                <a:gd name="T56" fmla="*/ 0 w 189"/>
                <a:gd name="T57" fmla="*/ 0 h 202"/>
                <a:gd name="T58" fmla="*/ 0 w 189"/>
                <a:gd name="T59" fmla="*/ 0 h 202"/>
                <a:gd name="T60" fmla="*/ 0 w 189"/>
                <a:gd name="T61" fmla="*/ 0 h 202"/>
                <a:gd name="T62" fmla="*/ 0 w 189"/>
                <a:gd name="T63" fmla="*/ 0 h 202"/>
                <a:gd name="T64" fmla="*/ 0 w 189"/>
                <a:gd name="T65" fmla="*/ 0 h 202"/>
                <a:gd name="T66" fmla="*/ 0 w 189"/>
                <a:gd name="T67" fmla="*/ 0 h 202"/>
                <a:gd name="T68" fmla="*/ 0 w 189"/>
                <a:gd name="T69" fmla="*/ 0 h 202"/>
                <a:gd name="T70" fmla="*/ 0 w 189"/>
                <a:gd name="T71" fmla="*/ 0 h 202"/>
                <a:gd name="T72" fmla="*/ 0 w 189"/>
                <a:gd name="T73" fmla="*/ 0 h 202"/>
                <a:gd name="T74" fmla="*/ 0 w 189"/>
                <a:gd name="T75" fmla="*/ 0 h 202"/>
                <a:gd name="T76" fmla="*/ 0 w 189"/>
                <a:gd name="T77" fmla="*/ 0 h 202"/>
                <a:gd name="T78" fmla="*/ 0 w 189"/>
                <a:gd name="T79" fmla="*/ 0 h 202"/>
                <a:gd name="T80" fmla="*/ 0 w 189"/>
                <a:gd name="T81" fmla="*/ 0 h 202"/>
                <a:gd name="T82" fmla="*/ 0 w 189"/>
                <a:gd name="T83" fmla="*/ 0 h 202"/>
                <a:gd name="T84" fmla="*/ 0 w 189"/>
                <a:gd name="T85" fmla="*/ 0 h 202"/>
                <a:gd name="T86" fmla="*/ 0 w 189"/>
                <a:gd name="T87" fmla="*/ 0 h 202"/>
                <a:gd name="T88" fmla="*/ 0 w 189"/>
                <a:gd name="T89" fmla="*/ 0 h 202"/>
                <a:gd name="T90" fmla="*/ 0 w 189"/>
                <a:gd name="T91" fmla="*/ 0 h 202"/>
                <a:gd name="T92" fmla="*/ 0 w 189"/>
                <a:gd name="T93" fmla="*/ 0 h 202"/>
                <a:gd name="T94" fmla="*/ 0 w 189"/>
                <a:gd name="T95" fmla="*/ 0 h 202"/>
                <a:gd name="T96" fmla="*/ 0 w 189"/>
                <a:gd name="T97" fmla="*/ 0 h 202"/>
                <a:gd name="T98" fmla="*/ 0 w 189"/>
                <a:gd name="T99" fmla="*/ 0 h 202"/>
                <a:gd name="T100" fmla="*/ 0 w 189"/>
                <a:gd name="T101" fmla="*/ 0 h 202"/>
                <a:gd name="T102" fmla="*/ 0 w 189"/>
                <a:gd name="T103" fmla="*/ 0 h 202"/>
                <a:gd name="T104" fmla="*/ 0 w 189"/>
                <a:gd name="T105" fmla="*/ 0 h 202"/>
                <a:gd name="T106" fmla="*/ 0 w 189"/>
                <a:gd name="T107" fmla="*/ 0 h 20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89"/>
                <a:gd name="T163" fmla="*/ 0 h 202"/>
                <a:gd name="T164" fmla="*/ 189 w 189"/>
                <a:gd name="T165" fmla="*/ 202 h 20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89" h="202">
                  <a:moveTo>
                    <a:pt x="186" y="104"/>
                  </a:moveTo>
                  <a:cubicBezTo>
                    <a:pt x="186" y="94"/>
                    <a:pt x="177" y="87"/>
                    <a:pt x="177" y="87"/>
                  </a:cubicBezTo>
                  <a:cubicBezTo>
                    <a:pt x="177" y="87"/>
                    <a:pt x="177" y="78"/>
                    <a:pt x="175" y="73"/>
                  </a:cubicBezTo>
                  <a:cubicBezTo>
                    <a:pt x="175" y="69"/>
                    <a:pt x="184" y="68"/>
                    <a:pt x="189" y="66"/>
                  </a:cubicBezTo>
                  <a:cubicBezTo>
                    <a:pt x="167" y="61"/>
                    <a:pt x="167" y="61"/>
                    <a:pt x="167" y="61"/>
                  </a:cubicBezTo>
                  <a:cubicBezTo>
                    <a:pt x="155" y="45"/>
                    <a:pt x="155" y="45"/>
                    <a:pt x="155" y="45"/>
                  </a:cubicBezTo>
                  <a:cubicBezTo>
                    <a:pt x="138" y="61"/>
                    <a:pt x="138" y="61"/>
                    <a:pt x="138" y="61"/>
                  </a:cubicBezTo>
                  <a:cubicBezTo>
                    <a:pt x="138" y="61"/>
                    <a:pt x="126" y="59"/>
                    <a:pt x="113" y="51"/>
                  </a:cubicBezTo>
                  <a:cubicBezTo>
                    <a:pt x="100" y="44"/>
                    <a:pt x="129" y="38"/>
                    <a:pt x="129" y="3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0" y="6"/>
                    <a:pt x="158" y="4"/>
                    <a:pt x="153" y="2"/>
                  </a:cubicBezTo>
                  <a:cubicBezTo>
                    <a:pt x="146" y="0"/>
                    <a:pt x="138" y="14"/>
                    <a:pt x="138" y="14"/>
                  </a:cubicBezTo>
                  <a:cubicBezTo>
                    <a:pt x="134" y="4"/>
                    <a:pt x="134" y="4"/>
                    <a:pt x="134" y="4"/>
                  </a:cubicBezTo>
                  <a:cubicBezTo>
                    <a:pt x="134" y="4"/>
                    <a:pt x="111" y="4"/>
                    <a:pt x="107" y="9"/>
                  </a:cubicBezTo>
                  <a:cubicBezTo>
                    <a:pt x="103" y="15"/>
                    <a:pt x="99" y="30"/>
                    <a:pt x="99" y="30"/>
                  </a:cubicBezTo>
                  <a:cubicBezTo>
                    <a:pt x="99" y="30"/>
                    <a:pt x="84" y="29"/>
                    <a:pt x="84" y="35"/>
                  </a:cubicBezTo>
                  <a:cubicBezTo>
                    <a:pt x="84" y="41"/>
                    <a:pt x="106" y="37"/>
                    <a:pt x="102" y="44"/>
                  </a:cubicBezTo>
                  <a:cubicBezTo>
                    <a:pt x="98" y="51"/>
                    <a:pt x="94" y="47"/>
                    <a:pt x="92" y="50"/>
                  </a:cubicBezTo>
                  <a:cubicBezTo>
                    <a:pt x="90" y="53"/>
                    <a:pt x="87" y="57"/>
                    <a:pt x="87" y="57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56" y="47"/>
                    <a:pt x="48" y="51"/>
                  </a:cubicBezTo>
                  <a:cubicBezTo>
                    <a:pt x="40" y="55"/>
                    <a:pt x="30" y="54"/>
                    <a:pt x="30" y="54"/>
                  </a:cubicBezTo>
                  <a:cubicBezTo>
                    <a:pt x="30" y="54"/>
                    <a:pt x="28" y="71"/>
                    <a:pt x="33" y="71"/>
                  </a:cubicBezTo>
                  <a:cubicBezTo>
                    <a:pt x="38" y="71"/>
                    <a:pt x="42" y="79"/>
                    <a:pt x="42" y="79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6"/>
                    <a:pt x="20" y="90"/>
                    <a:pt x="25" y="98"/>
                  </a:cubicBezTo>
                  <a:cubicBezTo>
                    <a:pt x="30" y="106"/>
                    <a:pt x="48" y="107"/>
                    <a:pt x="48" y="107"/>
                  </a:cubicBezTo>
                  <a:cubicBezTo>
                    <a:pt x="48" y="107"/>
                    <a:pt x="67" y="99"/>
                    <a:pt x="66" y="107"/>
                  </a:cubicBezTo>
                  <a:cubicBezTo>
                    <a:pt x="65" y="115"/>
                    <a:pt x="50" y="116"/>
                    <a:pt x="50" y="116"/>
                  </a:cubicBezTo>
                  <a:cubicBezTo>
                    <a:pt x="50" y="130"/>
                    <a:pt x="50" y="130"/>
                    <a:pt x="50" y="130"/>
                  </a:cubicBezTo>
                  <a:cubicBezTo>
                    <a:pt x="50" y="130"/>
                    <a:pt x="37" y="125"/>
                    <a:pt x="35" y="134"/>
                  </a:cubicBezTo>
                  <a:cubicBezTo>
                    <a:pt x="33" y="143"/>
                    <a:pt x="30" y="156"/>
                    <a:pt x="30" y="156"/>
                  </a:cubicBezTo>
                  <a:cubicBezTo>
                    <a:pt x="30" y="156"/>
                    <a:pt x="5" y="156"/>
                    <a:pt x="4" y="161"/>
                  </a:cubicBezTo>
                  <a:cubicBezTo>
                    <a:pt x="3" y="166"/>
                    <a:pt x="15" y="167"/>
                    <a:pt x="15" y="167"/>
                  </a:cubicBezTo>
                  <a:cubicBezTo>
                    <a:pt x="15" y="167"/>
                    <a:pt x="0" y="169"/>
                    <a:pt x="0" y="176"/>
                  </a:cubicBezTo>
                  <a:cubicBezTo>
                    <a:pt x="0" y="184"/>
                    <a:pt x="7" y="183"/>
                    <a:pt x="7" y="183"/>
                  </a:cubicBezTo>
                  <a:cubicBezTo>
                    <a:pt x="30" y="180"/>
                    <a:pt x="30" y="180"/>
                    <a:pt x="30" y="180"/>
                  </a:cubicBezTo>
                  <a:cubicBezTo>
                    <a:pt x="19" y="192"/>
                    <a:pt x="19" y="192"/>
                    <a:pt x="19" y="192"/>
                  </a:cubicBezTo>
                  <a:cubicBezTo>
                    <a:pt x="19" y="192"/>
                    <a:pt x="36" y="187"/>
                    <a:pt x="35" y="190"/>
                  </a:cubicBezTo>
                  <a:cubicBezTo>
                    <a:pt x="34" y="193"/>
                    <a:pt x="14" y="202"/>
                    <a:pt x="29" y="202"/>
                  </a:cubicBezTo>
                  <a:cubicBezTo>
                    <a:pt x="44" y="202"/>
                    <a:pt x="65" y="196"/>
                    <a:pt x="74" y="191"/>
                  </a:cubicBezTo>
                  <a:cubicBezTo>
                    <a:pt x="83" y="186"/>
                    <a:pt x="83" y="178"/>
                    <a:pt x="83" y="178"/>
                  </a:cubicBezTo>
                  <a:cubicBezTo>
                    <a:pt x="83" y="178"/>
                    <a:pt x="93" y="184"/>
                    <a:pt x="102" y="178"/>
                  </a:cubicBezTo>
                  <a:cubicBezTo>
                    <a:pt x="111" y="173"/>
                    <a:pt x="112" y="167"/>
                    <a:pt x="124" y="166"/>
                  </a:cubicBezTo>
                  <a:cubicBezTo>
                    <a:pt x="135" y="165"/>
                    <a:pt x="140" y="165"/>
                    <a:pt x="140" y="165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68" y="160"/>
                    <a:pt x="168" y="160"/>
                    <a:pt x="168" y="160"/>
                  </a:cubicBezTo>
                  <a:cubicBezTo>
                    <a:pt x="167" y="148"/>
                    <a:pt x="167" y="148"/>
                    <a:pt x="167" y="148"/>
                  </a:cubicBezTo>
                  <a:cubicBezTo>
                    <a:pt x="167" y="148"/>
                    <a:pt x="179" y="150"/>
                    <a:pt x="179" y="146"/>
                  </a:cubicBezTo>
                  <a:cubicBezTo>
                    <a:pt x="179" y="142"/>
                    <a:pt x="174" y="138"/>
                    <a:pt x="178" y="133"/>
                  </a:cubicBezTo>
                  <a:cubicBezTo>
                    <a:pt x="181" y="128"/>
                    <a:pt x="186" y="114"/>
                    <a:pt x="186" y="104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33" name="Freeform 149"/>
            <p:cNvSpPr>
              <a:spLocks noEditPoints="1"/>
            </p:cNvSpPr>
            <p:nvPr/>
          </p:nvSpPr>
          <p:spPr bwMode="auto">
            <a:xfrm>
              <a:off x="1894" y="1163"/>
              <a:ext cx="1003" cy="486"/>
            </a:xfrm>
            <a:custGeom>
              <a:avLst/>
              <a:gdLst>
                <a:gd name="T0" fmla="*/ 0 w 2644"/>
                <a:gd name="T1" fmla="*/ 0 h 1282"/>
                <a:gd name="T2" fmla="*/ 0 w 2644"/>
                <a:gd name="T3" fmla="*/ 0 h 1282"/>
                <a:gd name="T4" fmla="*/ 0 w 2644"/>
                <a:gd name="T5" fmla="*/ 0 h 1282"/>
                <a:gd name="T6" fmla="*/ 0 w 2644"/>
                <a:gd name="T7" fmla="*/ 0 h 1282"/>
                <a:gd name="T8" fmla="*/ 0 w 2644"/>
                <a:gd name="T9" fmla="*/ 0 h 1282"/>
                <a:gd name="T10" fmla="*/ 0 w 2644"/>
                <a:gd name="T11" fmla="*/ 0 h 1282"/>
                <a:gd name="T12" fmla="*/ 0 w 2644"/>
                <a:gd name="T13" fmla="*/ 0 h 1282"/>
                <a:gd name="T14" fmla="*/ 0 w 2644"/>
                <a:gd name="T15" fmla="*/ 0 h 1282"/>
                <a:gd name="T16" fmla="*/ 0 w 2644"/>
                <a:gd name="T17" fmla="*/ 0 h 1282"/>
                <a:gd name="T18" fmla="*/ 0 w 2644"/>
                <a:gd name="T19" fmla="*/ 0 h 1282"/>
                <a:gd name="T20" fmla="*/ 0 w 2644"/>
                <a:gd name="T21" fmla="*/ 0 h 1282"/>
                <a:gd name="T22" fmla="*/ 0 w 2644"/>
                <a:gd name="T23" fmla="*/ 0 h 1282"/>
                <a:gd name="T24" fmla="*/ 0 w 2644"/>
                <a:gd name="T25" fmla="*/ 0 h 1282"/>
                <a:gd name="T26" fmla="*/ 0 w 2644"/>
                <a:gd name="T27" fmla="*/ 0 h 1282"/>
                <a:gd name="T28" fmla="*/ 0 w 2644"/>
                <a:gd name="T29" fmla="*/ 0 h 1282"/>
                <a:gd name="T30" fmla="*/ 0 w 2644"/>
                <a:gd name="T31" fmla="*/ 0 h 1282"/>
                <a:gd name="T32" fmla="*/ 0 w 2644"/>
                <a:gd name="T33" fmla="*/ 0 h 1282"/>
                <a:gd name="T34" fmla="*/ 0 w 2644"/>
                <a:gd name="T35" fmla="*/ 0 h 1282"/>
                <a:gd name="T36" fmla="*/ 0 w 2644"/>
                <a:gd name="T37" fmla="*/ 0 h 1282"/>
                <a:gd name="T38" fmla="*/ 0 w 2644"/>
                <a:gd name="T39" fmla="*/ 0 h 1282"/>
                <a:gd name="T40" fmla="*/ 0 w 2644"/>
                <a:gd name="T41" fmla="*/ 0 h 1282"/>
                <a:gd name="T42" fmla="*/ 0 w 2644"/>
                <a:gd name="T43" fmla="*/ 0 h 1282"/>
                <a:gd name="T44" fmla="*/ 0 w 2644"/>
                <a:gd name="T45" fmla="*/ 0 h 1282"/>
                <a:gd name="T46" fmla="*/ 0 w 2644"/>
                <a:gd name="T47" fmla="*/ 0 h 1282"/>
                <a:gd name="T48" fmla="*/ 0 w 2644"/>
                <a:gd name="T49" fmla="*/ 0 h 1282"/>
                <a:gd name="T50" fmla="*/ 0 w 2644"/>
                <a:gd name="T51" fmla="*/ 0 h 1282"/>
                <a:gd name="T52" fmla="*/ 0 w 2644"/>
                <a:gd name="T53" fmla="*/ 0 h 1282"/>
                <a:gd name="T54" fmla="*/ 0 w 2644"/>
                <a:gd name="T55" fmla="*/ 0 h 1282"/>
                <a:gd name="T56" fmla="*/ 0 w 2644"/>
                <a:gd name="T57" fmla="*/ 0 h 1282"/>
                <a:gd name="T58" fmla="*/ 0 w 2644"/>
                <a:gd name="T59" fmla="*/ 0 h 1282"/>
                <a:gd name="T60" fmla="*/ 0 w 2644"/>
                <a:gd name="T61" fmla="*/ 0 h 1282"/>
                <a:gd name="T62" fmla="*/ 0 w 2644"/>
                <a:gd name="T63" fmla="*/ 0 h 1282"/>
                <a:gd name="T64" fmla="*/ 0 w 2644"/>
                <a:gd name="T65" fmla="*/ 0 h 1282"/>
                <a:gd name="T66" fmla="*/ 0 w 2644"/>
                <a:gd name="T67" fmla="*/ 0 h 1282"/>
                <a:gd name="T68" fmla="*/ 0 w 2644"/>
                <a:gd name="T69" fmla="*/ 0 h 1282"/>
                <a:gd name="T70" fmla="*/ 0 w 2644"/>
                <a:gd name="T71" fmla="*/ 0 h 1282"/>
                <a:gd name="T72" fmla="*/ 0 w 2644"/>
                <a:gd name="T73" fmla="*/ 0 h 1282"/>
                <a:gd name="T74" fmla="*/ 0 w 2644"/>
                <a:gd name="T75" fmla="*/ 0 h 1282"/>
                <a:gd name="T76" fmla="*/ 0 w 2644"/>
                <a:gd name="T77" fmla="*/ 0 h 1282"/>
                <a:gd name="T78" fmla="*/ 0 w 2644"/>
                <a:gd name="T79" fmla="*/ 0 h 1282"/>
                <a:gd name="T80" fmla="*/ 0 w 2644"/>
                <a:gd name="T81" fmla="*/ 0 h 1282"/>
                <a:gd name="T82" fmla="*/ 0 w 2644"/>
                <a:gd name="T83" fmla="*/ 0 h 1282"/>
                <a:gd name="T84" fmla="*/ 0 w 2644"/>
                <a:gd name="T85" fmla="*/ 0 h 1282"/>
                <a:gd name="T86" fmla="*/ 0 w 2644"/>
                <a:gd name="T87" fmla="*/ 0 h 1282"/>
                <a:gd name="T88" fmla="*/ 0 w 2644"/>
                <a:gd name="T89" fmla="*/ 0 h 1282"/>
                <a:gd name="T90" fmla="*/ 0 w 2644"/>
                <a:gd name="T91" fmla="*/ 0 h 1282"/>
                <a:gd name="T92" fmla="*/ 0 w 2644"/>
                <a:gd name="T93" fmla="*/ 0 h 1282"/>
                <a:gd name="T94" fmla="*/ 0 w 2644"/>
                <a:gd name="T95" fmla="*/ 0 h 1282"/>
                <a:gd name="T96" fmla="*/ 0 w 2644"/>
                <a:gd name="T97" fmla="*/ 0 h 1282"/>
                <a:gd name="T98" fmla="*/ 0 w 2644"/>
                <a:gd name="T99" fmla="*/ 0 h 1282"/>
                <a:gd name="T100" fmla="*/ 0 w 2644"/>
                <a:gd name="T101" fmla="*/ 0 h 1282"/>
                <a:gd name="T102" fmla="*/ 0 w 2644"/>
                <a:gd name="T103" fmla="*/ 0 h 1282"/>
                <a:gd name="T104" fmla="*/ 0 w 2644"/>
                <a:gd name="T105" fmla="*/ 0 h 1282"/>
                <a:gd name="T106" fmla="*/ 0 w 2644"/>
                <a:gd name="T107" fmla="*/ 0 h 1282"/>
                <a:gd name="T108" fmla="*/ 0 w 2644"/>
                <a:gd name="T109" fmla="*/ 0 h 1282"/>
                <a:gd name="T110" fmla="*/ 0 w 2644"/>
                <a:gd name="T111" fmla="*/ 0 h 1282"/>
                <a:gd name="T112" fmla="*/ 0 w 2644"/>
                <a:gd name="T113" fmla="*/ 0 h 1282"/>
                <a:gd name="T114" fmla="*/ 0 w 2644"/>
                <a:gd name="T115" fmla="*/ 0 h 1282"/>
                <a:gd name="T116" fmla="*/ 0 w 2644"/>
                <a:gd name="T117" fmla="*/ 0 h 128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44"/>
                <a:gd name="T178" fmla="*/ 0 h 1282"/>
                <a:gd name="T179" fmla="*/ 2644 w 2644"/>
                <a:gd name="T180" fmla="*/ 1282 h 128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44" h="1282">
                  <a:moveTo>
                    <a:pt x="1845" y="57"/>
                  </a:moveTo>
                  <a:cubicBezTo>
                    <a:pt x="1825" y="57"/>
                    <a:pt x="1757" y="51"/>
                    <a:pt x="1752" y="57"/>
                  </a:cubicBezTo>
                  <a:cubicBezTo>
                    <a:pt x="1747" y="63"/>
                    <a:pt x="1722" y="69"/>
                    <a:pt x="1711" y="69"/>
                  </a:cubicBezTo>
                  <a:cubicBezTo>
                    <a:pt x="1700" y="69"/>
                    <a:pt x="1655" y="60"/>
                    <a:pt x="1647" y="64"/>
                  </a:cubicBezTo>
                  <a:cubicBezTo>
                    <a:pt x="1639" y="68"/>
                    <a:pt x="1587" y="83"/>
                    <a:pt x="1581" y="86"/>
                  </a:cubicBezTo>
                  <a:cubicBezTo>
                    <a:pt x="1575" y="89"/>
                    <a:pt x="1523" y="101"/>
                    <a:pt x="1532" y="94"/>
                  </a:cubicBezTo>
                  <a:cubicBezTo>
                    <a:pt x="1541" y="87"/>
                    <a:pt x="1615" y="71"/>
                    <a:pt x="1610" y="61"/>
                  </a:cubicBezTo>
                  <a:cubicBezTo>
                    <a:pt x="1605" y="51"/>
                    <a:pt x="1576" y="48"/>
                    <a:pt x="1565" y="52"/>
                  </a:cubicBezTo>
                  <a:cubicBezTo>
                    <a:pt x="1554" y="56"/>
                    <a:pt x="1536" y="63"/>
                    <a:pt x="1536" y="63"/>
                  </a:cubicBezTo>
                  <a:cubicBezTo>
                    <a:pt x="1457" y="73"/>
                    <a:pt x="1457" y="73"/>
                    <a:pt x="1457" y="73"/>
                  </a:cubicBezTo>
                  <a:cubicBezTo>
                    <a:pt x="1457" y="73"/>
                    <a:pt x="1531" y="55"/>
                    <a:pt x="1513" y="54"/>
                  </a:cubicBezTo>
                  <a:cubicBezTo>
                    <a:pt x="1495" y="53"/>
                    <a:pt x="1427" y="52"/>
                    <a:pt x="1427" y="52"/>
                  </a:cubicBezTo>
                  <a:cubicBezTo>
                    <a:pt x="1403" y="57"/>
                    <a:pt x="1403" y="57"/>
                    <a:pt x="1403" y="57"/>
                  </a:cubicBezTo>
                  <a:cubicBezTo>
                    <a:pt x="1358" y="53"/>
                    <a:pt x="1358" y="53"/>
                    <a:pt x="1358" y="53"/>
                  </a:cubicBezTo>
                  <a:cubicBezTo>
                    <a:pt x="1358" y="53"/>
                    <a:pt x="1307" y="68"/>
                    <a:pt x="1309" y="61"/>
                  </a:cubicBezTo>
                  <a:cubicBezTo>
                    <a:pt x="1311" y="54"/>
                    <a:pt x="1371" y="47"/>
                    <a:pt x="1392" y="47"/>
                  </a:cubicBezTo>
                  <a:cubicBezTo>
                    <a:pt x="1413" y="47"/>
                    <a:pt x="1548" y="45"/>
                    <a:pt x="1557" y="45"/>
                  </a:cubicBezTo>
                  <a:cubicBezTo>
                    <a:pt x="1566" y="45"/>
                    <a:pt x="1645" y="43"/>
                    <a:pt x="1636" y="35"/>
                  </a:cubicBezTo>
                  <a:cubicBezTo>
                    <a:pt x="1627" y="27"/>
                    <a:pt x="1577" y="24"/>
                    <a:pt x="1558" y="27"/>
                  </a:cubicBezTo>
                  <a:cubicBezTo>
                    <a:pt x="1539" y="30"/>
                    <a:pt x="1526" y="29"/>
                    <a:pt x="1526" y="29"/>
                  </a:cubicBezTo>
                  <a:cubicBezTo>
                    <a:pt x="1526" y="29"/>
                    <a:pt x="1551" y="18"/>
                    <a:pt x="1535" y="17"/>
                  </a:cubicBezTo>
                  <a:cubicBezTo>
                    <a:pt x="1519" y="16"/>
                    <a:pt x="1492" y="19"/>
                    <a:pt x="1492" y="19"/>
                  </a:cubicBezTo>
                  <a:cubicBezTo>
                    <a:pt x="1492" y="19"/>
                    <a:pt x="1462" y="18"/>
                    <a:pt x="1455" y="16"/>
                  </a:cubicBezTo>
                  <a:cubicBezTo>
                    <a:pt x="1448" y="14"/>
                    <a:pt x="1483" y="17"/>
                    <a:pt x="1490" y="10"/>
                  </a:cubicBezTo>
                  <a:cubicBezTo>
                    <a:pt x="1497" y="3"/>
                    <a:pt x="1454" y="5"/>
                    <a:pt x="1432" y="5"/>
                  </a:cubicBezTo>
                  <a:cubicBezTo>
                    <a:pt x="1410" y="5"/>
                    <a:pt x="1355" y="8"/>
                    <a:pt x="1355" y="8"/>
                  </a:cubicBezTo>
                  <a:cubicBezTo>
                    <a:pt x="1355" y="8"/>
                    <a:pt x="1315" y="4"/>
                    <a:pt x="1292" y="2"/>
                  </a:cubicBezTo>
                  <a:cubicBezTo>
                    <a:pt x="1269" y="0"/>
                    <a:pt x="1246" y="5"/>
                    <a:pt x="1237" y="6"/>
                  </a:cubicBezTo>
                  <a:cubicBezTo>
                    <a:pt x="1228" y="7"/>
                    <a:pt x="1210" y="7"/>
                    <a:pt x="1188" y="6"/>
                  </a:cubicBezTo>
                  <a:cubicBezTo>
                    <a:pt x="1166" y="5"/>
                    <a:pt x="1144" y="5"/>
                    <a:pt x="1146" y="10"/>
                  </a:cubicBezTo>
                  <a:cubicBezTo>
                    <a:pt x="1148" y="15"/>
                    <a:pt x="1177" y="16"/>
                    <a:pt x="1177" y="16"/>
                  </a:cubicBezTo>
                  <a:cubicBezTo>
                    <a:pt x="1177" y="16"/>
                    <a:pt x="1142" y="21"/>
                    <a:pt x="1129" y="20"/>
                  </a:cubicBezTo>
                  <a:cubicBezTo>
                    <a:pt x="1116" y="19"/>
                    <a:pt x="1061" y="13"/>
                    <a:pt x="1047" y="11"/>
                  </a:cubicBezTo>
                  <a:cubicBezTo>
                    <a:pt x="1033" y="9"/>
                    <a:pt x="995" y="13"/>
                    <a:pt x="990" y="13"/>
                  </a:cubicBezTo>
                  <a:cubicBezTo>
                    <a:pt x="985" y="13"/>
                    <a:pt x="935" y="19"/>
                    <a:pt x="956" y="24"/>
                  </a:cubicBezTo>
                  <a:cubicBezTo>
                    <a:pt x="977" y="29"/>
                    <a:pt x="1046" y="31"/>
                    <a:pt x="1046" y="31"/>
                  </a:cubicBezTo>
                  <a:cubicBezTo>
                    <a:pt x="1103" y="38"/>
                    <a:pt x="1103" y="38"/>
                    <a:pt x="1103" y="38"/>
                  </a:cubicBezTo>
                  <a:cubicBezTo>
                    <a:pt x="1103" y="38"/>
                    <a:pt x="1048" y="40"/>
                    <a:pt x="1040" y="40"/>
                  </a:cubicBezTo>
                  <a:cubicBezTo>
                    <a:pt x="1032" y="40"/>
                    <a:pt x="984" y="27"/>
                    <a:pt x="985" y="31"/>
                  </a:cubicBezTo>
                  <a:cubicBezTo>
                    <a:pt x="986" y="35"/>
                    <a:pt x="1006" y="38"/>
                    <a:pt x="1006" y="38"/>
                  </a:cubicBezTo>
                  <a:cubicBezTo>
                    <a:pt x="975" y="41"/>
                    <a:pt x="975" y="41"/>
                    <a:pt x="975" y="41"/>
                  </a:cubicBezTo>
                  <a:cubicBezTo>
                    <a:pt x="975" y="41"/>
                    <a:pt x="958" y="55"/>
                    <a:pt x="962" y="59"/>
                  </a:cubicBezTo>
                  <a:cubicBezTo>
                    <a:pt x="966" y="63"/>
                    <a:pt x="938" y="64"/>
                    <a:pt x="925" y="56"/>
                  </a:cubicBezTo>
                  <a:cubicBezTo>
                    <a:pt x="912" y="48"/>
                    <a:pt x="885" y="42"/>
                    <a:pt x="859" y="40"/>
                  </a:cubicBezTo>
                  <a:cubicBezTo>
                    <a:pt x="833" y="38"/>
                    <a:pt x="804" y="38"/>
                    <a:pt x="804" y="38"/>
                  </a:cubicBezTo>
                  <a:cubicBezTo>
                    <a:pt x="806" y="58"/>
                    <a:pt x="806" y="58"/>
                    <a:pt x="806" y="58"/>
                  </a:cubicBezTo>
                  <a:cubicBezTo>
                    <a:pt x="806" y="58"/>
                    <a:pt x="786" y="61"/>
                    <a:pt x="773" y="59"/>
                  </a:cubicBezTo>
                  <a:cubicBezTo>
                    <a:pt x="760" y="57"/>
                    <a:pt x="736" y="49"/>
                    <a:pt x="728" y="51"/>
                  </a:cubicBezTo>
                  <a:cubicBezTo>
                    <a:pt x="720" y="53"/>
                    <a:pt x="702" y="62"/>
                    <a:pt x="702" y="62"/>
                  </a:cubicBezTo>
                  <a:cubicBezTo>
                    <a:pt x="702" y="62"/>
                    <a:pt x="713" y="44"/>
                    <a:pt x="700" y="44"/>
                  </a:cubicBezTo>
                  <a:cubicBezTo>
                    <a:pt x="687" y="44"/>
                    <a:pt x="616" y="45"/>
                    <a:pt x="597" y="48"/>
                  </a:cubicBezTo>
                  <a:cubicBezTo>
                    <a:pt x="578" y="51"/>
                    <a:pt x="545" y="44"/>
                    <a:pt x="550" y="49"/>
                  </a:cubicBezTo>
                  <a:cubicBezTo>
                    <a:pt x="555" y="54"/>
                    <a:pt x="590" y="71"/>
                    <a:pt x="590" y="71"/>
                  </a:cubicBezTo>
                  <a:cubicBezTo>
                    <a:pt x="590" y="71"/>
                    <a:pt x="536" y="54"/>
                    <a:pt x="527" y="54"/>
                  </a:cubicBezTo>
                  <a:cubicBezTo>
                    <a:pt x="518" y="54"/>
                    <a:pt x="491" y="49"/>
                    <a:pt x="487" y="59"/>
                  </a:cubicBezTo>
                  <a:cubicBezTo>
                    <a:pt x="483" y="69"/>
                    <a:pt x="465" y="80"/>
                    <a:pt x="452" y="80"/>
                  </a:cubicBezTo>
                  <a:cubicBezTo>
                    <a:pt x="439" y="80"/>
                    <a:pt x="402" y="80"/>
                    <a:pt x="402" y="80"/>
                  </a:cubicBezTo>
                  <a:cubicBezTo>
                    <a:pt x="402" y="80"/>
                    <a:pt x="328" y="94"/>
                    <a:pt x="324" y="95"/>
                  </a:cubicBezTo>
                  <a:cubicBezTo>
                    <a:pt x="320" y="96"/>
                    <a:pt x="248" y="106"/>
                    <a:pt x="259" y="113"/>
                  </a:cubicBezTo>
                  <a:cubicBezTo>
                    <a:pt x="270" y="120"/>
                    <a:pt x="310" y="122"/>
                    <a:pt x="315" y="121"/>
                  </a:cubicBezTo>
                  <a:cubicBezTo>
                    <a:pt x="320" y="120"/>
                    <a:pt x="335" y="118"/>
                    <a:pt x="335" y="118"/>
                  </a:cubicBezTo>
                  <a:cubicBezTo>
                    <a:pt x="311" y="128"/>
                    <a:pt x="311" y="128"/>
                    <a:pt x="311" y="128"/>
                  </a:cubicBezTo>
                  <a:cubicBezTo>
                    <a:pt x="300" y="139"/>
                    <a:pt x="300" y="139"/>
                    <a:pt x="300" y="139"/>
                  </a:cubicBezTo>
                  <a:cubicBezTo>
                    <a:pt x="300" y="139"/>
                    <a:pt x="253" y="157"/>
                    <a:pt x="236" y="157"/>
                  </a:cubicBezTo>
                  <a:cubicBezTo>
                    <a:pt x="219" y="157"/>
                    <a:pt x="151" y="157"/>
                    <a:pt x="137" y="169"/>
                  </a:cubicBezTo>
                  <a:cubicBezTo>
                    <a:pt x="123" y="181"/>
                    <a:pt x="112" y="167"/>
                    <a:pt x="112" y="167"/>
                  </a:cubicBezTo>
                  <a:cubicBezTo>
                    <a:pt x="90" y="176"/>
                    <a:pt x="90" y="176"/>
                    <a:pt x="90" y="176"/>
                  </a:cubicBezTo>
                  <a:cubicBezTo>
                    <a:pt x="57" y="175"/>
                    <a:pt x="57" y="175"/>
                    <a:pt x="57" y="175"/>
                  </a:cubicBezTo>
                  <a:cubicBezTo>
                    <a:pt x="57" y="175"/>
                    <a:pt x="0" y="181"/>
                    <a:pt x="14" y="191"/>
                  </a:cubicBezTo>
                  <a:cubicBezTo>
                    <a:pt x="28" y="201"/>
                    <a:pt x="51" y="212"/>
                    <a:pt x="51" y="212"/>
                  </a:cubicBezTo>
                  <a:cubicBezTo>
                    <a:pt x="71" y="204"/>
                    <a:pt x="71" y="204"/>
                    <a:pt x="71" y="204"/>
                  </a:cubicBezTo>
                  <a:cubicBezTo>
                    <a:pt x="71" y="204"/>
                    <a:pt x="73" y="216"/>
                    <a:pt x="83" y="219"/>
                  </a:cubicBezTo>
                  <a:cubicBezTo>
                    <a:pt x="93" y="222"/>
                    <a:pt x="116" y="209"/>
                    <a:pt x="116" y="209"/>
                  </a:cubicBezTo>
                  <a:cubicBezTo>
                    <a:pt x="116" y="209"/>
                    <a:pt x="112" y="220"/>
                    <a:pt x="122" y="220"/>
                  </a:cubicBezTo>
                  <a:cubicBezTo>
                    <a:pt x="132" y="220"/>
                    <a:pt x="169" y="204"/>
                    <a:pt x="176" y="209"/>
                  </a:cubicBezTo>
                  <a:cubicBezTo>
                    <a:pt x="183" y="214"/>
                    <a:pt x="181" y="220"/>
                    <a:pt x="181" y="220"/>
                  </a:cubicBezTo>
                  <a:cubicBezTo>
                    <a:pt x="170" y="221"/>
                    <a:pt x="170" y="221"/>
                    <a:pt x="170" y="221"/>
                  </a:cubicBezTo>
                  <a:cubicBezTo>
                    <a:pt x="170" y="221"/>
                    <a:pt x="162" y="232"/>
                    <a:pt x="155" y="232"/>
                  </a:cubicBezTo>
                  <a:cubicBezTo>
                    <a:pt x="148" y="232"/>
                    <a:pt x="152" y="226"/>
                    <a:pt x="141" y="226"/>
                  </a:cubicBezTo>
                  <a:cubicBezTo>
                    <a:pt x="130" y="226"/>
                    <a:pt x="96" y="231"/>
                    <a:pt x="96" y="231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31" y="208"/>
                    <a:pt x="20" y="227"/>
                  </a:cubicBezTo>
                  <a:cubicBezTo>
                    <a:pt x="9" y="246"/>
                    <a:pt x="36" y="252"/>
                    <a:pt x="44" y="251"/>
                  </a:cubicBezTo>
                  <a:cubicBezTo>
                    <a:pt x="52" y="250"/>
                    <a:pt x="79" y="251"/>
                    <a:pt x="79" y="251"/>
                  </a:cubicBezTo>
                  <a:cubicBezTo>
                    <a:pt x="79" y="251"/>
                    <a:pt x="36" y="254"/>
                    <a:pt x="41" y="261"/>
                  </a:cubicBezTo>
                  <a:cubicBezTo>
                    <a:pt x="46" y="268"/>
                    <a:pt x="74" y="274"/>
                    <a:pt x="74" y="274"/>
                  </a:cubicBezTo>
                  <a:cubicBezTo>
                    <a:pt x="98" y="277"/>
                    <a:pt x="98" y="277"/>
                    <a:pt x="98" y="277"/>
                  </a:cubicBezTo>
                  <a:cubicBezTo>
                    <a:pt x="98" y="277"/>
                    <a:pt x="99" y="267"/>
                    <a:pt x="106" y="266"/>
                  </a:cubicBezTo>
                  <a:cubicBezTo>
                    <a:pt x="113" y="265"/>
                    <a:pt x="121" y="276"/>
                    <a:pt x="121" y="276"/>
                  </a:cubicBezTo>
                  <a:cubicBezTo>
                    <a:pt x="144" y="267"/>
                    <a:pt x="144" y="267"/>
                    <a:pt x="144" y="267"/>
                  </a:cubicBezTo>
                  <a:cubicBezTo>
                    <a:pt x="144" y="267"/>
                    <a:pt x="148" y="277"/>
                    <a:pt x="151" y="277"/>
                  </a:cubicBezTo>
                  <a:cubicBezTo>
                    <a:pt x="154" y="277"/>
                    <a:pt x="184" y="263"/>
                    <a:pt x="193" y="265"/>
                  </a:cubicBezTo>
                  <a:cubicBezTo>
                    <a:pt x="202" y="267"/>
                    <a:pt x="209" y="271"/>
                    <a:pt x="214" y="271"/>
                  </a:cubicBezTo>
                  <a:cubicBezTo>
                    <a:pt x="219" y="271"/>
                    <a:pt x="230" y="262"/>
                    <a:pt x="236" y="262"/>
                  </a:cubicBezTo>
                  <a:cubicBezTo>
                    <a:pt x="242" y="262"/>
                    <a:pt x="259" y="273"/>
                    <a:pt x="259" y="273"/>
                  </a:cubicBezTo>
                  <a:cubicBezTo>
                    <a:pt x="259" y="273"/>
                    <a:pt x="291" y="268"/>
                    <a:pt x="313" y="274"/>
                  </a:cubicBezTo>
                  <a:cubicBezTo>
                    <a:pt x="335" y="280"/>
                    <a:pt x="339" y="291"/>
                    <a:pt x="339" y="291"/>
                  </a:cubicBezTo>
                  <a:cubicBezTo>
                    <a:pt x="339" y="291"/>
                    <a:pt x="361" y="286"/>
                    <a:pt x="361" y="291"/>
                  </a:cubicBezTo>
                  <a:cubicBezTo>
                    <a:pt x="361" y="296"/>
                    <a:pt x="351" y="306"/>
                    <a:pt x="351" y="306"/>
                  </a:cubicBezTo>
                  <a:cubicBezTo>
                    <a:pt x="357" y="315"/>
                    <a:pt x="357" y="315"/>
                    <a:pt x="357" y="315"/>
                  </a:cubicBezTo>
                  <a:cubicBezTo>
                    <a:pt x="357" y="315"/>
                    <a:pt x="390" y="321"/>
                    <a:pt x="390" y="330"/>
                  </a:cubicBezTo>
                  <a:cubicBezTo>
                    <a:pt x="390" y="339"/>
                    <a:pt x="374" y="343"/>
                    <a:pt x="374" y="343"/>
                  </a:cubicBezTo>
                  <a:cubicBezTo>
                    <a:pt x="383" y="359"/>
                    <a:pt x="383" y="359"/>
                    <a:pt x="383" y="359"/>
                  </a:cubicBezTo>
                  <a:cubicBezTo>
                    <a:pt x="399" y="369"/>
                    <a:pt x="399" y="369"/>
                    <a:pt x="399" y="369"/>
                  </a:cubicBezTo>
                  <a:cubicBezTo>
                    <a:pt x="385" y="374"/>
                    <a:pt x="385" y="374"/>
                    <a:pt x="385" y="374"/>
                  </a:cubicBezTo>
                  <a:cubicBezTo>
                    <a:pt x="395" y="387"/>
                    <a:pt x="395" y="387"/>
                    <a:pt x="395" y="387"/>
                  </a:cubicBezTo>
                  <a:cubicBezTo>
                    <a:pt x="395" y="387"/>
                    <a:pt x="383" y="386"/>
                    <a:pt x="383" y="395"/>
                  </a:cubicBezTo>
                  <a:cubicBezTo>
                    <a:pt x="383" y="404"/>
                    <a:pt x="405" y="407"/>
                    <a:pt x="402" y="412"/>
                  </a:cubicBezTo>
                  <a:cubicBezTo>
                    <a:pt x="399" y="417"/>
                    <a:pt x="380" y="426"/>
                    <a:pt x="380" y="426"/>
                  </a:cubicBezTo>
                  <a:cubicBezTo>
                    <a:pt x="388" y="433"/>
                    <a:pt x="388" y="433"/>
                    <a:pt x="388" y="433"/>
                  </a:cubicBezTo>
                  <a:cubicBezTo>
                    <a:pt x="388" y="433"/>
                    <a:pt x="347" y="438"/>
                    <a:pt x="348" y="441"/>
                  </a:cubicBezTo>
                  <a:cubicBezTo>
                    <a:pt x="349" y="444"/>
                    <a:pt x="357" y="446"/>
                    <a:pt x="370" y="445"/>
                  </a:cubicBezTo>
                  <a:cubicBezTo>
                    <a:pt x="383" y="444"/>
                    <a:pt x="367" y="455"/>
                    <a:pt x="367" y="455"/>
                  </a:cubicBezTo>
                  <a:cubicBezTo>
                    <a:pt x="367" y="455"/>
                    <a:pt x="316" y="456"/>
                    <a:pt x="328" y="465"/>
                  </a:cubicBezTo>
                  <a:cubicBezTo>
                    <a:pt x="340" y="474"/>
                    <a:pt x="353" y="479"/>
                    <a:pt x="369" y="478"/>
                  </a:cubicBezTo>
                  <a:cubicBezTo>
                    <a:pt x="385" y="477"/>
                    <a:pt x="389" y="467"/>
                    <a:pt x="389" y="467"/>
                  </a:cubicBezTo>
                  <a:cubicBezTo>
                    <a:pt x="389" y="467"/>
                    <a:pt x="416" y="469"/>
                    <a:pt x="414" y="460"/>
                  </a:cubicBezTo>
                  <a:cubicBezTo>
                    <a:pt x="412" y="451"/>
                    <a:pt x="419" y="439"/>
                    <a:pt x="419" y="439"/>
                  </a:cubicBezTo>
                  <a:cubicBezTo>
                    <a:pt x="421" y="458"/>
                    <a:pt x="421" y="458"/>
                    <a:pt x="421" y="458"/>
                  </a:cubicBezTo>
                  <a:cubicBezTo>
                    <a:pt x="438" y="447"/>
                    <a:pt x="438" y="447"/>
                    <a:pt x="438" y="447"/>
                  </a:cubicBezTo>
                  <a:cubicBezTo>
                    <a:pt x="438" y="447"/>
                    <a:pt x="430" y="453"/>
                    <a:pt x="434" y="458"/>
                  </a:cubicBezTo>
                  <a:cubicBezTo>
                    <a:pt x="438" y="463"/>
                    <a:pt x="463" y="465"/>
                    <a:pt x="463" y="465"/>
                  </a:cubicBezTo>
                  <a:cubicBezTo>
                    <a:pt x="454" y="471"/>
                    <a:pt x="454" y="471"/>
                    <a:pt x="454" y="471"/>
                  </a:cubicBezTo>
                  <a:cubicBezTo>
                    <a:pt x="454" y="471"/>
                    <a:pt x="448" y="484"/>
                    <a:pt x="457" y="487"/>
                  </a:cubicBezTo>
                  <a:cubicBezTo>
                    <a:pt x="466" y="490"/>
                    <a:pt x="479" y="504"/>
                    <a:pt x="473" y="510"/>
                  </a:cubicBezTo>
                  <a:cubicBezTo>
                    <a:pt x="467" y="516"/>
                    <a:pt x="456" y="513"/>
                    <a:pt x="456" y="513"/>
                  </a:cubicBezTo>
                  <a:cubicBezTo>
                    <a:pt x="456" y="519"/>
                    <a:pt x="456" y="519"/>
                    <a:pt x="456" y="519"/>
                  </a:cubicBezTo>
                  <a:cubicBezTo>
                    <a:pt x="456" y="519"/>
                    <a:pt x="441" y="518"/>
                    <a:pt x="432" y="517"/>
                  </a:cubicBezTo>
                  <a:cubicBezTo>
                    <a:pt x="423" y="516"/>
                    <a:pt x="415" y="506"/>
                    <a:pt x="415" y="506"/>
                  </a:cubicBezTo>
                  <a:cubicBezTo>
                    <a:pt x="375" y="505"/>
                    <a:pt x="375" y="505"/>
                    <a:pt x="375" y="505"/>
                  </a:cubicBezTo>
                  <a:cubicBezTo>
                    <a:pt x="375" y="505"/>
                    <a:pt x="351" y="483"/>
                    <a:pt x="345" y="505"/>
                  </a:cubicBezTo>
                  <a:cubicBezTo>
                    <a:pt x="343" y="514"/>
                    <a:pt x="355" y="520"/>
                    <a:pt x="362" y="521"/>
                  </a:cubicBezTo>
                  <a:cubicBezTo>
                    <a:pt x="369" y="522"/>
                    <a:pt x="374" y="518"/>
                    <a:pt x="383" y="522"/>
                  </a:cubicBezTo>
                  <a:cubicBezTo>
                    <a:pt x="392" y="526"/>
                    <a:pt x="400" y="540"/>
                    <a:pt x="415" y="540"/>
                  </a:cubicBezTo>
                  <a:cubicBezTo>
                    <a:pt x="430" y="540"/>
                    <a:pt x="441" y="534"/>
                    <a:pt x="441" y="534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70" y="533"/>
                    <a:pt x="470" y="533"/>
                    <a:pt x="470" y="533"/>
                  </a:cubicBezTo>
                  <a:cubicBezTo>
                    <a:pt x="467" y="547"/>
                    <a:pt x="467" y="547"/>
                    <a:pt x="467" y="547"/>
                  </a:cubicBezTo>
                  <a:cubicBezTo>
                    <a:pt x="467" y="547"/>
                    <a:pt x="452" y="540"/>
                    <a:pt x="450" y="547"/>
                  </a:cubicBezTo>
                  <a:cubicBezTo>
                    <a:pt x="448" y="554"/>
                    <a:pt x="459" y="561"/>
                    <a:pt x="459" y="561"/>
                  </a:cubicBezTo>
                  <a:cubicBezTo>
                    <a:pt x="459" y="561"/>
                    <a:pt x="432" y="561"/>
                    <a:pt x="433" y="566"/>
                  </a:cubicBezTo>
                  <a:cubicBezTo>
                    <a:pt x="434" y="571"/>
                    <a:pt x="454" y="572"/>
                    <a:pt x="454" y="572"/>
                  </a:cubicBezTo>
                  <a:cubicBezTo>
                    <a:pt x="454" y="572"/>
                    <a:pt x="451" y="581"/>
                    <a:pt x="446" y="583"/>
                  </a:cubicBezTo>
                  <a:cubicBezTo>
                    <a:pt x="441" y="585"/>
                    <a:pt x="425" y="572"/>
                    <a:pt x="421" y="578"/>
                  </a:cubicBezTo>
                  <a:cubicBezTo>
                    <a:pt x="417" y="584"/>
                    <a:pt x="427" y="592"/>
                    <a:pt x="427" y="592"/>
                  </a:cubicBezTo>
                  <a:cubicBezTo>
                    <a:pt x="411" y="591"/>
                    <a:pt x="411" y="591"/>
                    <a:pt x="411" y="591"/>
                  </a:cubicBezTo>
                  <a:cubicBezTo>
                    <a:pt x="416" y="605"/>
                    <a:pt x="416" y="605"/>
                    <a:pt x="416" y="605"/>
                  </a:cubicBezTo>
                  <a:cubicBezTo>
                    <a:pt x="416" y="605"/>
                    <a:pt x="395" y="606"/>
                    <a:pt x="398" y="616"/>
                  </a:cubicBezTo>
                  <a:cubicBezTo>
                    <a:pt x="401" y="626"/>
                    <a:pt x="420" y="628"/>
                    <a:pt x="420" y="628"/>
                  </a:cubicBezTo>
                  <a:cubicBezTo>
                    <a:pt x="420" y="628"/>
                    <a:pt x="422" y="639"/>
                    <a:pt x="415" y="639"/>
                  </a:cubicBezTo>
                  <a:cubicBezTo>
                    <a:pt x="408" y="639"/>
                    <a:pt x="413" y="647"/>
                    <a:pt x="413" y="647"/>
                  </a:cubicBezTo>
                  <a:cubicBezTo>
                    <a:pt x="413" y="647"/>
                    <a:pt x="411" y="649"/>
                    <a:pt x="408" y="639"/>
                  </a:cubicBezTo>
                  <a:cubicBezTo>
                    <a:pt x="405" y="629"/>
                    <a:pt x="394" y="624"/>
                    <a:pt x="394" y="624"/>
                  </a:cubicBezTo>
                  <a:cubicBezTo>
                    <a:pt x="394" y="624"/>
                    <a:pt x="377" y="593"/>
                    <a:pt x="367" y="595"/>
                  </a:cubicBezTo>
                  <a:cubicBezTo>
                    <a:pt x="357" y="597"/>
                    <a:pt x="331" y="609"/>
                    <a:pt x="345" y="617"/>
                  </a:cubicBezTo>
                  <a:cubicBezTo>
                    <a:pt x="359" y="625"/>
                    <a:pt x="381" y="628"/>
                    <a:pt x="381" y="628"/>
                  </a:cubicBezTo>
                  <a:cubicBezTo>
                    <a:pt x="381" y="628"/>
                    <a:pt x="364" y="630"/>
                    <a:pt x="353" y="630"/>
                  </a:cubicBezTo>
                  <a:cubicBezTo>
                    <a:pt x="342" y="630"/>
                    <a:pt x="328" y="625"/>
                    <a:pt x="320" y="630"/>
                  </a:cubicBezTo>
                  <a:cubicBezTo>
                    <a:pt x="312" y="635"/>
                    <a:pt x="289" y="640"/>
                    <a:pt x="296" y="643"/>
                  </a:cubicBezTo>
                  <a:cubicBezTo>
                    <a:pt x="303" y="646"/>
                    <a:pt x="344" y="639"/>
                    <a:pt x="354" y="640"/>
                  </a:cubicBezTo>
                  <a:cubicBezTo>
                    <a:pt x="364" y="641"/>
                    <a:pt x="388" y="643"/>
                    <a:pt x="388" y="643"/>
                  </a:cubicBezTo>
                  <a:cubicBezTo>
                    <a:pt x="388" y="643"/>
                    <a:pt x="368" y="644"/>
                    <a:pt x="362" y="644"/>
                  </a:cubicBezTo>
                  <a:cubicBezTo>
                    <a:pt x="356" y="644"/>
                    <a:pt x="290" y="649"/>
                    <a:pt x="284" y="654"/>
                  </a:cubicBezTo>
                  <a:cubicBezTo>
                    <a:pt x="278" y="659"/>
                    <a:pt x="278" y="663"/>
                    <a:pt x="294" y="662"/>
                  </a:cubicBezTo>
                  <a:cubicBezTo>
                    <a:pt x="310" y="661"/>
                    <a:pt x="348" y="657"/>
                    <a:pt x="348" y="657"/>
                  </a:cubicBezTo>
                  <a:cubicBezTo>
                    <a:pt x="348" y="657"/>
                    <a:pt x="375" y="656"/>
                    <a:pt x="376" y="659"/>
                  </a:cubicBezTo>
                  <a:cubicBezTo>
                    <a:pt x="377" y="662"/>
                    <a:pt x="330" y="664"/>
                    <a:pt x="330" y="664"/>
                  </a:cubicBezTo>
                  <a:cubicBezTo>
                    <a:pt x="330" y="664"/>
                    <a:pt x="275" y="666"/>
                    <a:pt x="276" y="668"/>
                  </a:cubicBezTo>
                  <a:cubicBezTo>
                    <a:pt x="277" y="670"/>
                    <a:pt x="286" y="675"/>
                    <a:pt x="295" y="675"/>
                  </a:cubicBezTo>
                  <a:cubicBezTo>
                    <a:pt x="304" y="675"/>
                    <a:pt x="318" y="682"/>
                    <a:pt x="318" y="682"/>
                  </a:cubicBezTo>
                  <a:cubicBezTo>
                    <a:pt x="318" y="682"/>
                    <a:pt x="294" y="676"/>
                    <a:pt x="289" y="682"/>
                  </a:cubicBezTo>
                  <a:cubicBezTo>
                    <a:pt x="284" y="688"/>
                    <a:pt x="289" y="690"/>
                    <a:pt x="289" y="690"/>
                  </a:cubicBezTo>
                  <a:cubicBezTo>
                    <a:pt x="289" y="690"/>
                    <a:pt x="258" y="699"/>
                    <a:pt x="262" y="705"/>
                  </a:cubicBezTo>
                  <a:cubicBezTo>
                    <a:pt x="287" y="706"/>
                    <a:pt x="287" y="706"/>
                    <a:pt x="287" y="706"/>
                  </a:cubicBezTo>
                  <a:cubicBezTo>
                    <a:pt x="264" y="716"/>
                    <a:pt x="264" y="716"/>
                    <a:pt x="264" y="716"/>
                  </a:cubicBezTo>
                  <a:cubicBezTo>
                    <a:pt x="264" y="716"/>
                    <a:pt x="263" y="729"/>
                    <a:pt x="273" y="727"/>
                  </a:cubicBezTo>
                  <a:cubicBezTo>
                    <a:pt x="283" y="725"/>
                    <a:pt x="306" y="725"/>
                    <a:pt x="306" y="725"/>
                  </a:cubicBezTo>
                  <a:cubicBezTo>
                    <a:pt x="306" y="725"/>
                    <a:pt x="267" y="736"/>
                    <a:pt x="274" y="744"/>
                  </a:cubicBezTo>
                  <a:cubicBezTo>
                    <a:pt x="281" y="752"/>
                    <a:pt x="304" y="740"/>
                    <a:pt x="304" y="740"/>
                  </a:cubicBezTo>
                  <a:cubicBezTo>
                    <a:pt x="304" y="740"/>
                    <a:pt x="287" y="755"/>
                    <a:pt x="285" y="762"/>
                  </a:cubicBezTo>
                  <a:cubicBezTo>
                    <a:pt x="283" y="769"/>
                    <a:pt x="280" y="775"/>
                    <a:pt x="286" y="775"/>
                  </a:cubicBezTo>
                  <a:cubicBezTo>
                    <a:pt x="292" y="775"/>
                    <a:pt x="303" y="767"/>
                    <a:pt x="303" y="767"/>
                  </a:cubicBezTo>
                  <a:cubicBezTo>
                    <a:pt x="303" y="767"/>
                    <a:pt x="298" y="783"/>
                    <a:pt x="291" y="783"/>
                  </a:cubicBezTo>
                  <a:cubicBezTo>
                    <a:pt x="284" y="783"/>
                    <a:pt x="269" y="792"/>
                    <a:pt x="270" y="802"/>
                  </a:cubicBezTo>
                  <a:cubicBezTo>
                    <a:pt x="271" y="812"/>
                    <a:pt x="294" y="793"/>
                    <a:pt x="294" y="793"/>
                  </a:cubicBezTo>
                  <a:cubicBezTo>
                    <a:pt x="294" y="793"/>
                    <a:pt x="309" y="776"/>
                    <a:pt x="313" y="780"/>
                  </a:cubicBezTo>
                  <a:cubicBezTo>
                    <a:pt x="317" y="784"/>
                    <a:pt x="341" y="774"/>
                    <a:pt x="341" y="774"/>
                  </a:cubicBezTo>
                  <a:cubicBezTo>
                    <a:pt x="338" y="784"/>
                    <a:pt x="338" y="784"/>
                    <a:pt x="338" y="784"/>
                  </a:cubicBezTo>
                  <a:cubicBezTo>
                    <a:pt x="352" y="774"/>
                    <a:pt x="352" y="774"/>
                    <a:pt x="352" y="774"/>
                  </a:cubicBezTo>
                  <a:cubicBezTo>
                    <a:pt x="338" y="791"/>
                    <a:pt x="338" y="791"/>
                    <a:pt x="338" y="791"/>
                  </a:cubicBezTo>
                  <a:cubicBezTo>
                    <a:pt x="360" y="794"/>
                    <a:pt x="360" y="794"/>
                    <a:pt x="360" y="794"/>
                  </a:cubicBezTo>
                  <a:cubicBezTo>
                    <a:pt x="360" y="794"/>
                    <a:pt x="330" y="794"/>
                    <a:pt x="328" y="798"/>
                  </a:cubicBezTo>
                  <a:cubicBezTo>
                    <a:pt x="326" y="802"/>
                    <a:pt x="335" y="804"/>
                    <a:pt x="335" y="804"/>
                  </a:cubicBezTo>
                  <a:cubicBezTo>
                    <a:pt x="335" y="804"/>
                    <a:pt x="312" y="809"/>
                    <a:pt x="306" y="810"/>
                  </a:cubicBezTo>
                  <a:cubicBezTo>
                    <a:pt x="300" y="811"/>
                    <a:pt x="307" y="816"/>
                    <a:pt x="307" y="816"/>
                  </a:cubicBezTo>
                  <a:cubicBezTo>
                    <a:pt x="307" y="816"/>
                    <a:pt x="283" y="821"/>
                    <a:pt x="281" y="826"/>
                  </a:cubicBezTo>
                  <a:cubicBezTo>
                    <a:pt x="279" y="831"/>
                    <a:pt x="305" y="829"/>
                    <a:pt x="305" y="829"/>
                  </a:cubicBezTo>
                  <a:cubicBezTo>
                    <a:pt x="305" y="829"/>
                    <a:pt x="284" y="833"/>
                    <a:pt x="284" y="836"/>
                  </a:cubicBezTo>
                  <a:cubicBezTo>
                    <a:pt x="284" y="839"/>
                    <a:pt x="304" y="844"/>
                    <a:pt x="304" y="844"/>
                  </a:cubicBezTo>
                  <a:cubicBezTo>
                    <a:pt x="304" y="844"/>
                    <a:pt x="287" y="844"/>
                    <a:pt x="286" y="851"/>
                  </a:cubicBezTo>
                  <a:cubicBezTo>
                    <a:pt x="285" y="858"/>
                    <a:pt x="310" y="855"/>
                    <a:pt x="310" y="855"/>
                  </a:cubicBezTo>
                  <a:cubicBezTo>
                    <a:pt x="298" y="870"/>
                    <a:pt x="298" y="870"/>
                    <a:pt x="298" y="870"/>
                  </a:cubicBezTo>
                  <a:cubicBezTo>
                    <a:pt x="317" y="867"/>
                    <a:pt x="317" y="867"/>
                    <a:pt x="317" y="867"/>
                  </a:cubicBezTo>
                  <a:cubicBezTo>
                    <a:pt x="317" y="867"/>
                    <a:pt x="295" y="880"/>
                    <a:pt x="298" y="891"/>
                  </a:cubicBezTo>
                  <a:cubicBezTo>
                    <a:pt x="301" y="902"/>
                    <a:pt x="324" y="900"/>
                    <a:pt x="324" y="900"/>
                  </a:cubicBezTo>
                  <a:cubicBezTo>
                    <a:pt x="313" y="915"/>
                    <a:pt x="313" y="915"/>
                    <a:pt x="313" y="915"/>
                  </a:cubicBezTo>
                  <a:cubicBezTo>
                    <a:pt x="334" y="908"/>
                    <a:pt x="334" y="908"/>
                    <a:pt x="334" y="908"/>
                  </a:cubicBezTo>
                  <a:cubicBezTo>
                    <a:pt x="334" y="908"/>
                    <a:pt x="319" y="920"/>
                    <a:pt x="322" y="925"/>
                  </a:cubicBezTo>
                  <a:cubicBezTo>
                    <a:pt x="325" y="930"/>
                    <a:pt x="344" y="931"/>
                    <a:pt x="344" y="931"/>
                  </a:cubicBezTo>
                  <a:cubicBezTo>
                    <a:pt x="344" y="931"/>
                    <a:pt x="334" y="934"/>
                    <a:pt x="337" y="940"/>
                  </a:cubicBezTo>
                  <a:cubicBezTo>
                    <a:pt x="340" y="946"/>
                    <a:pt x="351" y="943"/>
                    <a:pt x="351" y="943"/>
                  </a:cubicBezTo>
                  <a:cubicBezTo>
                    <a:pt x="351" y="943"/>
                    <a:pt x="336" y="955"/>
                    <a:pt x="339" y="959"/>
                  </a:cubicBezTo>
                  <a:cubicBezTo>
                    <a:pt x="342" y="963"/>
                    <a:pt x="358" y="961"/>
                    <a:pt x="358" y="961"/>
                  </a:cubicBezTo>
                  <a:cubicBezTo>
                    <a:pt x="356" y="969"/>
                    <a:pt x="356" y="969"/>
                    <a:pt x="356" y="969"/>
                  </a:cubicBezTo>
                  <a:cubicBezTo>
                    <a:pt x="382" y="963"/>
                    <a:pt x="382" y="963"/>
                    <a:pt x="382" y="963"/>
                  </a:cubicBezTo>
                  <a:cubicBezTo>
                    <a:pt x="382" y="963"/>
                    <a:pt x="390" y="976"/>
                    <a:pt x="398" y="969"/>
                  </a:cubicBezTo>
                  <a:cubicBezTo>
                    <a:pt x="406" y="962"/>
                    <a:pt x="431" y="946"/>
                    <a:pt x="435" y="948"/>
                  </a:cubicBezTo>
                  <a:cubicBezTo>
                    <a:pt x="439" y="950"/>
                    <a:pt x="428" y="958"/>
                    <a:pt x="428" y="958"/>
                  </a:cubicBezTo>
                  <a:cubicBezTo>
                    <a:pt x="443" y="962"/>
                    <a:pt x="443" y="962"/>
                    <a:pt x="443" y="962"/>
                  </a:cubicBezTo>
                  <a:cubicBezTo>
                    <a:pt x="457" y="955"/>
                    <a:pt x="457" y="955"/>
                    <a:pt x="457" y="955"/>
                  </a:cubicBezTo>
                  <a:cubicBezTo>
                    <a:pt x="457" y="955"/>
                    <a:pt x="436" y="968"/>
                    <a:pt x="431" y="973"/>
                  </a:cubicBezTo>
                  <a:cubicBezTo>
                    <a:pt x="426" y="978"/>
                    <a:pt x="422" y="983"/>
                    <a:pt x="430" y="983"/>
                  </a:cubicBezTo>
                  <a:cubicBezTo>
                    <a:pt x="438" y="983"/>
                    <a:pt x="465" y="978"/>
                    <a:pt x="465" y="978"/>
                  </a:cubicBezTo>
                  <a:cubicBezTo>
                    <a:pt x="465" y="978"/>
                    <a:pt x="434" y="994"/>
                    <a:pt x="443" y="1000"/>
                  </a:cubicBezTo>
                  <a:cubicBezTo>
                    <a:pt x="452" y="1006"/>
                    <a:pt x="471" y="1000"/>
                    <a:pt x="471" y="1000"/>
                  </a:cubicBezTo>
                  <a:cubicBezTo>
                    <a:pt x="471" y="1000"/>
                    <a:pt x="481" y="1019"/>
                    <a:pt x="493" y="1012"/>
                  </a:cubicBezTo>
                  <a:cubicBezTo>
                    <a:pt x="505" y="1005"/>
                    <a:pt x="511" y="998"/>
                    <a:pt x="511" y="998"/>
                  </a:cubicBezTo>
                  <a:cubicBezTo>
                    <a:pt x="511" y="998"/>
                    <a:pt x="506" y="995"/>
                    <a:pt x="502" y="989"/>
                  </a:cubicBezTo>
                  <a:cubicBezTo>
                    <a:pt x="498" y="983"/>
                    <a:pt x="515" y="990"/>
                    <a:pt x="520" y="985"/>
                  </a:cubicBezTo>
                  <a:cubicBezTo>
                    <a:pt x="525" y="980"/>
                    <a:pt x="524" y="964"/>
                    <a:pt x="524" y="964"/>
                  </a:cubicBezTo>
                  <a:cubicBezTo>
                    <a:pt x="524" y="964"/>
                    <a:pt x="546" y="974"/>
                    <a:pt x="545" y="964"/>
                  </a:cubicBezTo>
                  <a:cubicBezTo>
                    <a:pt x="544" y="954"/>
                    <a:pt x="540" y="948"/>
                    <a:pt x="540" y="948"/>
                  </a:cubicBezTo>
                  <a:cubicBezTo>
                    <a:pt x="540" y="948"/>
                    <a:pt x="546" y="957"/>
                    <a:pt x="552" y="958"/>
                  </a:cubicBezTo>
                  <a:cubicBezTo>
                    <a:pt x="557" y="958"/>
                    <a:pt x="562" y="949"/>
                    <a:pt x="559" y="944"/>
                  </a:cubicBezTo>
                  <a:cubicBezTo>
                    <a:pt x="553" y="934"/>
                    <a:pt x="547" y="931"/>
                    <a:pt x="547" y="931"/>
                  </a:cubicBezTo>
                  <a:cubicBezTo>
                    <a:pt x="547" y="931"/>
                    <a:pt x="569" y="937"/>
                    <a:pt x="569" y="933"/>
                  </a:cubicBezTo>
                  <a:cubicBezTo>
                    <a:pt x="569" y="929"/>
                    <a:pt x="564" y="923"/>
                    <a:pt x="564" y="923"/>
                  </a:cubicBezTo>
                  <a:cubicBezTo>
                    <a:pt x="582" y="922"/>
                    <a:pt x="582" y="922"/>
                    <a:pt x="582" y="922"/>
                  </a:cubicBezTo>
                  <a:cubicBezTo>
                    <a:pt x="574" y="908"/>
                    <a:pt x="574" y="908"/>
                    <a:pt x="574" y="908"/>
                  </a:cubicBezTo>
                  <a:cubicBezTo>
                    <a:pt x="585" y="903"/>
                    <a:pt x="585" y="903"/>
                    <a:pt x="585" y="903"/>
                  </a:cubicBezTo>
                  <a:cubicBezTo>
                    <a:pt x="585" y="903"/>
                    <a:pt x="572" y="894"/>
                    <a:pt x="569" y="893"/>
                  </a:cubicBezTo>
                  <a:cubicBezTo>
                    <a:pt x="566" y="892"/>
                    <a:pt x="580" y="887"/>
                    <a:pt x="580" y="887"/>
                  </a:cubicBezTo>
                  <a:cubicBezTo>
                    <a:pt x="566" y="873"/>
                    <a:pt x="566" y="873"/>
                    <a:pt x="566" y="873"/>
                  </a:cubicBezTo>
                  <a:cubicBezTo>
                    <a:pt x="566" y="873"/>
                    <a:pt x="580" y="885"/>
                    <a:pt x="584" y="882"/>
                  </a:cubicBezTo>
                  <a:cubicBezTo>
                    <a:pt x="588" y="879"/>
                    <a:pt x="596" y="873"/>
                    <a:pt x="596" y="873"/>
                  </a:cubicBezTo>
                  <a:cubicBezTo>
                    <a:pt x="596" y="873"/>
                    <a:pt x="612" y="875"/>
                    <a:pt x="615" y="872"/>
                  </a:cubicBezTo>
                  <a:cubicBezTo>
                    <a:pt x="618" y="869"/>
                    <a:pt x="611" y="859"/>
                    <a:pt x="611" y="859"/>
                  </a:cubicBezTo>
                  <a:cubicBezTo>
                    <a:pt x="625" y="858"/>
                    <a:pt x="625" y="858"/>
                    <a:pt x="625" y="858"/>
                  </a:cubicBezTo>
                  <a:cubicBezTo>
                    <a:pt x="630" y="841"/>
                    <a:pt x="630" y="841"/>
                    <a:pt x="630" y="841"/>
                  </a:cubicBezTo>
                  <a:cubicBezTo>
                    <a:pt x="630" y="841"/>
                    <a:pt x="650" y="848"/>
                    <a:pt x="656" y="843"/>
                  </a:cubicBezTo>
                  <a:cubicBezTo>
                    <a:pt x="662" y="838"/>
                    <a:pt x="657" y="829"/>
                    <a:pt x="657" y="829"/>
                  </a:cubicBezTo>
                  <a:cubicBezTo>
                    <a:pt x="657" y="829"/>
                    <a:pt x="664" y="839"/>
                    <a:pt x="671" y="839"/>
                  </a:cubicBezTo>
                  <a:cubicBezTo>
                    <a:pt x="675" y="839"/>
                    <a:pt x="678" y="830"/>
                    <a:pt x="680" y="828"/>
                  </a:cubicBezTo>
                  <a:cubicBezTo>
                    <a:pt x="685" y="821"/>
                    <a:pt x="680" y="811"/>
                    <a:pt x="680" y="811"/>
                  </a:cubicBezTo>
                  <a:cubicBezTo>
                    <a:pt x="655" y="807"/>
                    <a:pt x="655" y="807"/>
                    <a:pt x="655" y="807"/>
                  </a:cubicBezTo>
                  <a:cubicBezTo>
                    <a:pt x="673" y="802"/>
                    <a:pt x="673" y="802"/>
                    <a:pt x="673" y="802"/>
                  </a:cubicBezTo>
                  <a:cubicBezTo>
                    <a:pt x="693" y="794"/>
                    <a:pt x="693" y="794"/>
                    <a:pt x="693" y="794"/>
                  </a:cubicBezTo>
                  <a:cubicBezTo>
                    <a:pt x="694" y="780"/>
                    <a:pt x="694" y="780"/>
                    <a:pt x="694" y="780"/>
                  </a:cubicBezTo>
                  <a:cubicBezTo>
                    <a:pt x="681" y="777"/>
                    <a:pt x="681" y="777"/>
                    <a:pt x="681" y="777"/>
                  </a:cubicBezTo>
                  <a:cubicBezTo>
                    <a:pt x="686" y="765"/>
                    <a:pt x="686" y="765"/>
                    <a:pt x="686" y="765"/>
                  </a:cubicBezTo>
                  <a:cubicBezTo>
                    <a:pt x="707" y="765"/>
                    <a:pt x="707" y="765"/>
                    <a:pt x="707" y="765"/>
                  </a:cubicBezTo>
                  <a:cubicBezTo>
                    <a:pt x="707" y="765"/>
                    <a:pt x="721" y="769"/>
                    <a:pt x="728" y="763"/>
                  </a:cubicBezTo>
                  <a:cubicBezTo>
                    <a:pt x="735" y="757"/>
                    <a:pt x="730" y="745"/>
                    <a:pt x="730" y="745"/>
                  </a:cubicBezTo>
                  <a:cubicBezTo>
                    <a:pt x="752" y="741"/>
                    <a:pt x="752" y="741"/>
                    <a:pt x="752" y="741"/>
                  </a:cubicBezTo>
                  <a:cubicBezTo>
                    <a:pt x="752" y="741"/>
                    <a:pt x="783" y="747"/>
                    <a:pt x="791" y="740"/>
                  </a:cubicBezTo>
                  <a:cubicBezTo>
                    <a:pt x="799" y="733"/>
                    <a:pt x="802" y="726"/>
                    <a:pt x="802" y="726"/>
                  </a:cubicBezTo>
                  <a:cubicBezTo>
                    <a:pt x="811" y="721"/>
                    <a:pt x="811" y="721"/>
                    <a:pt x="811" y="721"/>
                  </a:cubicBezTo>
                  <a:cubicBezTo>
                    <a:pt x="811" y="721"/>
                    <a:pt x="813" y="710"/>
                    <a:pt x="824" y="708"/>
                  </a:cubicBezTo>
                  <a:cubicBezTo>
                    <a:pt x="835" y="706"/>
                    <a:pt x="804" y="740"/>
                    <a:pt x="812" y="740"/>
                  </a:cubicBezTo>
                  <a:cubicBezTo>
                    <a:pt x="820" y="740"/>
                    <a:pt x="828" y="738"/>
                    <a:pt x="828" y="738"/>
                  </a:cubicBezTo>
                  <a:cubicBezTo>
                    <a:pt x="832" y="725"/>
                    <a:pt x="832" y="725"/>
                    <a:pt x="832" y="725"/>
                  </a:cubicBezTo>
                  <a:cubicBezTo>
                    <a:pt x="841" y="727"/>
                    <a:pt x="841" y="727"/>
                    <a:pt x="841" y="727"/>
                  </a:cubicBezTo>
                  <a:cubicBezTo>
                    <a:pt x="849" y="718"/>
                    <a:pt x="849" y="718"/>
                    <a:pt x="849" y="718"/>
                  </a:cubicBezTo>
                  <a:cubicBezTo>
                    <a:pt x="849" y="718"/>
                    <a:pt x="866" y="733"/>
                    <a:pt x="878" y="725"/>
                  </a:cubicBezTo>
                  <a:cubicBezTo>
                    <a:pt x="890" y="717"/>
                    <a:pt x="907" y="704"/>
                    <a:pt x="907" y="704"/>
                  </a:cubicBezTo>
                  <a:cubicBezTo>
                    <a:pt x="907" y="704"/>
                    <a:pt x="923" y="709"/>
                    <a:pt x="950" y="698"/>
                  </a:cubicBezTo>
                  <a:cubicBezTo>
                    <a:pt x="977" y="687"/>
                    <a:pt x="974" y="670"/>
                    <a:pt x="992" y="658"/>
                  </a:cubicBezTo>
                  <a:cubicBezTo>
                    <a:pt x="1010" y="646"/>
                    <a:pt x="1052" y="634"/>
                    <a:pt x="1052" y="634"/>
                  </a:cubicBezTo>
                  <a:cubicBezTo>
                    <a:pt x="1052" y="634"/>
                    <a:pt x="1055" y="625"/>
                    <a:pt x="1054" y="619"/>
                  </a:cubicBezTo>
                  <a:cubicBezTo>
                    <a:pt x="1053" y="613"/>
                    <a:pt x="1046" y="601"/>
                    <a:pt x="1053" y="599"/>
                  </a:cubicBezTo>
                  <a:cubicBezTo>
                    <a:pt x="1060" y="597"/>
                    <a:pt x="1071" y="625"/>
                    <a:pt x="1082" y="625"/>
                  </a:cubicBezTo>
                  <a:cubicBezTo>
                    <a:pt x="1082" y="625"/>
                    <a:pt x="1124" y="624"/>
                    <a:pt x="1135" y="622"/>
                  </a:cubicBezTo>
                  <a:cubicBezTo>
                    <a:pt x="1146" y="620"/>
                    <a:pt x="1167" y="609"/>
                    <a:pt x="1190" y="606"/>
                  </a:cubicBezTo>
                  <a:cubicBezTo>
                    <a:pt x="1213" y="603"/>
                    <a:pt x="1253" y="600"/>
                    <a:pt x="1260" y="598"/>
                  </a:cubicBezTo>
                  <a:cubicBezTo>
                    <a:pt x="1267" y="596"/>
                    <a:pt x="1273" y="589"/>
                    <a:pt x="1273" y="589"/>
                  </a:cubicBezTo>
                  <a:cubicBezTo>
                    <a:pt x="1291" y="589"/>
                    <a:pt x="1291" y="589"/>
                    <a:pt x="1291" y="589"/>
                  </a:cubicBezTo>
                  <a:cubicBezTo>
                    <a:pt x="1300" y="578"/>
                    <a:pt x="1300" y="578"/>
                    <a:pt x="1300" y="578"/>
                  </a:cubicBezTo>
                  <a:cubicBezTo>
                    <a:pt x="1317" y="578"/>
                    <a:pt x="1317" y="578"/>
                    <a:pt x="1317" y="578"/>
                  </a:cubicBezTo>
                  <a:cubicBezTo>
                    <a:pt x="1317" y="578"/>
                    <a:pt x="1335" y="561"/>
                    <a:pt x="1339" y="558"/>
                  </a:cubicBezTo>
                  <a:cubicBezTo>
                    <a:pt x="1343" y="555"/>
                    <a:pt x="1369" y="553"/>
                    <a:pt x="1369" y="553"/>
                  </a:cubicBezTo>
                  <a:cubicBezTo>
                    <a:pt x="1401" y="542"/>
                    <a:pt x="1401" y="542"/>
                    <a:pt x="1401" y="542"/>
                  </a:cubicBezTo>
                  <a:cubicBezTo>
                    <a:pt x="1422" y="537"/>
                    <a:pt x="1422" y="537"/>
                    <a:pt x="1422" y="537"/>
                  </a:cubicBezTo>
                  <a:cubicBezTo>
                    <a:pt x="1427" y="529"/>
                    <a:pt x="1427" y="529"/>
                    <a:pt x="1427" y="529"/>
                  </a:cubicBezTo>
                  <a:cubicBezTo>
                    <a:pt x="1427" y="529"/>
                    <a:pt x="1407" y="531"/>
                    <a:pt x="1395" y="531"/>
                  </a:cubicBezTo>
                  <a:cubicBezTo>
                    <a:pt x="1383" y="531"/>
                    <a:pt x="1375" y="524"/>
                    <a:pt x="1360" y="522"/>
                  </a:cubicBezTo>
                  <a:cubicBezTo>
                    <a:pt x="1345" y="520"/>
                    <a:pt x="1317" y="520"/>
                    <a:pt x="1303" y="524"/>
                  </a:cubicBezTo>
                  <a:cubicBezTo>
                    <a:pt x="1289" y="528"/>
                    <a:pt x="1269" y="528"/>
                    <a:pt x="1269" y="528"/>
                  </a:cubicBezTo>
                  <a:cubicBezTo>
                    <a:pt x="1259" y="537"/>
                    <a:pt x="1259" y="537"/>
                    <a:pt x="1259" y="537"/>
                  </a:cubicBezTo>
                  <a:cubicBezTo>
                    <a:pt x="1259" y="537"/>
                    <a:pt x="1214" y="541"/>
                    <a:pt x="1221" y="535"/>
                  </a:cubicBezTo>
                  <a:cubicBezTo>
                    <a:pt x="1228" y="529"/>
                    <a:pt x="1288" y="520"/>
                    <a:pt x="1288" y="520"/>
                  </a:cubicBezTo>
                  <a:cubicBezTo>
                    <a:pt x="1288" y="520"/>
                    <a:pt x="1348" y="508"/>
                    <a:pt x="1333" y="499"/>
                  </a:cubicBezTo>
                  <a:cubicBezTo>
                    <a:pt x="1318" y="490"/>
                    <a:pt x="1310" y="490"/>
                    <a:pt x="1310" y="490"/>
                  </a:cubicBezTo>
                  <a:cubicBezTo>
                    <a:pt x="1310" y="490"/>
                    <a:pt x="1255" y="508"/>
                    <a:pt x="1249" y="511"/>
                  </a:cubicBezTo>
                  <a:cubicBezTo>
                    <a:pt x="1243" y="514"/>
                    <a:pt x="1217" y="512"/>
                    <a:pt x="1217" y="512"/>
                  </a:cubicBezTo>
                  <a:cubicBezTo>
                    <a:pt x="1241" y="500"/>
                    <a:pt x="1241" y="500"/>
                    <a:pt x="1241" y="500"/>
                  </a:cubicBezTo>
                  <a:cubicBezTo>
                    <a:pt x="1255" y="489"/>
                    <a:pt x="1255" y="489"/>
                    <a:pt x="1255" y="489"/>
                  </a:cubicBezTo>
                  <a:cubicBezTo>
                    <a:pt x="1255" y="489"/>
                    <a:pt x="1279" y="493"/>
                    <a:pt x="1286" y="491"/>
                  </a:cubicBezTo>
                  <a:cubicBezTo>
                    <a:pt x="1293" y="489"/>
                    <a:pt x="1311" y="485"/>
                    <a:pt x="1319" y="485"/>
                  </a:cubicBezTo>
                  <a:cubicBezTo>
                    <a:pt x="1327" y="485"/>
                    <a:pt x="1349" y="483"/>
                    <a:pt x="1337" y="477"/>
                  </a:cubicBezTo>
                  <a:cubicBezTo>
                    <a:pt x="1325" y="471"/>
                    <a:pt x="1287" y="470"/>
                    <a:pt x="1287" y="470"/>
                  </a:cubicBezTo>
                  <a:cubicBezTo>
                    <a:pt x="1255" y="472"/>
                    <a:pt x="1255" y="472"/>
                    <a:pt x="1255" y="472"/>
                  </a:cubicBezTo>
                  <a:cubicBezTo>
                    <a:pt x="1271" y="465"/>
                    <a:pt x="1271" y="465"/>
                    <a:pt x="1271" y="465"/>
                  </a:cubicBezTo>
                  <a:cubicBezTo>
                    <a:pt x="1255" y="455"/>
                    <a:pt x="1255" y="455"/>
                    <a:pt x="1255" y="455"/>
                  </a:cubicBezTo>
                  <a:cubicBezTo>
                    <a:pt x="1255" y="455"/>
                    <a:pt x="1253" y="446"/>
                    <a:pt x="1257" y="446"/>
                  </a:cubicBezTo>
                  <a:cubicBezTo>
                    <a:pt x="1261" y="446"/>
                    <a:pt x="1281" y="463"/>
                    <a:pt x="1294" y="464"/>
                  </a:cubicBezTo>
                  <a:cubicBezTo>
                    <a:pt x="1307" y="465"/>
                    <a:pt x="1348" y="477"/>
                    <a:pt x="1348" y="477"/>
                  </a:cubicBezTo>
                  <a:cubicBezTo>
                    <a:pt x="1348" y="477"/>
                    <a:pt x="1366" y="469"/>
                    <a:pt x="1367" y="478"/>
                  </a:cubicBezTo>
                  <a:cubicBezTo>
                    <a:pt x="1368" y="487"/>
                    <a:pt x="1356" y="501"/>
                    <a:pt x="1377" y="507"/>
                  </a:cubicBezTo>
                  <a:cubicBezTo>
                    <a:pt x="1398" y="513"/>
                    <a:pt x="1421" y="514"/>
                    <a:pt x="1421" y="514"/>
                  </a:cubicBezTo>
                  <a:cubicBezTo>
                    <a:pt x="1421" y="514"/>
                    <a:pt x="1423" y="499"/>
                    <a:pt x="1427" y="502"/>
                  </a:cubicBezTo>
                  <a:cubicBezTo>
                    <a:pt x="1431" y="505"/>
                    <a:pt x="1427" y="520"/>
                    <a:pt x="1436" y="520"/>
                  </a:cubicBezTo>
                  <a:cubicBezTo>
                    <a:pt x="1445" y="520"/>
                    <a:pt x="1457" y="510"/>
                    <a:pt x="1457" y="510"/>
                  </a:cubicBezTo>
                  <a:cubicBezTo>
                    <a:pt x="1457" y="494"/>
                    <a:pt x="1457" y="494"/>
                    <a:pt x="1457" y="494"/>
                  </a:cubicBezTo>
                  <a:cubicBezTo>
                    <a:pt x="1451" y="492"/>
                    <a:pt x="1451" y="492"/>
                    <a:pt x="1451" y="492"/>
                  </a:cubicBezTo>
                  <a:cubicBezTo>
                    <a:pt x="1451" y="492"/>
                    <a:pt x="1465" y="481"/>
                    <a:pt x="1459" y="476"/>
                  </a:cubicBezTo>
                  <a:cubicBezTo>
                    <a:pt x="1453" y="471"/>
                    <a:pt x="1442" y="477"/>
                    <a:pt x="1442" y="477"/>
                  </a:cubicBezTo>
                  <a:cubicBezTo>
                    <a:pt x="1436" y="462"/>
                    <a:pt x="1436" y="462"/>
                    <a:pt x="1436" y="462"/>
                  </a:cubicBezTo>
                  <a:cubicBezTo>
                    <a:pt x="1425" y="459"/>
                    <a:pt x="1425" y="459"/>
                    <a:pt x="1425" y="459"/>
                  </a:cubicBezTo>
                  <a:cubicBezTo>
                    <a:pt x="1428" y="449"/>
                    <a:pt x="1428" y="449"/>
                    <a:pt x="1428" y="449"/>
                  </a:cubicBezTo>
                  <a:cubicBezTo>
                    <a:pt x="1380" y="430"/>
                    <a:pt x="1380" y="430"/>
                    <a:pt x="1380" y="430"/>
                  </a:cubicBezTo>
                  <a:cubicBezTo>
                    <a:pt x="1353" y="437"/>
                    <a:pt x="1353" y="437"/>
                    <a:pt x="1353" y="437"/>
                  </a:cubicBezTo>
                  <a:cubicBezTo>
                    <a:pt x="1347" y="434"/>
                    <a:pt x="1347" y="434"/>
                    <a:pt x="1347" y="434"/>
                  </a:cubicBezTo>
                  <a:cubicBezTo>
                    <a:pt x="1369" y="427"/>
                    <a:pt x="1369" y="427"/>
                    <a:pt x="1369" y="427"/>
                  </a:cubicBezTo>
                  <a:cubicBezTo>
                    <a:pt x="1371" y="424"/>
                    <a:pt x="1371" y="424"/>
                    <a:pt x="1371" y="424"/>
                  </a:cubicBezTo>
                  <a:cubicBezTo>
                    <a:pt x="1371" y="424"/>
                    <a:pt x="1370" y="415"/>
                    <a:pt x="1353" y="415"/>
                  </a:cubicBezTo>
                  <a:cubicBezTo>
                    <a:pt x="1336" y="415"/>
                    <a:pt x="1303" y="412"/>
                    <a:pt x="1303" y="412"/>
                  </a:cubicBezTo>
                  <a:cubicBezTo>
                    <a:pt x="1314" y="398"/>
                    <a:pt x="1314" y="398"/>
                    <a:pt x="1314" y="398"/>
                  </a:cubicBezTo>
                  <a:cubicBezTo>
                    <a:pt x="1314" y="398"/>
                    <a:pt x="1327" y="396"/>
                    <a:pt x="1337" y="400"/>
                  </a:cubicBezTo>
                  <a:cubicBezTo>
                    <a:pt x="1347" y="404"/>
                    <a:pt x="1363" y="393"/>
                    <a:pt x="1363" y="393"/>
                  </a:cubicBezTo>
                  <a:cubicBezTo>
                    <a:pt x="1381" y="390"/>
                    <a:pt x="1381" y="390"/>
                    <a:pt x="1381" y="390"/>
                  </a:cubicBezTo>
                  <a:cubicBezTo>
                    <a:pt x="1413" y="400"/>
                    <a:pt x="1413" y="400"/>
                    <a:pt x="1413" y="400"/>
                  </a:cubicBezTo>
                  <a:cubicBezTo>
                    <a:pt x="1427" y="397"/>
                    <a:pt x="1427" y="397"/>
                    <a:pt x="1427" y="397"/>
                  </a:cubicBezTo>
                  <a:cubicBezTo>
                    <a:pt x="1427" y="397"/>
                    <a:pt x="1453" y="418"/>
                    <a:pt x="1464" y="418"/>
                  </a:cubicBezTo>
                  <a:cubicBezTo>
                    <a:pt x="1475" y="418"/>
                    <a:pt x="1471" y="404"/>
                    <a:pt x="1471" y="404"/>
                  </a:cubicBezTo>
                  <a:cubicBezTo>
                    <a:pt x="1445" y="400"/>
                    <a:pt x="1445" y="400"/>
                    <a:pt x="1445" y="400"/>
                  </a:cubicBezTo>
                  <a:cubicBezTo>
                    <a:pt x="1425" y="390"/>
                    <a:pt x="1425" y="390"/>
                    <a:pt x="1425" y="390"/>
                  </a:cubicBezTo>
                  <a:cubicBezTo>
                    <a:pt x="1394" y="387"/>
                    <a:pt x="1394" y="387"/>
                    <a:pt x="1394" y="387"/>
                  </a:cubicBezTo>
                  <a:cubicBezTo>
                    <a:pt x="1394" y="387"/>
                    <a:pt x="1401" y="378"/>
                    <a:pt x="1408" y="375"/>
                  </a:cubicBezTo>
                  <a:cubicBezTo>
                    <a:pt x="1415" y="372"/>
                    <a:pt x="1432" y="390"/>
                    <a:pt x="1448" y="390"/>
                  </a:cubicBezTo>
                  <a:cubicBezTo>
                    <a:pt x="1464" y="390"/>
                    <a:pt x="1492" y="391"/>
                    <a:pt x="1492" y="391"/>
                  </a:cubicBezTo>
                  <a:cubicBezTo>
                    <a:pt x="1534" y="386"/>
                    <a:pt x="1534" y="386"/>
                    <a:pt x="1534" y="386"/>
                  </a:cubicBezTo>
                  <a:cubicBezTo>
                    <a:pt x="1535" y="368"/>
                    <a:pt x="1535" y="368"/>
                    <a:pt x="1535" y="368"/>
                  </a:cubicBezTo>
                  <a:cubicBezTo>
                    <a:pt x="1506" y="361"/>
                    <a:pt x="1506" y="361"/>
                    <a:pt x="1506" y="361"/>
                  </a:cubicBezTo>
                  <a:cubicBezTo>
                    <a:pt x="1491" y="371"/>
                    <a:pt x="1491" y="371"/>
                    <a:pt x="1491" y="371"/>
                  </a:cubicBezTo>
                  <a:cubicBezTo>
                    <a:pt x="1491" y="371"/>
                    <a:pt x="1477" y="359"/>
                    <a:pt x="1481" y="355"/>
                  </a:cubicBezTo>
                  <a:cubicBezTo>
                    <a:pt x="1485" y="351"/>
                    <a:pt x="1517" y="354"/>
                    <a:pt x="1517" y="354"/>
                  </a:cubicBezTo>
                  <a:cubicBezTo>
                    <a:pt x="1546" y="346"/>
                    <a:pt x="1546" y="346"/>
                    <a:pt x="1546" y="346"/>
                  </a:cubicBezTo>
                  <a:cubicBezTo>
                    <a:pt x="1546" y="346"/>
                    <a:pt x="1563" y="356"/>
                    <a:pt x="1576" y="352"/>
                  </a:cubicBezTo>
                  <a:cubicBezTo>
                    <a:pt x="1589" y="348"/>
                    <a:pt x="1602" y="339"/>
                    <a:pt x="1597" y="337"/>
                  </a:cubicBezTo>
                  <a:cubicBezTo>
                    <a:pt x="1592" y="335"/>
                    <a:pt x="1550" y="334"/>
                    <a:pt x="1546" y="334"/>
                  </a:cubicBezTo>
                  <a:cubicBezTo>
                    <a:pt x="1542" y="334"/>
                    <a:pt x="1550" y="326"/>
                    <a:pt x="1538" y="323"/>
                  </a:cubicBezTo>
                  <a:cubicBezTo>
                    <a:pt x="1526" y="320"/>
                    <a:pt x="1498" y="321"/>
                    <a:pt x="1498" y="321"/>
                  </a:cubicBezTo>
                  <a:cubicBezTo>
                    <a:pt x="1498" y="321"/>
                    <a:pt x="1532" y="320"/>
                    <a:pt x="1535" y="314"/>
                  </a:cubicBezTo>
                  <a:cubicBezTo>
                    <a:pt x="1538" y="308"/>
                    <a:pt x="1499" y="301"/>
                    <a:pt x="1499" y="301"/>
                  </a:cubicBezTo>
                  <a:cubicBezTo>
                    <a:pt x="1499" y="301"/>
                    <a:pt x="1521" y="296"/>
                    <a:pt x="1528" y="299"/>
                  </a:cubicBezTo>
                  <a:cubicBezTo>
                    <a:pt x="1535" y="302"/>
                    <a:pt x="1559" y="310"/>
                    <a:pt x="1565" y="308"/>
                  </a:cubicBezTo>
                  <a:cubicBezTo>
                    <a:pt x="1571" y="306"/>
                    <a:pt x="1573" y="320"/>
                    <a:pt x="1583" y="316"/>
                  </a:cubicBezTo>
                  <a:cubicBezTo>
                    <a:pt x="1593" y="312"/>
                    <a:pt x="1601" y="294"/>
                    <a:pt x="1594" y="289"/>
                  </a:cubicBezTo>
                  <a:cubicBezTo>
                    <a:pt x="1587" y="284"/>
                    <a:pt x="1570" y="272"/>
                    <a:pt x="1570" y="272"/>
                  </a:cubicBezTo>
                  <a:cubicBezTo>
                    <a:pt x="1531" y="264"/>
                    <a:pt x="1531" y="264"/>
                    <a:pt x="1531" y="264"/>
                  </a:cubicBezTo>
                  <a:cubicBezTo>
                    <a:pt x="1531" y="264"/>
                    <a:pt x="1513" y="256"/>
                    <a:pt x="1520" y="250"/>
                  </a:cubicBezTo>
                  <a:cubicBezTo>
                    <a:pt x="1527" y="244"/>
                    <a:pt x="1549" y="249"/>
                    <a:pt x="1549" y="249"/>
                  </a:cubicBezTo>
                  <a:cubicBezTo>
                    <a:pt x="1580" y="242"/>
                    <a:pt x="1580" y="242"/>
                    <a:pt x="1580" y="242"/>
                  </a:cubicBezTo>
                  <a:cubicBezTo>
                    <a:pt x="1580" y="242"/>
                    <a:pt x="1591" y="244"/>
                    <a:pt x="1623" y="246"/>
                  </a:cubicBezTo>
                  <a:cubicBezTo>
                    <a:pt x="1655" y="248"/>
                    <a:pt x="1670" y="225"/>
                    <a:pt x="1647" y="223"/>
                  </a:cubicBezTo>
                  <a:cubicBezTo>
                    <a:pt x="1624" y="221"/>
                    <a:pt x="1590" y="221"/>
                    <a:pt x="1590" y="221"/>
                  </a:cubicBezTo>
                  <a:cubicBezTo>
                    <a:pt x="1589" y="211"/>
                    <a:pt x="1589" y="211"/>
                    <a:pt x="1589" y="211"/>
                  </a:cubicBezTo>
                  <a:cubicBezTo>
                    <a:pt x="1609" y="210"/>
                    <a:pt x="1609" y="210"/>
                    <a:pt x="1609" y="210"/>
                  </a:cubicBezTo>
                  <a:cubicBezTo>
                    <a:pt x="1609" y="210"/>
                    <a:pt x="1603" y="195"/>
                    <a:pt x="1587" y="197"/>
                  </a:cubicBezTo>
                  <a:cubicBezTo>
                    <a:pt x="1571" y="199"/>
                    <a:pt x="1583" y="215"/>
                    <a:pt x="1574" y="216"/>
                  </a:cubicBezTo>
                  <a:cubicBezTo>
                    <a:pt x="1565" y="217"/>
                    <a:pt x="1540" y="204"/>
                    <a:pt x="1549" y="201"/>
                  </a:cubicBezTo>
                  <a:cubicBezTo>
                    <a:pt x="1558" y="198"/>
                    <a:pt x="1582" y="193"/>
                    <a:pt x="1585" y="185"/>
                  </a:cubicBezTo>
                  <a:cubicBezTo>
                    <a:pt x="1588" y="177"/>
                    <a:pt x="1598" y="165"/>
                    <a:pt x="1601" y="164"/>
                  </a:cubicBezTo>
                  <a:cubicBezTo>
                    <a:pt x="1604" y="163"/>
                    <a:pt x="1618" y="170"/>
                    <a:pt x="1627" y="165"/>
                  </a:cubicBezTo>
                  <a:cubicBezTo>
                    <a:pt x="1636" y="160"/>
                    <a:pt x="1649" y="151"/>
                    <a:pt x="1649" y="151"/>
                  </a:cubicBezTo>
                  <a:cubicBezTo>
                    <a:pt x="1639" y="141"/>
                    <a:pt x="1639" y="141"/>
                    <a:pt x="1639" y="141"/>
                  </a:cubicBezTo>
                  <a:cubicBezTo>
                    <a:pt x="1639" y="141"/>
                    <a:pt x="1665" y="128"/>
                    <a:pt x="1671" y="128"/>
                  </a:cubicBezTo>
                  <a:cubicBezTo>
                    <a:pt x="1677" y="128"/>
                    <a:pt x="1687" y="138"/>
                    <a:pt x="1695" y="132"/>
                  </a:cubicBezTo>
                  <a:cubicBezTo>
                    <a:pt x="1703" y="126"/>
                    <a:pt x="1723" y="122"/>
                    <a:pt x="1711" y="119"/>
                  </a:cubicBezTo>
                  <a:cubicBezTo>
                    <a:pt x="1699" y="116"/>
                    <a:pt x="1670" y="119"/>
                    <a:pt x="1670" y="119"/>
                  </a:cubicBezTo>
                  <a:cubicBezTo>
                    <a:pt x="1670" y="119"/>
                    <a:pt x="1615" y="134"/>
                    <a:pt x="1626" y="123"/>
                  </a:cubicBezTo>
                  <a:cubicBezTo>
                    <a:pt x="1637" y="112"/>
                    <a:pt x="1659" y="111"/>
                    <a:pt x="1659" y="111"/>
                  </a:cubicBezTo>
                  <a:cubicBezTo>
                    <a:pt x="1659" y="111"/>
                    <a:pt x="1700" y="113"/>
                    <a:pt x="1721" y="112"/>
                  </a:cubicBezTo>
                  <a:cubicBezTo>
                    <a:pt x="1742" y="111"/>
                    <a:pt x="1758" y="104"/>
                    <a:pt x="1758" y="104"/>
                  </a:cubicBezTo>
                  <a:cubicBezTo>
                    <a:pt x="1758" y="104"/>
                    <a:pt x="1723" y="95"/>
                    <a:pt x="1717" y="98"/>
                  </a:cubicBezTo>
                  <a:cubicBezTo>
                    <a:pt x="1711" y="101"/>
                    <a:pt x="1672" y="102"/>
                    <a:pt x="1672" y="102"/>
                  </a:cubicBezTo>
                  <a:cubicBezTo>
                    <a:pt x="1672" y="102"/>
                    <a:pt x="1625" y="105"/>
                    <a:pt x="1642" y="100"/>
                  </a:cubicBezTo>
                  <a:cubicBezTo>
                    <a:pt x="1659" y="95"/>
                    <a:pt x="1710" y="94"/>
                    <a:pt x="1710" y="94"/>
                  </a:cubicBezTo>
                  <a:cubicBezTo>
                    <a:pt x="1710" y="94"/>
                    <a:pt x="1776" y="95"/>
                    <a:pt x="1787" y="92"/>
                  </a:cubicBezTo>
                  <a:cubicBezTo>
                    <a:pt x="1798" y="89"/>
                    <a:pt x="1807" y="79"/>
                    <a:pt x="1807" y="79"/>
                  </a:cubicBezTo>
                  <a:cubicBezTo>
                    <a:pt x="1807" y="79"/>
                    <a:pt x="1834" y="80"/>
                    <a:pt x="1851" y="78"/>
                  </a:cubicBezTo>
                  <a:cubicBezTo>
                    <a:pt x="1868" y="76"/>
                    <a:pt x="1891" y="67"/>
                    <a:pt x="1891" y="67"/>
                  </a:cubicBezTo>
                  <a:cubicBezTo>
                    <a:pt x="1891" y="67"/>
                    <a:pt x="1865" y="57"/>
                    <a:pt x="1845" y="57"/>
                  </a:cubicBezTo>
                  <a:close/>
                  <a:moveTo>
                    <a:pt x="345" y="566"/>
                  </a:moveTo>
                  <a:cubicBezTo>
                    <a:pt x="353" y="568"/>
                    <a:pt x="353" y="568"/>
                    <a:pt x="353" y="568"/>
                  </a:cubicBezTo>
                  <a:cubicBezTo>
                    <a:pt x="353" y="568"/>
                    <a:pt x="371" y="564"/>
                    <a:pt x="377" y="564"/>
                  </a:cubicBezTo>
                  <a:cubicBezTo>
                    <a:pt x="383" y="564"/>
                    <a:pt x="397" y="554"/>
                    <a:pt x="395" y="546"/>
                  </a:cubicBezTo>
                  <a:cubicBezTo>
                    <a:pt x="393" y="538"/>
                    <a:pt x="371" y="534"/>
                    <a:pt x="371" y="534"/>
                  </a:cubicBezTo>
                  <a:cubicBezTo>
                    <a:pt x="371" y="534"/>
                    <a:pt x="361" y="526"/>
                    <a:pt x="351" y="526"/>
                  </a:cubicBezTo>
                  <a:cubicBezTo>
                    <a:pt x="341" y="526"/>
                    <a:pt x="337" y="532"/>
                    <a:pt x="321" y="526"/>
                  </a:cubicBezTo>
                  <a:cubicBezTo>
                    <a:pt x="317" y="542"/>
                    <a:pt x="317" y="542"/>
                    <a:pt x="317" y="542"/>
                  </a:cubicBezTo>
                  <a:cubicBezTo>
                    <a:pt x="317" y="542"/>
                    <a:pt x="309" y="546"/>
                    <a:pt x="309" y="552"/>
                  </a:cubicBezTo>
                  <a:cubicBezTo>
                    <a:pt x="309" y="558"/>
                    <a:pt x="321" y="564"/>
                    <a:pt x="321" y="564"/>
                  </a:cubicBezTo>
                  <a:cubicBezTo>
                    <a:pt x="317" y="572"/>
                    <a:pt x="317" y="572"/>
                    <a:pt x="317" y="572"/>
                  </a:cubicBezTo>
                  <a:lnTo>
                    <a:pt x="345" y="566"/>
                  </a:lnTo>
                  <a:close/>
                  <a:moveTo>
                    <a:pt x="2531" y="1160"/>
                  </a:moveTo>
                  <a:cubicBezTo>
                    <a:pt x="2535" y="1157"/>
                    <a:pt x="2548" y="1143"/>
                    <a:pt x="2545" y="1138"/>
                  </a:cubicBezTo>
                  <a:cubicBezTo>
                    <a:pt x="2542" y="1133"/>
                    <a:pt x="2538" y="1126"/>
                    <a:pt x="2538" y="1126"/>
                  </a:cubicBezTo>
                  <a:cubicBezTo>
                    <a:pt x="2538" y="1126"/>
                    <a:pt x="2520" y="1124"/>
                    <a:pt x="2519" y="1127"/>
                  </a:cubicBezTo>
                  <a:cubicBezTo>
                    <a:pt x="2518" y="1130"/>
                    <a:pt x="2498" y="1155"/>
                    <a:pt x="2498" y="1160"/>
                  </a:cubicBezTo>
                  <a:cubicBezTo>
                    <a:pt x="2498" y="1165"/>
                    <a:pt x="2501" y="1177"/>
                    <a:pt x="2501" y="1177"/>
                  </a:cubicBezTo>
                  <a:cubicBezTo>
                    <a:pt x="2488" y="1166"/>
                    <a:pt x="2488" y="1166"/>
                    <a:pt x="2488" y="1166"/>
                  </a:cubicBezTo>
                  <a:cubicBezTo>
                    <a:pt x="2482" y="1145"/>
                    <a:pt x="2482" y="1145"/>
                    <a:pt x="2482" y="1145"/>
                  </a:cubicBezTo>
                  <a:cubicBezTo>
                    <a:pt x="2482" y="1145"/>
                    <a:pt x="2457" y="1161"/>
                    <a:pt x="2458" y="1164"/>
                  </a:cubicBezTo>
                  <a:cubicBezTo>
                    <a:pt x="2459" y="1167"/>
                    <a:pt x="2472" y="1165"/>
                    <a:pt x="2473" y="1168"/>
                  </a:cubicBezTo>
                  <a:cubicBezTo>
                    <a:pt x="2474" y="1171"/>
                    <a:pt x="2483" y="1185"/>
                    <a:pt x="2483" y="1185"/>
                  </a:cubicBezTo>
                  <a:cubicBezTo>
                    <a:pt x="2460" y="1181"/>
                    <a:pt x="2460" y="1181"/>
                    <a:pt x="2460" y="1181"/>
                  </a:cubicBezTo>
                  <a:cubicBezTo>
                    <a:pt x="2460" y="1181"/>
                    <a:pt x="2448" y="1196"/>
                    <a:pt x="2449" y="1204"/>
                  </a:cubicBezTo>
                  <a:cubicBezTo>
                    <a:pt x="2450" y="1212"/>
                    <a:pt x="2466" y="1214"/>
                    <a:pt x="2466" y="1214"/>
                  </a:cubicBezTo>
                  <a:cubicBezTo>
                    <a:pt x="2466" y="1214"/>
                    <a:pt x="2452" y="1230"/>
                    <a:pt x="2455" y="1232"/>
                  </a:cubicBezTo>
                  <a:cubicBezTo>
                    <a:pt x="2458" y="1234"/>
                    <a:pt x="2472" y="1234"/>
                    <a:pt x="2472" y="1234"/>
                  </a:cubicBezTo>
                  <a:cubicBezTo>
                    <a:pt x="2471" y="1249"/>
                    <a:pt x="2471" y="1249"/>
                    <a:pt x="2471" y="1249"/>
                  </a:cubicBezTo>
                  <a:cubicBezTo>
                    <a:pt x="2463" y="1259"/>
                    <a:pt x="2463" y="1259"/>
                    <a:pt x="2463" y="1259"/>
                  </a:cubicBezTo>
                  <a:cubicBezTo>
                    <a:pt x="2473" y="1264"/>
                    <a:pt x="2473" y="1264"/>
                    <a:pt x="2473" y="1264"/>
                  </a:cubicBezTo>
                  <a:cubicBezTo>
                    <a:pt x="2473" y="1264"/>
                    <a:pt x="2480" y="1264"/>
                    <a:pt x="2484" y="1264"/>
                  </a:cubicBezTo>
                  <a:cubicBezTo>
                    <a:pt x="2488" y="1264"/>
                    <a:pt x="2496" y="1269"/>
                    <a:pt x="2496" y="1269"/>
                  </a:cubicBezTo>
                  <a:cubicBezTo>
                    <a:pt x="2496" y="1269"/>
                    <a:pt x="2498" y="1267"/>
                    <a:pt x="2506" y="1267"/>
                  </a:cubicBezTo>
                  <a:cubicBezTo>
                    <a:pt x="2513" y="1266"/>
                    <a:pt x="2514" y="1270"/>
                    <a:pt x="2514" y="1270"/>
                  </a:cubicBezTo>
                  <a:cubicBezTo>
                    <a:pt x="2514" y="1270"/>
                    <a:pt x="2515" y="1269"/>
                    <a:pt x="2517" y="1268"/>
                  </a:cubicBezTo>
                  <a:cubicBezTo>
                    <a:pt x="2517" y="1268"/>
                    <a:pt x="2517" y="1268"/>
                    <a:pt x="2517" y="1268"/>
                  </a:cubicBezTo>
                  <a:cubicBezTo>
                    <a:pt x="2513" y="1258"/>
                    <a:pt x="2510" y="1252"/>
                    <a:pt x="2510" y="1252"/>
                  </a:cubicBezTo>
                  <a:cubicBezTo>
                    <a:pt x="2521" y="1239"/>
                    <a:pt x="2521" y="1239"/>
                    <a:pt x="2521" y="1239"/>
                  </a:cubicBezTo>
                  <a:cubicBezTo>
                    <a:pt x="2521" y="1239"/>
                    <a:pt x="2503" y="1224"/>
                    <a:pt x="2513" y="1222"/>
                  </a:cubicBezTo>
                  <a:cubicBezTo>
                    <a:pt x="2523" y="1220"/>
                    <a:pt x="2531" y="1213"/>
                    <a:pt x="2531" y="1213"/>
                  </a:cubicBezTo>
                  <a:cubicBezTo>
                    <a:pt x="2535" y="1194"/>
                    <a:pt x="2535" y="1194"/>
                    <a:pt x="2535" y="1194"/>
                  </a:cubicBezTo>
                  <a:cubicBezTo>
                    <a:pt x="2549" y="1194"/>
                    <a:pt x="2549" y="1194"/>
                    <a:pt x="2549" y="1194"/>
                  </a:cubicBezTo>
                  <a:cubicBezTo>
                    <a:pt x="2554" y="1179"/>
                    <a:pt x="2554" y="1179"/>
                    <a:pt x="2554" y="1179"/>
                  </a:cubicBezTo>
                  <a:cubicBezTo>
                    <a:pt x="2531" y="1179"/>
                    <a:pt x="2531" y="1179"/>
                    <a:pt x="2531" y="1179"/>
                  </a:cubicBezTo>
                  <a:cubicBezTo>
                    <a:pt x="2531" y="1179"/>
                    <a:pt x="2527" y="1163"/>
                    <a:pt x="2531" y="1160"/>
                  </a:cubicBezTo>
                  <a:close/>
                  <a:moveTo>
                    <a:pt x="2525" y="1228"/>
                  </a:moveTo>
                  <a:cubicBezTo>
                    <a:pt x="2527" y="1252"/>
                    <a:pt x="2527" y="1252"/>
                    <a:pt x="2527" y="1252"/>
                  </a:cubicBezTo>
                  <a:cubicBezTo>
                    <a:pt x="2533" y="1252"/>
                    <a:pt x="2543" y="1262"/>
                    <a:pt x="2543" y="1262"/>
                  </a:cubicBezTo>
                  <a:cubicBezTo>
                    <a:pt x="2549" y="1244"/>
                    <a:pt x="2549" y="1244"/>
                    <a:pt x="2549" y="1244"/>
                  </a:cubicBezTo>
                  <a:cubicBezTo>
                    <a:pt x="2537" y="1230"/>
                    <a:pt x="2537" y="1230"/>
                    <a:pt x="2537" y="1230"/>
                  </a:cubicBezTo>
                  <a:lnTo>
                    <a:pt x="2525" y="1228"/>
                  </a:lnTo>
                  <a:close/>
                  <a:moveTo>
                    <a:pt x="2577" y="1240"/>
                  </a:moveTo>
                  <a:cubicBezTo>
                    <a:pt x="2576" y="1251"/>
                    <a:pt x="2567" y="1253"/>
                    <a:pt x="2579" y="1254"/>
                  </a:cubicBezTo>
                  <a:cubicBezTo>
                    <a:pt x="2591" y="1255"/>
                    <a:pt x="2596" y="1253"/>
                    <a:pt x="2596" y="1253"/>
                  </a:cubicBezTo>
                  <a:cubicBezTo>
                    <a:pt x="2596" y="1253"/>
                    <a:pt x="2604" y="1272"/>
                    <a:pt x="2605" y="1265"/>
                  </a:cubicBezTo>
                  <a:cubicBezTo>
                    <a:pt x="2607" y="1259"/>
                    <a:pt x="2617" y="1245"/>
                    <a:pt x="2619" y="1244"/>
                  </a:cubicBezTo>
                  <a:cubicBezTo>
                    <a:pt x="2621" y="1244"/>
                    <a:pt x="2630" y="1244"/>
                    <a:pt x="2622" y="1239"/>
                  </a:cubicBezTo>
                  <a:cubicBezTo>
                    <a:pt x="2614" y="1234"/>
                    <a:pt x="2607" y="1227"/>
                    <a:pt x="2610" y="1227"/>
                  </a:cubicBezTo>
                  <a:cubicBezTo>
                    <a:pt x="2613" y="1226"/>
                    <a:pt x="2620" y="1227"/>
                    <a:pt x="2615" y="1224"/>
                  </a:cubicBezTo>
                  <a:cubicBezTo>
                    <a:pt x="2610" y="1220"/>
                    <a:pt x="2624" y="1211"/>
                    <a:pt x="2624" y="1211"/>
                  </a:cubicBezTo>
                  <a:cubicBezTo>
                    <a:pt x="2624" y="1211"/>
                    <a:pt x="2616" y="1199"/>
                    <a:pt x="2615" y="1200"/>
                  </a:cubicBezTo>
                  <a:cubicBezTo>
                    <a:pt x="2614" y="1200"/>
                    <a:pt x="2601" y="1205"/>
                    <a:pt x="2601" y="1210"/>
                  </a:cubicBezTo>
                  <a:cubicBezTo>
                    <a:pt x="2601" y="1215"/>
                    <a:pt x="2601" y="1219"/>
                    <a:pt x="2601" y="1219"/>
                  </a:cubicBezTo>
                  <a:cubicBezTo>
                    <a:pt x="2601" y="1219"/>
                    <a:pt x="2592" y="1207"/>
                    <a:pt x="2590" y="1208"/>
                  </a:cubicBezTo>
                  <a:cubicBezTo>
                    <a:pt x="2588" y="1209"/>
                    <a:pt x="2585" y="1213"/>
                    <a:pt x="2585" y="1213"/>
                  </a:cubicBezTo>
                  <a:cubicBezTo>
                    <a:pt x="2569" y="1224"/>
                    <a:pt x="2569" y="1224"/>
                    <a:pt x="2569" y="1224"/>
                  </a:cubicBezTo>
                  <a:cubicBezTo>
                    <a:pt x="2569" y="1224"/>
                    <a:pt x="2578" y="1229"/>
                    <a:pt x="2577" y="1240"/>
                  </a:cubicBezTo>
                  <a:close/>
                  <a:moveTo>
                    <a:pt x="2629" y="1260"/>
                  </a:moveTo>
                  <a:cubicBezTo>
                    <a:pt x="2612" y="1266"/>
                    <a:pt x="2612" y="1266"/>
                    <a:pt x="2612" y="1266"/>
                  </a:cubicBezTo>
                  <a:cubicBezTo>
                    <a:pt x="2612" y="1266"/>
                    <a:pt x="2602" y="1270"/>
                    <a:pt x="2598" y="1269"/>
                  </a:cubicBezTo>
                  <a:cubicBezTo>
                    <a:pt x="2594" y="1269"/>
                    <a:pt x="2578" y="1262"/>
                    <a:pt x="2573" y="1262"/>
                  </a:cubicBezTo>
                  <a:cubicBezTo>
                    <a:pt x="2563" y="1262"/>
                    <a:pt x="2565" y="1273"/>
                    <a:pt x="2573" y="1272"/>
                  </a:cubicBezTo>
                  <a:cubicBezTo>
                    <a:pt x="2581" y="1270"/>
                    <a:pt x="2592" y="1282"/>
                    <a:pt x="2592" y="1282"/>
                  </a:cubicBezTo>
                  <a:cubicBezTo>
                    <a:pt x="2592" y="1282"/>
                    <a:pt x="2609" y="1279"/>
                    <a:pt x="2626" y="1275"/>
                  </a:cubicBezTo>
                  <a:cubicBezTo>
                    <a:pt x="2644" y="1272"/>
                    <a:pt x="2629" y="1260"/>
                    <a:pt x="2629" y="1260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34" name="Freeform 150"/>
            <p:cNvSpPr>
              <a:spLocks noEditPoints="1"/>
            </p:cNvSpPr>
            <p:nvPr/>
          </p:nvSpPr>
          <p:spPr bwMode="auto">
            <a:xfrm>
              <a:off x="3024" y="1552"/>
              <a:ext cx="90" cy="41"/>
            </a:xfrm>
            <a:custGeom>
              <a:avLst/>
              <a:gdLst>
                <a:gd name="T0" fmla="*/ 0 w 237"/>
                <a:gd name="T1" fmla="*/ 0 h 107"/>
                <a:gd name="T2" fmla="*/ 0 w 237"/>
                <a:gd name="T3" fmla="*/ 0 h 107"/>
                <a:gd name="T4" fmla="*/ 0 w 237"/>
                <a:gd name="T5" fmla="*/ 0 h 107"/>
                <a:gd name="T6" fmla="*/ 0 w 237"/>
                <a:gd name="T7" fmla="*/ 0 h 107"/>
                <a:gd name="T8" fmla="*/ 0 w 237"/>
                <a:gd name="T9" fmla="*/ 0 h 107"/>
                <a:gd name="T10" fmla="*/ 0 w 237"/>
                <a:gd name="T11" fmla="*/ 0 h 107"/>
                <a:gd name="T12" fmla="*/ 0 w 237"/>
                <a:gd name="T13" fmla="*/ 0 h 107"/>
                <a:gd name="T14" fmla="*/ 0 w 237"/>
                <a:gd name="T15" fmla="*/ 0 h 107"/>
                <a:gd name="T16" fmla="*/ 0 w 237"/>
                <a:gd name="T17" fmla="*/ 0 h 107"/>
                <a:gd name="T18" fmla="*/ 0 w 237"/>
                <a:gd name="T19" fmla="*/ 0 h 107"/>
                <a:gd name="T20" fmla="*/ 0 w 237"/>
                <a:gd name="T21" fmla="*/ 0 h 107"/>
                <a:gd name="T22" fmla="*/ 0 w 237"/>
                <a:gd name="T23" fmla="*/ 0 h 107"/>
                <a:gd name="T24" fmla="*/ 0 w 237"/>
                <a:gd name="T25" fmla="*/ 0 h 107"/>
                <a:gd name="T26" fmla="*/ 0 w 237"/>
                <a:gd name="T27" fmla="*/ 0 h 107"/>
                <a:gd name="T28" fmla="*/ 0 w 237"/>
                <a:gd name="T29" fmla="*/ 0 h 107"/>
                <a:gd name="T30" fmla="*/ 0 w 237"/>
                <a:gd name="T31" fmla="*/ 0 h 107"/>
                <a:gd name="T32" fmla="*/ 0 w 237"/>
                <a:gd name="T33" fmla="*/ 0 h 107"/>
                <a:gd name="T34" fmla="*/ 0 w 237"/>
                <a:gd name="T35" fmla="*/ 0 h 107"/>
                <a:gd name="T36" fmla="*/ 0 w 237"/>
                <a:gd name="T37" fmla="*/ 0 h 107"/>
                <a:gd name="T38" fmla="*/ 0 w 237"/>
                <a:gd name="T39" fmla="*/ 0 h 107"/>
                <a:gd name="T40" fmla="*/ 0 w 237"/>
                <a:gd name="T41" fmla="*/ 0 h 107"/>
                <a:gd name="T42" fmla="*/ 0 w 237"/>
                <a:gd name="T43" fmla="*/ 0 h 107"/>
                <a:gd name="T44" fmla="*/ 0 w 237"/>
                <a:gd name="T45" fmla="*/ 0 h 107"/>
                <a:gd name="T46" fmla="*/ 0 w 237"/>
                <a:gd name="T47" fmla="*/ 0 h 107"/>
                <a:gd name="T48" fmla="*/ 0 w 237"/>
                <a:gd name="T49" fmla="*/ 0 h 107"/>
                <a:gd name="T50" fmla="*/ 0 w 237"/>
                <a:gd name="T51" fmla="*/ 0 h 107"/>
                <a:gd name="T52" fmla="*/ 0 w 237"/>
                <a:gd name="T53" fmla="*/ 0 h 107"/>
                <a:gd name="T54" fmla="*/ 0 w 237"/>
                <a:gd name="T55" fmla="*/ 0 h 107"/>
                <a:gd name="T56" fmla="*/ 0 w 237"/>
                <a:gd name="T57" fmla="*/ 0 h 107"/>
                <a:gd name="T58" fmla="*/ 0 w 237"/>
                <a:gd name="T59" fmla="*/ 0 h 107"/>
                <a:gd name="T60" fmla="*/ 0 w 237"/>
                <a:gd name="T61" fmla="*/ 0 h 107"/>
                <a:gd name="T62" fmla="*/ 0 w 237"/>
                <a:gd name="T63" fmla="*/ 0 h 107"/>
                <a:gd name="T64" fmla="*/ 0 w 237"/>
                <a:gd name="T65" fmla="*/ 0 h 107"/>
                <a:gd name="T66" fmla="*/ 0 w 237"/>
                <a:gd name="T67" fmla="*/ 0 h 107"/>
                <a:gd name="T68" fmla="*/ 0 w 237"/>
                <a:gd name="T69" fmla="*/ 0 h 107"/>
                <a:gd name="T70" fmla="*/ 0 w 237"/>
                <a:gd name="T71" fmla="*/ 0 h 10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37"/>
                <a:gd name="T109" fmla="*/ 0 h 107"/>
                <a:gd name="T110" fmla="*/ 237 w 237"/>
                <a:gd name="T111" fmla="*/ 107 h 10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37" h="107">
                  <a:moveTo>
                    <a:pt x="228" y="76"/>
                  </a:moveTo>
                  <a:cubicBezTo>
                    <a:pt x="221" y="74"/>
                    <a:pt x="221" y="74"/>
                    <a:pt x="221" y="74"/>
                  </a:cubicBezTo>
                  <a:cubicBezTo>
                    <a:pt x="226" y="56"/>
                    <a:pt x="226" y="56"/>
                    <a:pt x="226" y="56"/>
                  </a:cubicBezTo>
                  <a:cubicBezTo>
                    <a:pt x="217" y="52"/>
                    <a:pt x="217" y="52"/>
                    <a:pt x="217" y="52"/>
                  </a:cubicBezTo>
                  <a:cubicBezTo>
                    <a:pt x="217" y="52"/>
                    <a:pt x="216" y="38"/>
                    <a:pt x="220" y="36"/>
                  </a:cubicBezTo>
                  <a:cubicBezTo>
                    <a:pt x="224" y="34"/>
                    <a:pt x="231" y="30"/>
                    <a:pt x="231" y="30"/>
                  </a:cubicBezTo>
                  <a:cubicBezTo>
                    <a:pt x="228" y="21"/>
                    <a:pt x="228" y="21"/>
                    <a:pt x="228" y="21"/>
                  </a:cubicBezTo>
                  <a:cubicBezTo>
                    <a:pt x="231" y="11"/>
                    <a:pt x="231" y="11"/>
                    <a:pt x="231" y="11"/>
                  </a:cubicBezTo>
                  <a:cubicBezTo>
                    <a:pt x="215" y="8"/>
                    <a:pt x="180" y="2"/>
                    <a:pt x="170" y="1"/>
                  </a:cubicBezTo>
                  <a:cubicBezTo>
                    <a:pt x="157" y="0"/>
                    <a:pt x="110" y="6"/>
                    <a:pt x="110" y="6"/>
                  </a:cubicBezTo>
                  <a:cubicBezTo>
                    <a:pt x="110" y="6"/>
                    <a:pt x="60" y="24"/>
                    <a:pt x="60" y="31"/>
                  </a:cubicBezTo>
                  <a:cubicBezTo>
                    <a:pt x="60" y="38"/>
                    <a:pt x="66" y="56"/>
                    <a:pt x="66" y="56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102" y="85"/>
                    <a:pt x="102" y="85"/>
                    <a:pt x="102" y="85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3" y="79"/>
                    <a:pt x="129" y="75"/>
                    <a:pt x="144" y="78"/>
                  </a:cubicBezTo>
                  <a:cubicBezTo>
                    <a:pt x="159" y="81"/>
                    <a:pt x="161" y="86"/>
                    <a:pt x="172" y="95"/>
                  </a:cubicBezTo>
                  <a:cubicBezTo>
                    <a:pt x="183" y="104"/>
                    <a:pt x="186" y="107"/>
                    <a:pt x="192" y="107"/>
                  </a:cubicBezTo>
                  <a:cubicBezTo>
                    <a:pt x="198" y="107"/>
                    <a:pt x="200" y="100"/>
                    <a:pt x="203" y="101"/>
                  </a:cubicBezTo>
                  <a:cubicBezTo>
                    <a:pt x="206" y="102"/>
                    <a:pt x="216" y="106"/>
                    <a:pt x="216" y="106"/>
                  </a:cubicBezTo>
                  <a:cubicBezTo>
                    <a:pt x="224" y="105"/>
                    <a:pt x="224" y="105"/>
                    <a:pt x="224" y="105"/>
                  </a:cubicBezTo>
                  <a:cubicBezTo>
                    <a:pt x="224" y="97"/>
                    <a:pt x="224" y="97"/>
                    <a:pt x="224" y="97"/>
                  </a:cubicBezTo>
                  <a:cubicBezTo>
                    <a:pt x="237" y="88"/>
                    <a:pt x="237" y="88"/>
                    <a:pt x="237" y="88"/>
                  </a:cubicBezTo>
                  <a:lnTo>
                    <a:pt x="228" y="76"/>
                  </a:lnTo>
                  <a:close/>
                  <a:moveTo>
                    <a:pt x="27" y="53"/>
                  </a:moveTo>
                  <a:cubicBezTo>
                    <a:pt x="27" y="53"/>
                    <a:pt x="14" y="52"/>
                    <a:pt x="7" y="55"/>
                  </a:cubicBezTo>
                  <a:cubicBezTo>
                    <a:pt x="0" y="57"/>
                    <a:pt x="9" y="74"/>
                    <a:pt x="9" y="74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30" y="74"/>
                    <a:pt x="34" y="74"/>
                  </a:cubicBezTo>
                  <a:cubicBezTo>
                    <a:pt x="38" y="74"/>
                    <a:pt x="55" y="60"/>
                    <a:pt x="55" y="60"/>
                  </a:cubicBezTo>
                  <a:cubicBezTo>
                    <a:pt x="51" y="49"/>
                    <a:pt x="51" y="49"/>
                    <a:pt x="51" y="49"/>
                  </a:cubicBezTo>
                  <a:lnTo>
                    <a:pt x="27" y="53"/>
                  </a:lnTo>
                  <a:close/>
                  <a:moveTo>
                    <a:pt x="29" y="45"/>
                  </a:moveTo>
                  <a:cubicBezTo>
                    <a:pt x="44" y="45"/>
                    <a:pt x="48" y="23"/>
                    <a:pt x="35" y="25"/>
                  </a:cubicBezTo>
                  <a:cubicBezTo>
                    <a:pt x="22" y="28"/>
                    <a:pt x="15" y="45"/>
                    <a:pt x="29" y="45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35" name="Freeform 151"/>
            <p:cNvSpPr>
              <a:spLocks/>
            </p:cNvSpPr>
            <p:nvPr/>
          </p:nvSpPr>
          <p:spPr bwMode="auto">
            <a:xfrm>
              <a:off x="4650" y="2602"/>
              <a:ext cx="175" cy="135"/>
            </a:xfrm>
            <a:custGeom>
              <a:avLst/>
              <a:gdLst>
                <a:gd name="T0" fmla="*/ 0 w 461"/>
                <a:gd name="T1" fmla="*/ 0 h 355"/>
                <a:gd name="T2" fmla="*/ 0 w 461"/>
                <a:gd name="T3" fmla="*/ 0 h 355"/>
                <a:gd name="T4" fmla="*/ 0 w 461"/>
                <a:gd name="T5" fmla="*/ 0 h 355"/>
                <a:gd name="T6" fmla="*/ 0 w 461"/>
                <a:gd name="T7" fmla="*/ 0 h 355"/>
                <a:gd name="T8" fmla="*/ 0 w 461"/>
                <a:gd name="T9" fmla="*/ 0 h 355"/>
                <a:gd name="T10" fmla="*/ 0 w 461"/>
                <a:gd name="T11" fmla="*/ 0 h 355"/>
                <a:gd name="T12" fmla="*/ 0 w 461"/>
                <a:gd name="T13" fmla="*/ 0 h 355"/>
                <a:gd name="T14" fmla="*/ 0 w 461"/>
                <a:gd name="T15" fmla="*/ 0 h 355"/>
                <a:gd name="T16" fmla="*/ 0 w 461"/>
                <a:gd name="T17" fmla="*/ 0 h 355"/>
                <a:gd name="T18" fmla="*/ 0 w 461"/>
                <a:gd name="T19" fmla="*/ 0 h 355"/>
                <a:gd name="T20" fmla="*/ 0 w 461"/>
                <a:gd name="T21" fmla="*/ 0 h 355"/>
                <a:gd name="T22" fmla="*/ 0 w 461"/>
                <a:gd name="T23" fmla="*/ 0 h 355"/>
                <a:gd name="T24" fmla="*/ 0 w 461"/>
                <a:gd name="T25" fmla="*/ 0 h 355"/>
                <a:gd name="T26" fmla="*/ 0 w 461"/>
                <a:gd name="T27" fmla="*/ 0 h 355"/>
                <a:gd name="T28" fmla="*/ 0 w 461"/>
                <a:gd name="T29" fmla="*/ 0 h 355"/>
                <a:gd name="T30" fmla="*/ 0 w 461"/>
                <a:gd name="T31" fmla="*/ 0 h 355"/>
                <a:gd name="T32" fmla="*/ 0 w 461"/>
                <a:gd name="T33" fmla="*/ 0 h 355"/>
                <a:gd name="T34" fmla="*/ 0 w 461"/>
                <a:gd name="T35" fmla="*/ 0 h 355"/>
                <a:gd name="T36" fmla="*/ 0 w 461"/>
                <a:gd name="T37" fmla="*/ 0 h 355"/>
                <a:gd name="T38" fmla="*/ 0 w 461"/>
                <a:gd name="T39" fmla="*/ 0 h 355"/>
                <a:gd name="T40" fmla="*/ 0 w 461"/>
                <a:gd name="T41" fmla="*/ 0 h 355"/>
                <a:gd name="T42" fmla="*/ 0 w 461"/>
                <a:gd name="T43" fmla="*/ 0 h 355"/>
                <a:gd name="T44" fmla="*/ 0 w 461"/>
                <a:gd name="T45" fmla="*/ 0 h 355"/>
                <a:gd name="T46" fmla="*/ 0 w 461"/>
                <a:gd name="T47" fmla="*/ 0 h 355"/>
                <a:gd name="T48" fmla="*/ 0 w 461"/>
                <a:gd name="T49" fmla="*/ 0 h 355"/>
                <a:gd name="T50" fmla="*/ 0 w 461"/>
                <a:gd name="T51" fmla="*/ 0 h 355"/>
                <a:gd name="T52" fmla="*/ 0 w 461"/>
                <a:gd name="T53" fmla="*/ 0 h 355"/>
                <a:gd name="T54" fmla="*/ 0 w 461"/>
                <a:gd name="T55" fmla="*/ 0 h 355"/>
                <a:gd name="T56" fmla="*/ 0 w 461"/>
                <a:gd name="T57" fmla="*/ 0 h 355"/>
                <a:gd name="T58" fmla="*/ 0 w 461"/>
                <a:gd name="T59" fmla="*/ 0 h 355"/>
                <a:gd name="T60" fmla="*/ 0 w 461"/>
                <a:gd name="T61" fmla="*/ 0 h 355"/>
                <a:gd name="T62" fmla="*/ 0 w 461"/>
                <a:gd name="T63" fmla="*/ 0 h 355"/>
                <a:gd name="T64" fmla="*/ 0 w 461"/>
                <a:gd name="T65" fmla="*/ 0 h 355"/>
                <a:gd name="T66" fmla="*/ 0 w 461"/>
                <a:gd name="T67" fmla="*/ 0 h 355"/>
                <a:gd name="T68" fmla="*/ 0 w 461"/>
                <a:gd name="T69" fmla="*/ 0 h 355"/>
                <a:gd name="T70" fmla="*/ 0 w 461"/>
                <a:gd name="T71" fmla="*/ 0 h 355"/>
                <a:gd name="T72" fmla="*/ 0 w 461"/>
                <a:gd name="T73" fmla="*/ 0 h 355"/>
                <a:gd name="T74" fmla="*/ 0 w 461"/>
                <a:gd name="T75" fmla="*/ 0 h 355"/>
                <a:gd name="T76" fmla="*/ 0 w 461"/>
                <a:gd name="T77" fmla="*/ 0 h 355"/>
                <a:gd name="T78" fmla="*/ 0 w 461"/>
                <a:gd name="T79" fmla="*/ 0 h 355"/>
                <a:gd name="T80" fmla="*/ 0 w 461"/>
                <a:gd name="T81" fmla="*/ 0 h 355"/>
                <a:gd name="T82" fmla="*/ 0 w 461"/>
                <a:gd name="T83" fmla="*/ 0 h 355"/>
                <a:gd name="T84" fmla="*/ 0 w 461"/>
                <a:gd name="T85" fmla="*/ 0 h 355"/>
                <a:gd name="T86" fmla="*/ 0 w 461"/>
                <a:gd name="T87" fmla="*/ 0 h 355"/>
                <a:gd name="T88" fmla="*/ 0 w 461"/>
                <a:gd name="T89" fmla="*/ 0 h 355"/>
                <a:gd name="T90" fmla="*/ 0 w 461"/>
                <a:gd name="T91" fmla="*/ 0 h 355"/>
                <a:gd name="T92" fmla="*/ 0 w 461"/>
                <a:gd name="T93" fmla="*/ 0 h 355"/>
                <a:gd name="T94" fmla="*/ 0 w 461"/>
                <a:gd name="T95" fmla="*/ 0 h 355"/>
                <a:gd name="T96" fmla="*/ 0 w 461"/>
                <a:gd name="T97" fmla="*/ 0 h 355"/>
                <a:gd name="T98" fmla="*/ 0 w 461"/>
                <a:gd name="T99" fmla="*/ 0 h 355"/>
                <a:gd name="T100" fmla="*/ 0 w 461"/>
                <a:gd name="T101" fmla="*/ 0 h 35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61"/>
                <a:gd name="T154" fmla="*/ 0 h 355"/>
                <a:gd name="T155" fmla="*/ 461 w 461"/>
                <a:gd name="T156" fmla="*/ 355 h 35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61" h="355">
                  <a:moveTo>
                    <a:pt x="9" y="338"/>
                  </a:moveTo>
                  <a:cubicBezTo>
                    <a:pt x="17" y="347"/>
                    <a:pt x="39" y="355"/>
                    <a:pt x="43" y="352"/>
                  </a:cubicBezTo>
                  <a:cubicBezTo>
                    <a:pt x="47" y="350"/>
                    <a:pt x="46" y="342"/>
                    <a:pt x="61" y="342"/>
                  </a:cubicBezTo>
                  <a:cubicBezTo>
                    <a:pt x="75" y="342"/>
                    <a:pt x="88" y="351"/>
                    <a:pt x="98" y="345"/>
                  </a:cubicBezTo>
                  <a:cubicBezTo>
                    <a:pt x="108" y="339"/>
                    <a:pt x="121" y="318"/>
                    <a:pt x="121" y="318"/>
                  </a:cubicBezTo>
                  <a:cubicBezTo>
                    <a:pt x="121" y="318"/>
                    <a:pt x="146" y="315"/>
                    <a:pt x="150" y="318"/>
                  </a:cubicBezTo>
                  <a:cubicBezTo>
                    <a:pt x="154" y="320"/>
                    <a:pt x="179" y="336"/>
                    <a:pt x="182" y="335"/>
                  </a:cubicBezTo>
                  <a:cubicBezTo>
                    <a:pt x="185" y="335"/>
                    <a:pt x="203" y="322"/>
                    <a:pt x="203" y="322"/>
                  </a:cubicBezTo>
                  <a:cubicBezTo>
                    <a:pt x="219" y="322"/>
                    <a:pt x="219" y="322"/>
                    <a:pt x="219" y="322"/>
                  </a:cubicBezTo>
                  <a:cubicBezTo>
                    <a:pt x="236" y="299"/>
                    <a:pt x="236" y="299"/>
                    <a:pt x="236" y="299"/>
                  </a:cubicBezTo>
                  <a:cubicBezTo>
                    <a:pt x="235" y="287"/>
                    <a:pt x="235" y="287"/>
                    <a:pt x="235" y="287"/>
                  </a:cubicBezTo>
                  <a:cubicBezTo>
                    <a:pt x="257" y="268"/>
                    <a:pt x="257" y="268"/>
                    <a:pt x="257" y="268"/>
                  </a:cubicBezTo>
                  <a:cubicBezTo>
                    <a:pt x="257" y="268"/>
                    <a:pt x="245" y="252"/>
                    <a:pt x="252" y="243"/>
                  </a:cubicBezTo>
                  <a:cubicBezTo>
                    <a:pt x="258" y="234"/>
                    <a:pt x="265" y="235"/>
                    <a:pt x="265" y="235"/>
                  </a:cubicBezTo>
                  <a:cubicBezTo>
                    <a:pt x="265" y="235"/>
                    <a:pt x="274" y="220"/>
                    <a:pt x="275" y="204"/>
                  </a:cubicBezTo>
                  <a:cubicBezTo>
                    <a:pt x="277" y="188"/>
                    <a:pt x="270" y="166"/>
                    <a:pt x="284" y="165"/>
                  </a:cubicBezTo>
                  <a:cubicBezTo>
                    <a:pt x="299" y="164"/>
                    <a:pt x="340" y="165"/>
                    <a:pt x="344" y="166"/>
                  </a:cubicBezTo>
                  <a:cubicBezTo>
                    <a:pt x="348" y="166"/>
                    <a:pt x="367" y="183"/>
                    <a:pt x="375" y="190"/>
                  </a:cubicBezTo>
                  <a:cubicBezTo>
                    <a:pt x="374" y="189"/>
                    <a:pt x="374" y="189"/>
                    <a:pt x="374" y="189"/>
                  </a:cubicBezTo>
                  <a:cubicBezTo>
                    <a:pt x="387" y="186"/>
                    <a:pt x="387" y="186"/>
                    <a:pt x="387" y="186"/>
                  </a:cubicBezTo>
                  <a:cubicBezTo>
                    <a:pt x="378" y="144"/>
                    <a:pt x="378" y="144"/>
                    <a:pt x="378" y="144"/>
                  </a:cubicBezTo>
                  <a:cubicBezTo>
                    <a:pt x="378" y="144"/>
                    <a:pt x="393" y="160"/>
                    <a:pt x="402" y="162"/>
                  </a:cubicBezTo>
                  <a:cubicBezTo>
                    <a:pt x="412" y="163"/>
                    <a:pt x="427" y="160"/>
                    <a:pt x="427" y="160"/>
                  </a:cubicBezTo>
                  <a:cubicBezTo>
                    <a:pt x="427" y="160"/>
                    <a:pt x="402" y="136"/>
                    <a:pt x="408" y="126"/>
                  </a:cubicBezTo>
                  <a:cubicBezTo>
                    <a:pt x="413" y="115"/>
                    <a:pt x="444" y="131"/>
                    <a:pt x="444" y="131"/>
                  </a:cubicBezTo>
                  <a:cubicBezTo>
                    <a:pt x="461" y="111"/>
                    <a:pt x="461" y="111"/>
                    <a:pt x="461" y="111"/>
                  </a:cubicBezTo>
                  <a:cubicBezTo>
                    <a:pt x="444" y="105"/>
                    <a:pt x="444" y="105"/>
                    <a:pt x="444" y="105"/>
                  </a:cubicBezTo>
                  <a:cubicBezTo>
                    <a:pt x="444" y="105"/>
                    <a:pt x="441" y="93"/>
                    <a:pt x="433" y="88"/>
                  </a:cubicBezTo>
                  <a:cubicBezTo>
                    <a:pt x="425" y="82"/>
                    <a:pt x="393" y="77"/>
                    <a:pt x="393" y="77"/>
                  </a:cubicBezTo>
                  <a:cubicBezTo>
                    <a:pt x="393" y="77"/>
                    <a:pt x="392" y="58"/>
                    <a:pt x="380" y="46"/>
                  </a:cubicBezTo>
                  <a:cubicBezTo>
                    <a:pt x="367" y="33"/>
                    <a:pt x="354" y="42"/>
                    <a:pt x="354" y="42"/>
                  </a:cubicBezTo>
                  <a:cubicBezTo>
                    <a:pt x="343" y="1"/>
                    <a:pt x="343" y="1"/>
                    <a:pt x="343" y="1"/>
                  </a:cubicBezTo>
                  <a:cubicBezTo>
                    <a:pt x="339" y="14"/>
                    <a:pt x="339" y="14"/>
                    <a:pt x="339" y="14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23" y="41"/>
                    <a:pt x="323" y="41"/>
                    <a:pt x="323" y="41"/>
                  </a:cubicBezTo>
                  <a:cubicBezTo>
                    <a:pt x="323" y="41"/>
                    <a:pt x="308" y="45"/>
                    <a:pt x="301" y="50"/>
                  </a:cubicBezTo>
                  <a:cubicBezTo>
                    <a:pt x="294" y="55"/>
                    <a:pt x="293" y="77"/>
                    <a:pt x="293" y="77"/>
                  </a:cubicBezTo>
                  <a:cubicBezTo>
                    <a:pt x="276" y="83"/>
                    <a:pt x="276" y="83"/>
                    <a:pt x="276" y="83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83" y="107"/>
                    <a:pt x="259" y="104"/>
                    <a:pt x="243" y="101"/>
                  </a:cubicBezTo>
                  <a:cubicBezTo>
                    <a:pt x="228" y="97"/>
                    <a:pt x="227" y="136"/>
                    <a:pt x="227" y="136"/>
                  </a:cubicBezTo>
                  <a:cubicBezTo>
                    <a:pt x="200" y="166"/>
                    <a:pt x="200" y="166"/>
                    <a:pt x="200" y="166"/>
                  </a:cubicBezTo>
                  <a:cubicBezTo>
                    <a:pt x="200" y="166"/>
                    <a:pt x="192" y="201"/>
                    <a:pt x="176" y="213"/>
                  </a:cubicBezTo>
                  <a:cubicBezTo>
                    <a:pt x="160" y="224"/>
                    <a:pt x="119" y="232"/>
                    <a:pt x="110" y="235"/>
                  </a:cubicBezTo>
                  <a:cubicBezTo>
                    <a:pt x="101" y="237"/>
                    <a:pt x="69" y="262"/>
                    <a:pt x="69" y="262"/>
                  </a:cubicBezTo>
                  <a:cubicBezTo>
                    <a:pt x="60" y="285"/>
                    <a:pt x="60" y="285"/>
                    <a:pt x="60" y="285"/>
                  </a:cubicBezTo>
                  <a:cubicBezTo>
                    <a:pt x="60" y="285"/>
                    <a:pt x="84" y="303"/>
                    <a:pt x="65" y="317"/>
                  </a:cubicBezTo>
                  <a:cubicBezTo>
                    <a:pt x="47" y="331"/>
                    <a:pt x="34" y="308"/>
                    <a:pt x="23" y="305"/>
                  </a:cubicBezTo>
                  <a:cubicBezTo>
                    <a:pt x="13" y="303"/>
                    <a:pt x="0" y="322"/>
                    <a:pt x="0" y="322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3" y="328"/>
                    <a:pt x="5" y="334"/>
                    <a:pt x="9" y="338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36" name="Freeform 152"/>
            <p:cNvSpPr>
              <a:spLocks noEditPoints="1"/>
            </p:cNvSpPr>
            <p:nvPr/>
          </p:nvSpPr>
          <p:spPr bwMode="auto">
            <a:xfrm>
              <a:off x="4897" y="2922"/>
              <a:ext cx="64" cy="29"/>
            </a:xfrm>
            <a:custGeom>
              <a:avLst/>
              <a:gdLst>
                <a:gd name="T0" fmla="*/ 0 w 168"/>
                <a:gd name="T1" fmla="*/ 0 h 77"/>
                <a:gd name="T2" fmla="*/ 0 w 168"/>
                <a:gd name="T3" fmla="*/ 0 h 77"/>
                <a:gd name="T4" fmla="*/ 0 w 168"/>
                <a:gd name="T5" fmla="*/ 0 h 77"/>
                <a:gd name="T6" fmla="*/ 0 w 168"/>
                <a:gd name="T7" fmla="*/ 0 h 77"/>
                <a:gd name="T8" fmla="*/ 0 w 168"/>
                <a:gd name="T9" fmla="*/ 0 h 77"/>
                <a:gd name="T10" fmla="*/ 0 w 168"/>
                <a:gd name="T11" fmla="*/ 0 h 77"/>
                <a:gd name="T12" fmla="*/ 0 w 168"/>
                <a:gd name="T13" fmla="*/ 0 h 77"/>
                <a:gd name="T14" fmla="*/ 0 w 168"/>
                <a:gd name="T15" fmla="*/ 0 h 77"/>
                <a:gd name="T16" fmla="*/ 0 w 168"/>
                <a:gd name="T17" fmla="*/ 0 h 77"/>
                <a:gd name="T18" fmla="*/ 0 w 168"/>
                <a:gd name="T19" fmla="*/ 0 h 77"/>
                <a:gd name="T20" fmla="*/ 0 w 168"/>
                <a:gd name="T21" fmla="*/ 0 h 77"/>
                <a:gd name="T22" fmla="*/ 0 w 168"/>
                <a:gd name="T23" fmla="*/ 0 h 77"/>
                <a:gd name="T24" fmla="*/ 0 w 168"/>
                <a:gd name="T25" fmla="*/ 0 h 77"/>
                <a:gd name="T26" fmla="*/ 0 w 168"/>
                <a:gd name="T27" fmla="*/ 0 h 77"/>
                <a:gd name="T28" fmla="*/ 0 w 168"/>
                <a:gd name="T29" fmla="*/ 0 h 77"/>
                <a:gd name="T30" fmla="*/ 0 w 168"/>
                <a:gd name="T31" fmla="*/ 0 h 77"/>
                <a:gd name="T32" fmla="*/ 0 w 168"/>
                <a:gd name="T33" fmla="*/ 0 h 77"/>
                <a:gd name="T34" fmla="*/ 0 w 168"/>
                <a:gd name="T35" fmla="*/ 0 h 77"/>
                <a:gd name="T36" fmla="*/ 0 w 168"/>
                <a:gd name="T37" fmla="*/ 0 h 77"/>
                <a:gd name="T38" fmla="*/ 0 w 168"/>
                <a:gd name="T39" fmla="*/ 0 h 77"/>
                <a:gd name="T40" fmla="*/ 0 w 168"/>
                <a:gd name="T41" fmla="*/ 0 h 77"/>
                <a:gd name="T42" fmla="*/ 0 w 168"/>
                <a:gd name="T43" fmla="*/ 0 h 77"/>
                <a:gd name="T44" fmla="*/ 0 w 168"/>
                <a:gd name="T45" fmla="*/ 0 h 77"/>
                <a:gd name="T46" fmla="*/ 0 w 168"/>
                <a:gd name="T47" fmla="*/ 0 h 7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68"/>
                <a:gd name="T73" fmla="*/ 0 h 77"/>
                <a:gd name="T74" fmla="*/ 168 w 168"/>
                <a:gd name="T75" fmla="*/ 77 h 7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68" h="77">
                  <a:moveTo>
                    <a:pt x="53" y="33"/>
                  </a:move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lose/>
                  <a:moveTo>
                    <a:pt x="152" y="0"/>
                  </a:moveTo>
                  <a:cubicBezTo>
                    <a:pt x="139" y="14"/>
                    <a:pt x="139" y="14"/>
                    <a:pt x="139" y="14"/>
                  </a:cubicBezTo>
                  <a:cubicBezTo>
                    <a:pt x="139" y="14"/>
                    <a:pt x="96" y="15"/>
                    <a:pt x="84" y="15"/>
                  </a:cubicBezTo>
                  <a:cubicBezTo>
                    <a:pt x="73" y="15"/>
                    <a:pt x="67" y="33"/>
                    <a:pt x="67" y="33"/>
                  </a:cubicBezTo>
                  <a:cubicBezTo>
                    <a:pt x="67" y="33"/>
                    <a:pt x="61" y="32"/>
                    <a:pt x="53" y="33"/>
                  </a:cubicBezTo>
                  <a:cubicBezTo>
                    <a:pt x="60" y="47"/>
                    <a:pt x="60" y="47"/>
                    <a:pt x="60" y="47"/>
                  </a:cubicBezTo>
                  <a:cubicBezTo>
                    <a:pt x="60" y="47"/>
                    <a:pt x="56" y="54"/>
                    <a:pt x="50" y="66"/>
                  </a:cubicBezTo>
                  <a:cubicBezTo>
                    <a:pt x="46" y="72"/>
                    <a:pt x="49" y="76"/>
                    <a:pt x="52" y="77"/>
                  </a:cubicBezTo>
                  <a:cubicBezTo>
                    <a:pt x="55" y="74"/>
                    <a:pt x="57" y="72"/>
                    <a:pt x="57" y="72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98" y="62"/>
                    <a:pt x="111" y="59"/>
                  </a:cubicBezTo>
                  <a:cubicBezTo>
                    <a:pt x="124" y="56"/>
                    <a:pt x="168" y="9"/>
                    <a:pt x="168" y="9"/>
                  </a:cubicBezTo>
                  <a:lnTo>
                    <a:pt x="152" y="0"/>
                  </a:lnTo>
                  <a:close/>
                  <a:moveTo>
                    <a:pt x="0" y="58"/>
                  </a:moveTo>
                  <a:cubicBezTo>
                    <a:pt x="4" y="67"/>
                    <a:pt x="4" y="67"/>
                    <a:pt x="4" y="67"/>
                  </a:cubicBezTo>
                  <a:cubicBezTo>
                    <a:pt x="15" y="58"/>
                    <a:pt x="24" y="61"/>
                    <a:pt x="24" y="61"/>
                  </a:cubicBezTo>
                  <a:cubicBezTo>
                    <a:pt x="24" y="61"/>
                    <a:pt x="24" y="54"/>
                    <a:pt x="28" y="48"/>
                  </a:cubicBezTo>
                  <a:cubicBezTo>
                    <a:pt x="11" y="47"/>
                    <a:pt x="11" y="47"/>
                    <a:pt x="11" y="47"/>
                  </a:cubicBezTo>
                  <a:lnTo>
                    <a:pt x="0" y="58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37" name="Freeform 153"/>
            <p:cNvSpPr>
              <a:spLocks noEditPoints="1"/>
            </p:cNvSpPr>
            <p:nvPr/>
          </p:nvSpPr>
          <p:spPr bwMode="auto">
            <a:xfrm>
              <a:off x="5197" y="2788"/>
              <a:ext cx="277" cy="186"/>
            </a:xfrm>
            <a:custGeom>
              <a:avLst/>
              <a:gdLst>
                <a:gd name="T0" fmla="*/ 0 w 730"/>
                <a:gd name="T1" fmla="*/ 0 h 491"/>
                <a:gd name="T2" fmla="*/ 0 w 730"/>
                <a:gd name="T3" fmla="*/ 0 h 491"/>
                <a:gd name="T4" fmla="*/ 0 w 730"/>
                <a:gd name="T5" fmla="*/ 0 h 491"/>
                <a:gd name="T6" fmla="*/ 0 w 730"/>
                <a:gd name="T7" fmla="*/ 0 h 491"/>
                <a:gd name="T8" fmla="*/ 0 w 730"/>
                <a:gd name="T9" fmla="*/ 0 h 491"/>
                <a:gd name="T10" fmla="*/ 0 w 730"/>
                <a:gd name="T11" fmla="*/ 0 h 491"/>
                <a:gd name="T12" fmla="*/ 0 w 730"/>
                <a:gd name="T13" fmla="*/ 0 h 491"/>
                <a:gd name="T14" fmla="*/ 0 w 730"/>
                <a:gd name="T15" fmla="*/ 0 h 491"/>
                <a:gd name="T16" fmla="*/ 0 w 730"/>
                <a:gd name="T17" fmla="*/ 0 h 491"/>
                <a:gd name="T18" fmla="*/ 0 w 730"/>
                <a:gd name="T19" fmla="*/ 0 h 491"/>
                <a:gd name="T20" fmla="*/ 0 w 730"/>
                <a:gd name="T21" fmla="*/ 0 h 491"/>
                <a:gd name="T22" fmla="*/ 0 w 730"/>
                <a:gd name="T23" fmla="*/ 0 h 491"/>
                <a:gd name="T24" fmla="*/ 0 w 730"/>
                <a:gd name="T25" fmla="*/ 0 h 491"/>
                <a:gd name="T26" fmla="*/ 0 w 730"/>
                <a:gd name="T27" fmla="*/ 0 h 491"/>
                <a:gd name="T28" fmla="*/ 0 w 730"/>
                <a:gd name="T29" fmla="*/ 0 h 491"/>
                <a:gd name="T30" fmla="*/ 0 w 730"/>
                <a:gd name="T31" fmla="*/ 0 h 491"/>
                <a:gd name="T32" fmla="*/ 0 w 730"/>
                <a:gd name="T33" fmla="*/ 0 h 491"/>
                <a:gd name="T34" fmla="*/ 0 w 730"/>
                <a:gd name="T35" fmla="*/ 0 h 491"/>
                <a:gd name="T36" fmla="*/ 0 w 730"/>
                <a:gd name="T37" fmla="*/ 0 h 491"/>
                <a:gd name="T38" fmla="*/ 0 w 730"/>
                <a:gd name="T39" fmla="*/ 0 h 491"/>
                <a:gd name="T40" fmla="*/ 0 w 730"/>
                <a:gd name="T41" fmla="*/ 0 h 491"/>
                <a:gd name="T42" fmla="*/ 0 w 730"/>
                <a:gd name="T43" fmla="*/ 0 h 491"/>
                <a:gd name="T44" fmla="*/ 0 w 730"/>
                <a:gd name="T45" fmla="*/ 0 h 491"/>
                <a:gd name="T46" fmla="*/ 0 w 730"/>
                <a:gd name="T47" fmla="*/ 0 h 491"/>
                <a:gd name="T48" fmla="*/ 0 w 730"/>
                <a:gd name="T49" fmla="*/ 0 h 491"/>
                <a:gd name="T50" fmla="*/ 0 w 730"/>
                <a:gd name="T51" fmla="*/ 0 h 491"/>
                <a:gd name="T52" fmla="*/ 0 w 730"/>
                <a:gd name="T53" fmla="*/ 0 h 491"/>
                <a:gd name="T54" fmla="*/ 0 w 730"/>
                <a:gd name="T55" fmla="*/ 0 h 491"/>
                <a:gd name="T56" fmla="*/ 0 w 730"/>
                <a:gd name="T57" fmla="*/ 0 h 491"/>
                <a:gd name="T58" fmla="*/ 0 w 730"/>
                <a:gd name="T59" fmla="*/ 0 h 491"/>
                <a:gd name="T60" fmla="*/ 0 w 730"/>
                <a:gd name="T61" fmla="*/ 0 h 491"/>
                <a:gd name="T62" fmla="*/ 0 w 730"/>
                <a:gd name="T63" fmla="*/ 0 h 491"/>
                <a:gd name="T64" fmla="*/ 0 w 730"/>
                <a:gd name="T65" fmla="*/ 0 h 491"/>
                <a:gd name="T66" fmla="*/ 0 w 730"/>
                <a:gd name="T67" fmla="*/ 0 h 491"/>
                <a:gd name="T68" fmla="*/ 0 w 730"/>
                <a:gd name="T69" fmla="*/ 0 h 491"/>
                <a:gd name="T70" fmla="*/ 0 w 730"/>
                <a:gd name="T71" fmla="*/ 0 h 491"/>
                <a:gd name="T72" fmla="*/ 0 w 730"/>
                <a:gd name="T73" fmla="*/ 0 h 491"/>
                <a:gd name="T74" fmla="*/ 0 w 730"/>
                <a:gd name="T75" fmla="*/ 0 h 491"/>
                <a:gd name="T76" fmla="*/ 0 w 730"/>
                <a:gd name="T77" fmla="*/ 0 h 491"/>
                <a:gd name="T78" fmla="*/ 0 w 730"/>
                <a:gd name="T79" fmla="*/ 0 h 491"/>
                <a:gd name="T80" fmla="*/ 0 w 730"/>
                <a:gd name="T81" fmla="*/ 0 h 491"/>
                <a:gd name="T82" fmla="*/ 0 w 730"/>
                <a:gd name="T83" fmla="*/ 0 h 491"/>
                <a:gd name="T84" fmla="*/ 0 w 730"/>
                <a:gd name="T85" fmla="*/ 0 h 491"/>
                <a:gd name="T86" fmla="*/ 0 w 730"/>
                <a:gd name="T87" fmla="*/ 0 h 491"/>
                <a:gd name="T88" fmla="*/ 0 w 730"/>
                <a:gd name="T89" fmla="*/ 0 h 491"/>
                <a:gd name="T90" fmla="*/ 0 w 730"/>
                <a:gd name="T91" fmla="*/ 0 h 491"/>
                <a:gd name="T92" fmla="*/ 0 w 730"/>
                <a:gd name="T93" fmla="*/ 0 h 491"/>
                <a:gd name="T94" fmla="*/ 0 w 730"/>
                <a:gd name="T95" fmla="*/ 0 h 49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30"/>
                <a:gd name="T145" fmla="*/ 0 h 491"/>
                <a:gd name="T146" fmla="*/ 730 w 730"/>
                <a:gd name="T147" fmla="*/ 491 h 49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30" h="491">
                  <a:moveTo>
                    <a:pt x="331" y="7"/>
                  </a:moveTo>
                  <a:cubicBezTo>
                    <a:pt x="318" y="0"/>
                    <a:pt x="296" y="19"/>
                    <a:pt x="296" y="19"/>
                  </a:cubicBezTo>
                  <a:cubicBezTo>
                    <a:pt x="315" y="31"/>
                    <a:pt x="315" y="31"/>
                    <a:pt x="315" y="31"/>
                  </a:cubicBezTo>
                  <a:cubicBezTo>
                    <a:pt x="333" y="35"/>
                    <a:pt x="344" y="14"/>
                    <a:pt x="331" y="7"/>
                  </a:cubicBezTo>
                  <a:close/>
                  <a:moveTo>
                    <a:pt x="508" y="150"/>
                  </a:moveTo>
                  <a:cubicBezTo>
                    <a:pt x="499" y="159"/>
                    <a:pt x="521" y="171"/>
                    <a:pt x="521" y="171"/>
                  </a:cubicBezTo>
                  <a:cubicBezTo>
                    <a:pt x="523" y="184"/>
                    <a:pt x="523" y="184"/>
                    <a:pt x="523" y="184"/>
                  </a:cubicBezTo>
                  <a:cubicBezTo>
                    <a:pt x="476" y="209"/>
                    <a:pt x="476" y="209"/>
                    <a:pt x="476" y="209"/>
                  </a:cubicBezTo>
                  <a:cubicBezTo>
                    <a:pt x="476" y="209"/>
                    <a:pt x="452" y="207"/>
                    <a:pt x="436" y="210"/>
                  </a:cubicBezTo>
                  <a:cubicBezTo>
                    <a:pt x="420" y="213"/>
                    <a:pt x="414" y="222"/>
                    <a:pt x="404" y="228"/>
                  </a:cubicBezTo>
                  <a:cubicBezTo>
                    <a:pt x="394" y="234"/>
                    <a:pt x="388" y="222"/>
                    <a:pt x="382" y="234"/>
                  </a:cubicBezTo>
                  <a:cubicBezTo>
                    <a:pt x="398" y="257"/>
                    <a:pt x="398" y="257"/>
                    <a:pt x="398" y="257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74" y="251"/>
                    <a:pt x="474" y="251"/>
                    <a:pt x="474" y="251"/>
                  </a:cubicBezTo>
                  <a:cubicBezTo>
                    <a:pt x="474" y="251"/>
                    <a:pt x="486" y="251"/>
                    <a:pt x="499" y="250"/>
                  </a:cubicBezTo>
                  <a:cubicBezTo>
                    <a:pt x="513" y="248"/>
                    <a:pt x="523" y="228"/>
                    <a:pt x="523" y="228"/>
                  </a:cubicBezTo>
                  <a:cubicBezTo>
                    <a:pt x="542" y="223"/>
                    <a:pt x="542" y="223"/>
                    <a:pt x="542" y="223"/>
                  </a:cubicBezTo>
                  <a:cubicBezTo>
                    <a:pt x="536" y="206"/>
                    <a:pt x="536" y="206"/>
                    <a:pt x="536" y="206"/>
                  </a:cubicBezTo>
                  <a:cubicBezTo>
                    <a:pt x="554" y="209"/>
                    <a:pt x="554" y="209"/>
                    <a:pt x="554" y="209"/>
                  </a:cubicBezTo>
                  <a:cubicBezTo>
                    <a:pt x="554" y="209"/>
                    <a:pt x="562" y="157"/>
                    <a:pt x="555" y="140"/>
                  </a:cubicBezTo>
                  <a:cubicBezTo>
                    <a:pt x="548" y="122"/>
                    <a:pt x="517" y="141"/>
                    <a:pt x="508" y="150"/>
                  </a:cubicBezTo>
                  <a:close/>
                  <a:moveTo>
                    <a:pt x="564" y="94"/>
                  </a:moveTo>
                  <a:cubicBezTo>
                    <a:pt x="555" y="94"/>
                    <a:pt x="555" y="94"/>
                    <a:pt x="555" y="94"/>
                  </a:cubicBezTo>
                  <a:cubicBezTo>
                    <a:pt x="555" y="94"/>
                    <a:pt x="524" y="60"/>
                    <a:pt x="520" y="58"/>
                  </a:cubicBezTo>
                  <a:cubicBezTo>
                    <a:pt x="516" y="55"/>
                    <a:pt x="508" y="55"/>
                    <a:pt x="508" y="55"/>
                  </a:cubicBezTo>
                  <a:cubicBezTo>
                    <a:pt x="494" y="31"/>
                    <a:pt x="494" y="31"/>
                    <a:pt x="494" y="31"/>
                  </a:cubicBezTo>
                  <a:cubicBezTo>
                    <a:pt x="486" y="63"/>
                    <a:pt x="486" y="63"/>
                    <a:pt x="486" y="63"/>
                  </a:cubicBezTo>
                  <a:cubicBezTo>
                    <a:pt x="516" y="69"/>
                    <a:pt x="516" y="69"/>
                    <a:pt x="516" y="69"/>
                  </a:cubicBezTo>
                  <a:cubicBezTo>
                    <a:pt x="516" y="69"/>
                    <a:pt x="539" y="96"/>
                    <a:pt x="545" y="102"/>
                  </a:cubicBezTo>
                  <a:cubicBezTo>
                    <a:pt x="551" y="107"/>
                    <a:pt x="571" y="109"/>
                    <a:pt x="576" y="122"/>
                  </a:cubicBezTo>
                  <a:cubicBezTo>
                    <a:pt x="580" y="135"/>
                    <a:pt x="562" y="179"/>
                    <a:pt x="589" y="181"/>
                  </a:cubicBezTo>
                  <a:cubicBezTo>
                    <a:pt x="604" y="182"/>
                    <a:pt x="612" y="150"/>
                    <a:pt x="599" y="131"/>
                  </a:cubicBezTo>
                  <a:cubicBezTo>
                    <a:pt x="586" y="112"/>
                    <a:pt x="564" y="94"/>
                    <a:pt x="564" y="94"/>
                  </a:cubicBezTo>
                  <a:close/>
                  <a:moveTo>
                    <a:pt x="728" y="249"/>
                  </a:moveTo>
                  <a:cubicBezTo>
                    <a:pt x="687" y="202"/>
                    <a:pt x="687" y="202"/>
                    <a:pt x="687" y="202"/>
                  </a:cubicBezTo>
                  <a:cubicBezTo>
                    <a:pt x="687" y="202"/>
                    <a:pt x="683" y="177"/>
                    <a:pt x="664" y="185"/>
                  </a:cubicBezTo>
                  <a:cubicBezTo>
                    <a:pt x="653" y="190"/>
                    <a:pt x="659" y="206"/>
                    <a:pt x="659" y="206"/>
                  </a:cubicBezTo>
                  <a:cubicBezTo>
                    <a:pt x="670" y="225"/>
                    <a:pt x="670" y="225"/>
                    <a:pt x="670" y="225"/>
                  </a:cubicBezTo>
                  <a:cubicBezTo>
                    <a:pt x="687" y="257"/>
                    <a:pt x="687" y="257"/>
                    <a:pt x="687" y="257"/>
                  </a:cubicBezTo>
                  <a:cubicBezTo>
                    <a:pt x="730" y="300"/>
                    <a:pt x="730" y="300"/>
                    <a:pt x="730" y="300"/>
                  </a:cubicBezTo>
                  <a:lnTo>
                    <a:pt x="728" y="249"/>
                  </a:lnTo>
                  <a:close/>
                  <a:moveTo>
                    <a:pt x="17" y="401"/>
                  </a:moveTo>
                  <a:cubicBezTo>
                    <a:pt x="17" y="401"/>
                    <a:pt x="17" y="401"/>
                    <a:pt x="17" y="401"/>
                  </a:cubicBezTo>
                  <a:cubicBezTo>
                    <a:pt x="17" y="401"/>
                    <a:pt x="17" y="401"/>
                    <a:pt x="17" y="401"/>
                  </a:cubicBezTo>
                  <a:cubicBezTo>
                    <a:pt x="17" y="401"/>
                    <a:pt x="17" y="401"/>
                    <a:pt x="17" y="401"/>
                  </a:cubicBezTo>
                  <a:close/>
                  <a:moveTo>
                    <a:pt x="452" y="453"/>
                  </a:moveTo>
                  <a:cubicBezTo>
                    <a:pt x="425" y="436"/>
                    <a:pt x="425" y="436"/>
                    <a:pt x="425" y="436"/>
                  </a:cubicBezTo>
                  <a:cubicBezTo>
                    <a:pt x="437" y="426"/>
                    <a:pt x="437" y="426"/>
                    <a:pt x="437" y="426"/>
                  </a:cubicBezTo>
                  <a:cubicBezTo>
                    <a:pt x="437" y="426"/>
                    <a:pt x="413" y="425"/>
                    <a:pt x="406" y="418"/>
                  </a:cubicBezTo>
                  <a:cubicBezTo>
                    <a:pt x="400" y="411"/>
                    <a:pt x="408" y="397"/>
                    <a:pt x="408" y="388"/>
                  </a:cubicBezTo>
                  <a:cubicBezTo>
                    <a:pt x="408" y="379"/>
                    <a:pt x="375" y="396"/>
                    <a:pt x="375" y="396"/>
                  </a:cubicBezTo>
                  <a:cubicBezTo>
                    <a:pt x="374" y="375"/>
                    <a:pt x="374" y="375"/>
                    <a:pt x="374" y="375"/>
                  </a:cubicBezTo>
                  <a:cubicBezTo>
                    <a:pt x="357" y="367"/>
                    <a:pt x="357" y="367"/>
                    <a:pt x="357" y="367"/>
                  </a:cubicBezTo>
                  <a:cubicBezTo>
                    <a:pt x="357" y="337"/>
                    <a:pt x="357" y="337"/>
                    <a:pt x="357" y="337"/>
                  </a:cubicBezTo>
                  <a:cubicBezTo>
                    <a:pt x="321" y="311"/>
                    <a:pt x="321" y="311"/>
                    <a:pt x="321" y="311"/>
                  </a:cubicBezTo>
                  <a:cubicBezTo>
                    <a:pt x="304" y="274"/>
                    <a:pt x="304" y="274"/>
                    <a:pt x="304" y="274"/>
                  </a:cubicBezTo>
                  <a:cubicBezTo>
                    <a:pt x="304" y="274"/>
                    <a:pt x="342" y="261"/>
                    <a:pt x="342" y="245"/>
                  </a:cubicBezTo>
                  <a:cubicBezTo>
                    <a:pt x="342" y="229"/>
                    <a:pt x="308" y="220"/>
                    <a:pt x="308" y="220"/>
                  </a:cubicBezTo>
                  <a:cubicBezTo>
                    <a:pt x="306" y="216"/>
                    <a:pt x="256" y="202"/>
                    <a:pt x="256" y="202"/>
                  </a:cubicBezTo>
                  <a:cubicBezTo>
                    <a:pt x="256" y="202"/>
                    <a:pt x="252" y="189"/>
                    <a:pt x="256" y="169"/>
                  </a:cubicBezTo>
                  <a:cubicBezTo>
                    <a:pt x="260" y="150"/>
                    <a:pt x="232" y="147"/>
                    <a:pt x="232" y="147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51" y="91"/>
                    <a:pt x="151" y="91"/>
                    <a:pt x="151" y="91"/>
                  </a:cubicBezTo>
                  <a:cubicBezTo>
                    <a:pt x="131" y="87"/>
                    <a:pt x="131" y="87"/>
                    <a:pt x="131" y="87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75"/>
                    <a:pt x="30" y="139"/>
                    <a:pt x="30" y="155"/>
                  </a:cubicBezTo>
                  <a:cubicBezTo>
                    <a:pt x="30" y="175"/>
                    <a:pt x="22" y="197"/>
                    <a:pt x="24" y="212"/>
                  </a:cubicBezTo>
                  <a:cubicBezTo>
                    <a:pt x="26" y="227"/>
                    <a:pt x="27" y="253"/>
                    <a:pt x="27" y="253"/>
                  </a:cubicBezTo>
                  <a:cubicBezTo>
                    <a:pt x="27" y="253"/>
                    <a:pt x="0" y="271"/>
                    <a:pt x="11" y="277"/>
                  </a:cubicBezTo>
                  <a:cubicBezTo>
                    <a:pt x="22" y="284"/>
                    <a:pt x="26" y="282"/>
                    <a:pt x="26" y="282"/>
                  </a:cubicBezTo>
                  <a:cubicBezTo>
                    <a:pt x="26" y="282"/>
                    <a:pt x="23" y="319"/>
                    <a:pt x="21" y="327"/>
                  </a:cubicBezTo>
                  <a:cubicBezTo>
                    <a:pt x="19" y="334"/>
                    <a:pt x="15" y="353"/>
                    <a:pt x="15" y="353"/>
                  </a:cubicBezTo>
                  <a:cubicBezTo>
                    <a:pt x="19" y="369"/>
                    <a:pt x="19" y="369"/>
                    <a:pt x="19" y="369"/>
                  </a:cubicBezTo>
                  <a:cubicBezTo>
                    <a:pt x="17" y="401"/>
                    <a:pt x="17" y="401"/>
                    <a:pt x="17" y="401"/>
                  </a:cubicBezTo>
                  <a:cubicBezTo>
                    <a:pt x="34" y="405"/>
                    <a:pt x="75" y="396"/>
                    <a:pt x="75" y="396"/>
                  </a:cubicBezTo>
                  <a:cubicBezTo>
                    <a:pt x="88" y="408"/>
                    <a:pt x="88" y="408"/>
                    <a:pt x="88" y="408"/>
                  </a:cubicBezTo>
                  <a:cubicBezTo>
                    <a:pt x="88" y="408"/>
                    <a:pt x="114" y="398"/>
                    <a:pt x="126" y="388"/>
                  </a:cubicBezTo>
                  <a:cubicBezTo>
                    <a:pt x="138" y="377"/>
                    <a:pt x="71" y="347"/>
                    <a:pt x="71" y="347"/>
                  </a:cubicBezTo>
                  <a:cubicBezTo>
                    <a:pt x="71" y="347"/>
                    <a:pt x="126" y="355"/>
                    <a:pt x="138" y="353"/>
                  </a:cubicBezTo>
                  <a:cubicBezTo>
                    <a:pt x="150" y="350"/>
                    <a:pt x="130" y="329"/>
                    <a:pt x="130" y="329"/>
                  </a:cubicBezTo>
                  <a:cubicBezTo>
                    <a:pt x="130" y="329"/>
                    <a:pt x="146" y="341"/>
                    <a:pt x="151" y="338"/>
                  </a:cubicBezTo>
                  <a:cubicBezTo>
                    <a:pt x="156" y="336"/>
                    <a:pt x="146" y="313"/>
                    <a:pt x="146" y="313"/>
                  </a:cubicBezTo>
                  <a:cubicBezTo>
                    <a:pt x="146" y="313"/>
                    <a:pt x="156" y="322"/>
                    <a:pt x="163" y="324"/>
                  </a:cubicBezTo>
                  <a:cubicBezTo>
                    <a:pt x="169" y="325"/>
                    <a:pt x="179" y="312"/>
                    <a:pt x="185" y="311"/>
                  </a:cubicBezTo>
                  <a:cubicBezTo>
                    <a:pt x="192" y="309"/>
                    <a:pt x="202" y="329"/>
                    <a:pt x="209" y="333"/>
                  </a:cubicBezTo>
                  <a:cubicBezTo>
                    <a:pt x="215" y="337"/>
                    <a:pt x="240" y="332"/>
                    <a:pt x="258" y="342"/>
                  </a:cubicBezTo>
                  <a:cubicBezTo>
                    <a:pt x="277" y="353"/>
                    <a:pt x="270" y="376"/>
                    <a:pt x="277" y="388"/>
                  </a:cubicBezTo>
                  <a:cubicBezTo>
                    <a:pt x="283" y="400"/>
                    <a:pt x="296" y="392"/>
                    <a:pt x="302" y="398"/>
                  </a:cubicBezTo>
                  <a:cubicBezTo>
                    <a:pt x="307" y="405"/>
                    <a:pt x="316" y="446"/>
                    <a:pt x="330" y="456"/>
                  </a:cubicBezTo>
                  <a:cubicBezTo>
                    <a:pt x="345" y="466"/>
                    <a:pt x="409" y="460"/>
                    <a:pt x="418" y="464"/>
                  </a:cubicBezTo>
                  <a:cubicBezTo>
                    <a:pt x="427" y="468"/>
                    <a:pt x="447" y="491"/>
                    <a:pt x="459" y="491"/>
                  </a:cubicBezTo>
                  <a:cubicBezTo>
                    <a:pt x="471" y="491"/>
                    <a:pt x="450" y="464"/>
                    <a:pt x="450" y="464"/>
                  </a:cubicBezTo>
                  <a:lnTo>
                    <a:pt x="452" y="453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38" name="Freeform 154"/>
            <p:cNvSpPr>
              <a:spLocks noEditPoints="1"/>
            </p:cNvSpPr>
            <p:nvPr/>
          </p:nvSpPr>
          <p:spPr bwMode="auto">
            <a:xfrm>
              <a:off x="4383" y="2637"/>
              <a:ext cx="827" cy="333"/>
            </a:xfrm>
            <a:custGeom>
              <a:avLst/>
              <a:gdLst>
                <a:gd name="T0" fmla="*/ 0 w 2179"/>
                <a:gd name="T1" fmla="*/ 0 h 879"/>
                <a:gd name="T2" fmla="*/ 0 w 2179"/>
                <a:gd name="T3" fmla="*/ 0 h 879"/>
                <a:gd name="T4" fmla="*/ 0 w 2179"/>
                <a:gd name="T5" fmla="*/ 0 h 879"/>
                <a:gd name="T6" fmla="*/ 0 w 2179"/>
                <a:gd name="T7" fmla="*/ 0 h 879"/>
                <a:gd name="T8" fmla="*/ 0 w 2179"/>
                <a:gd name="T9" fmla="*/ 0 h 879"/>
                <a:gd name="T10" fmla="*/ 0 w 2179"/>
                <a:gd name="T11" fmla="*/ 0 h 879"/>
                <a:gd name="T12" fmla="*/ 0 w 2179"/>
                <a:gd name="T13" fmla="*/ 0 h 879"/>
                <a:gd name="T14" fmla="*/ 0 w 2179"/>
                <a:gd name="T15" fmla="*/ 0 h 879"/>
                <a:gd name="T16" fmla="*/ 0 w 2179"/>
                <a:gd name="T17" fmla="*/ 0 h 879"/>
                <a:gd name="T18" fmla="*/ 0 w 2179"/>
                <a:gd name="T19" fmla="*/ 0 h 879"/>
                <a:gd name="T20" fmla="*/ 0 w 2179"/>
                <a:gd name="T21" fmla="*/ 0 h 879"/>
                <a:gd name="T22" fmla="*/ 0 w 2179"/>
                <a:gd name="T23" fmla="*/ 0 h 879"/>
                <a:gd name="T24" fmla="*/ 0 w 2179"/>
                <a:gd name="T25" fmla="*/ 0 h 879"/>
                <a:gd name="T26" fmla="*/ 0 w 2179"/>
                <a:gd name="T27" fmla="*/ 0 h 879"/>
                <a:gd name="T28" fmla="*/ 0 w 2179"/>
                <a:gd name="T29" fmla="*/ 0 h 879"/>
                <a:gd name="T30" fmla="*/ 0 w 2179"/>
                <a:gd name="T31" fmla="*/ 0 h 879"/>
                <a:gd name="T32" fmla="*/ 0 w 2179"/>
                <a:gd name="T33" fmla="*/ 0 h 879"/>
                <a:gd name="T34" fmla="*/ 0 w 2179"/>
                <a:gd name="T35" fmla="*/ 0 h 879"/>
                <a:gd name="T36" fmla="*/ 0 w 2179"/>
                <a:gd name="T37" fmla="*/ 0 h 879"/>
                <a:gd name="T38" fmla="*/ 0 w 2179"/>
                <a:gd name="T39" fmla="*/ 0 h 879"/>
                <a:gd name="T40" fmla="*/ 0 w 2179"/>
                <a:gd name="T41" fmla="*/ 0 h 879"/>
                <a:gd name="T42" fmla="*/ 0 w 2179"/>
                <a:gd name="T43" fmla="*/ 0 h 879"/>
                <a:gd name="T44" fmla="*/ 0 w 2179"/>
                <a:gd name="T45" fmla="*/ 0 h 879"/>
                <a:gd name="T46" fmla="*/ 0 w 2179"/>
                <a:gd name="T47" fmla="*/ 0 h 879"/>
                <a:gd name="T48" fmla="*/ 0 w 2179"/>
                <a:gd name="T49" fmla="*/ 0 h 879"/>
                <a:gd name="T50" fmla="*/ 0 w 2179"/>
                <a:gd name="T51" fmla="*/ 0 h 879"/>
                <a:gd name="T52" fmla="*/ 0 w 2179"/>
                <a:gd name="T53" fmla="*/ 0 h 879"/>
                <a:gd name="T54" fmla="*/ 0 w 2179"/>
                <a:gd name="T55" fmla="*/ 0 h 879"/>
                <a:gd name="T56" fmla="*/ 0 w 2179"/>
                <a:gd name="T57" fmla="*/ 0 h 879"/>
                <a:gd name="T58" fmla="*/ 0 w 2179"/>
                <a:gd name="T59" fmla="*/ 0 h 879"/>
                <a:gd name="T60" fmla="*/ 0 w 2179"/>
                <a:gd name="T61" fmla="*/ 0 h 879"/>
                <a:gd name="T62" fmla="*/ 0 w 2179"/>
                <a:gd name="T63" fmla="*/ 0 h 879"/>
                <a:gd name="T64" fmla="*/ 0 w 2179"/>
                <a:gd name="T65" fmla="*/ 0 h 879"/>
                <a:gd name="T66" fmla="*/ 0 w 2179"/>
                <a:gd name="T67" fmla="*/ 0 h 879"/>
                <a:gd name="T68" fmla="*/ 0 w 2179"/>
                <a:gd name="T69" fmla="*/ 0 h 879"/>
                <a:gd name="T70" fmla="*/ 0 w 2179"/>
                <a:gd name="T71" fmla="*/ 0 h 879"/>
                <a:gd name="T72" fmla="*/ 0 w 2179"/>
                <a:gd name="T73" fmla="*/ 0 h 879"/>
                <a:gd name="T74" fmla="*/ 0 w 2179"/>
                <a:gd name="T75" fmla="*/ 0 h 879"/>
                <a:gd name="T76" fmla="*/ 0 w 2179"/>
                <a:gd name="T77" fmla="*/ 0 h 879"/>
                <a:gd name="T78" fmla="*/ 0 w 2179"/>
                <a:gd name="T79" fmla="*/ 0 h 879"/>
                <a:gd name="T80" fmla="*/ 0 w 2179"/>
                <a:gd name="T81" fmla="*/ 0 h 879"/>
                <a:gd name="T82" fmla="*/ 0 w 2179"/>
                <a:gd name="T83" fmla="*/ 0 h 879"/>
                <a:gd name="T84" fmla="*/ 0 w 2179"/>
                <a:gd name="T85" fmla="*/ 0 h 879"/>
                <a:gd name="T86" fmla="*/ 0 w 2179"/>
                <a:gd name="T87" fmla="*/ 0 h 879"/>
                <a:gd name="T88" fmla="*/ 0 w 2179"/>
                <a:gd name="T89" fmla="*/ 0 h 879"/>
                <a:gd name="T90" fmla="*/ 0 w 2179"/>
                <a:gd name="T91" fmla="*/ 0 h 879"/>
                <a:gd name="T92" fmla="*/ 0 w 2179"/>
                <a:gd name="T93" fmla="*/ 0 h 879"/>
                <a:gd name="T94" fmla="*/ 0 w 2179"/>
                <a:gd name="T95" fmla="*/ 0 h 879"/>
                <a:gd name="T96" fmla="*/ 0 w 2179"/>
                <a:gd name="T97" fmla="*/ 0 h 879"/>
                <a:gd name="T98" fmla="*/ 0 w 2179"/>
                <a:gd name="T99" fmla="*/ 0 h 879"/>
                <a:gd name="T100" fmla="*/ 0 w 2179"/>
                <a:gd name="T101" fmla="*/ 0 h 879"/>
                <a:gd name="T102" fmla="*/ 0 w 2179"/>
                <a:gd name="T103" fmla="*/ 0 h 879"/>
                <a:gd name="T104" fmla="*/ 0 w 2179"/>
                <a:gd name="T105" fmla="*/ 0 h 879"/>
                <a:gd name="T106" fmla="*/ 0 w 2179"/>
                <a:gd name="T107" fmla="*/ 0 h 879"/>
                <a:gd name="T108" fmla="*/ 0 w 2179"/>
                <a:gd name="T109" fmla="*/ 0 h 879"/>
                <a:gd name="T110" fmla="*/ 0 w 2179"/>
                <a:gd name="T111" fmla="*/ 0 h 879"/>
                <a:gd name="T112" fmla="*/ 0 w 2179"/>
                <a:gd name="T113" fmla="*/ 0 h 879"/>
                <a:gd name="T114" fmla="*/ 0 w 2179"/>
                <a:gd name="T115" fmla="*/ 0 h 87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179"/>
                <a:gd name="T175" fmla="*/ 0 h 879"/>
                <a:gd name="T176" fmla="*/ 2179 w 2179"/>
                <a:gd name="T177" fmla="*/ 879 h 87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179" h="879">
                  <a:moveTo>
                    <a:pt x="1196" y="656"/>
                  </a:moveTo>
                  <a:cubicBezTo>
                    <a:pt x="1210" y="655"/>
                    <a:pt x="1210" y="655"/>
                    <a:pt x="1210" y="655"/>
                  </a:cubicBezTo>
                  <a:cubicBezTo>
                    <a:pt x="1218" y="637"/>
                    <a:pt x="1218" y="637"/>
                    <a:pt x="1218" y="637"/>
                  </a:cubicBezTo>
                  <a:cubicBezTo>
                    <a:pt x="1215" y="622"/>
                    <a:pt x="1215" y="622"/>
                    <a:pt x="1215" y="622"/>
                  </a:cubicBezTo>
                  <a:lnTo>
                    <a:pt x="1196" y="656"/>
                  </a:lnTo>
                  <a:close/>
                  <a:moveTo>
                    <a:pt x="453" y="310"/>
                  </a:moveTo>
                  <a:cubicBezTo>
                    <a:pt x="472" y="321"/>
                    <a:pt x="472" y="321"/>
                    <a:pt x="472" y="321"/>
                  </a:cubicBezTo>
                  <a:cubicBezTo>
                    <a:pt x="472" y="300"/>
                    <a:pt x="472" y="300"/>
                    <a:pt x="472" y="300"/>
                  </a:cubicBezTo>
                  <a:cubicBezTo>
                    <a:pt x="455" y="287"/>
                    <a:pt x="455" y="287"/>
                    <a:pt x="455" y="287"/>
                  </a:cubicBezTo>
                  <a:lnTo>
                    <a:pt x="453" y="310"/>
                  </a:lnTo>
                  <a:close/>
                  <a:moveTo>
                    <a:pt x="455" y="331"/>
                  </a:moveTo>
                  <a:cubicBezTo>
                    <a:pt x="441" y="344"/>
                    <a:pt x="441" y="344"/>
                    <a:pt x="441" y="344"/>
                  </a:cubicBezTo>
                  <a:cubicBezTo>
                    <a:pt x="458" y="365"/>
                    <a:pt x="458" y="365"/>
                    <a:pt x="458" y="365"/>
                  </a:cubicBezTo>
                  <a:lnTo>
                    <a:pt x="455" y="331"/>
                  </a:lnTo>
                  <a:close/>
                  <a:moveTo>
                    <a:pt x="611" y="478"/>
                  </a:moveTo>
                  <a:cubicBezTo>
                    <a:pt x="624" y="491"/>
                    <a:pt x="624" y="491"/>
                    <a:pt x="624" y="491"/>
                  </a:cubicBezTo>
                  <a:cubicBezTo>
                    <a:pt x="630" y="474"/>
                    <a:pt x="630" y="474"/>
                    <a:pt x="630" y="474"/>
                  </a:cubicBezTo>
                  <a:cubicBezTo>
                    <a:pt x="630" y="474"/>
                    <a:pt x="622" y="444"/>
                    <a:pt x="603" y="446"/>
                  </a:cubicBezTo>
                  <a:cubicBezTo>
                    <a:pt x="584" y="447"/>
                    <a:pt x="590" y="466"/>
                    <a:pt x="596" y="484"/>
                  </a:cubicBezTo>
                  <a:lnTo>
                    <a:pt x="611" y="478"/>
                  </a:lnTo>
                  <a:close/>
                  <a:moveTo>
                    <a:pt x="459" y="249"/>
                  </a:moveTo>
                  <a:cubicBezTo>
                    <a:pt x="454" y="237"/>
                    <a:pt x="440" y="244"/>
                    <a:pt x="450" y="260"/>
                  </a:cubicBezTo>
                  <a:cubicBezTo>
                    <a:pt x="461" y="279"/>
                    <a:pt x="464" y="261"/>
                    <a:pt x="459" y="249"/>
                  </a:cubicBezTo>
                  <a:close/>
                  <a:moveTo>
                    <a:pt x="507" y="418"/>
                  </a:moveTo>
                  <a:cubicBezTo>
                    <a:pt x="507" y="418"/>
                    <a:pt x="512" y="447"/>
                    <a:pt x="523" y="459"/>
                  </a:cubicBezTo>
                  <a:cubicBezTo>
                    <a:pt x="533" y="471"/>
                    <a:pt x="559" y="471"/>
                    <a:pt x="559" y="471"/>
                  </a:cubicBezTo>
                  <a:cubicBezTo>
                    <a:pt x="558" y="443"/>
                    <a:pt x="558" y="443"/>
                    <a:pt x="558" y="443"/>
                  </a:cubicBezTo>
                  <a:cubicBezTo>
                    <a:pt x="546" y="435"/>
                    <a:pt x="546" y="435"/>
                    <a:pt x="546" y="435"/>
                  </a:cubicBezTo>
                  <a:cubicBezTo>
                    <a:pt x="545" y="415"/>
                    <a:pt x="545" y="415"/>
                    <a:pt x="545" y="415"/>
                  </a:cubicBezTo>
                  <a:cubicBezTo>
                    <a:pt x="545" y="415"/>
                    <a:pt x="530" y="390"/>
                    <a:pt x="508" y="384"/>
                  </a:cubicBezTo>
                  <a:cubicBezTo>
                    <a:pt x="486" y="378"/>
                    <a:pt x="487" y="403"/>
                    <a:pt x="487" y="403"/>
                  </a:cubicBezTo>
                  <a:cubicBezTo>
                    <a:pt x="487" y="403"/>
                    <a:pt x="473" y="399"/>
                    <a:pt x="480" y="419"/>
                  </a:cubicBezTo>
                  <a:lnTo>
                    <a:pt x="507" y="418"/>
                  </a:lnTo>
                  <a:close/>
                  <a:moveTo>
                    <a:pt x="169" y="296"/>
                  </a:moveTo>
                  <a:cubicBezTo>
                    <a:pt x="154" y="310"/>
                    <a:pt x="154" y="310"/>
                    <a:pt x="154" y="310"/>
                  </a:cubicBezTo>
                  <a:cubicBezTo>
                    <a:pt x="162" y="330"/>
                    <a:pt x="162" y="330"/>
                    <a:pt x="162" y="330"/>
                  </a:cubicBezTo>
                  <a:cubicBezTo>
                    <a:pt x="162" y="330"/>
                    <a:pt x="152" y="348"/>
                    <a:pt x="164" y="344"/>
                  </a:cubicBezTo>
                  <a:cubicBezTo>
                    <a:pt x="171" y="341"/>
                    <a:pt x="168" y="316"/>
                    <a:pt x="168" y="316"/>
                  </a:cubicBezTo>
                  <a:cubicBezTo>
                    <a:pt x="175" y="307"/>
                    <a:pt x="175" y="307"/>
                    <a:pt x="175" y="307"/>
                  </a:cubicBezTo>
                  <a:lnTo>
                    <a:pt x="169" y="296"/>
                  </a:lnTo>
                  <a:close/>
                  <a:moveTo>
                    <a:pt x="180" y="360"/>
                  </a:moveTo>
                  <a:cubicBezTo>
                    <a:pt x="170" y="372"/>
                    <a:pt x="176" y="414"/>
                    <a:pt x="198" y="410"/>
                  </a:cubicBezTo>
                  <a:cubicBezTo>
                    <a:pt x="207" y="408"/>
                    <a:pt x="191" y="348"/>
                    <a:pt x="180" y="360"/>
                  </a:cubicBezTo>
                  <a:close/>
                  <a:moveTo>
                    <a:pt x="35" y="152"/>
                  </a:moveTo>
                  <a:cubicBezTo>
                    <a:pt x="30" y="157"/>
                    <a:pt x="28" y="173"/>
                    <a:pt x="40" y="174"/>
                  </a:cubicBezTo>
                  <a:cubicBezTo>
                    <a:pt x="52" y="176"/>
                    <a:pt x="55" y="189"/>
                    <a:pt x="66" y="181"/>
                  </a:cubicBezTo>
                  <a:cubicBezTo>
                    <a:pt x="73" y="175"/>
                    <a:pt x="40" y="146"/>
                    <a:pt x="35" y="152"/>
                  </a:cubicBezTo>
                  <a:close/>
                  <a:moveTo>
                    <a:pt x="112" y="221"/>
                  </a:moveTo>
                  <a:cubicBezTo>
                    <a:pt x="104" y="221"/>
                    <a:pt x="94" y="234"/>
                    <a:pt x="106" y="242"/>
                  </a:cubicBezTo>
                  <a:cubicBezTo>
                    <a:pt x="118" y="250"/>
                    <a:pt x="122" y="280"/>
                    <a:pt x="134" y="280"/>
                  </a:cubicBezTo>
                  <a:cubicBezTo>
                    <a:pt x="141" y="280"/>
                    <a:pt x="142" y="249"/>
                    <a:pt x="138" y="245"/>
                  </a:cubicBezTo>
                  <a:cubicBezTo>
                    <a:pt x="134" y="241"/>
                    <a:pt x="120" y="221"/>
                    <a:pt x="112" y="221"/>
                  </a:cubicBezTo>
                  <a:close/>
                  <a:moveTo>
                    <a:pt x="1721" y="328"/>
                  </a:moveTo>
                  <a:cubicBezTo>
                    <a:pt x="1721" y="328"/>
                    <a:pt x="1725" y="316"/>
                    <a:pt x="1708" y="314"/>
                  </a:cubicBezTo>
                  <a:cubicBezTo>
                    <a:pt x="1691" y="311"/>
                    <a:pt x="1680" y="316"/>
                    <a:pt x="1680" y="316"/>
                  </a:cubicBezTo>
                  <a:cubicBezTo>
                    <a:pt x="1684" y="334"/>
                    <a:pt x="1684" y="334"/>
                    <a:pt x="1684" y="334"/>
                  </a:cubicBezTo>
                  <a:cubicBezTo>
                    <a:pt x="1693" y="333"/>
                    <a:pt x="1721" y="328"/>
                    <a:pt x="1721" y="328"/>
                  </a:cubicBezTo>
                  <a:close/>
                  <a:moveTo>
                    <a:pt x="230" y="434"/>
                  </a:moveTo>
                  <a:cubicBezTo>
                    <a:pt x="239" y="433"/>
                    <a:pt x="226" y="413"/>
                    <a:pt x="218" y="418"/>
                  </a:cubicBezTo>
                  <a:cubicBezTo>
                    <a:pt x="211" y="422"/>
                    <a:pt x="220" y="436"/>
                    <a:pt x="230" y="434"/>
                  </a:cubicBezTo>
                  <a:close/>
                  <a:moveTo>
                    <a:pt x="1652" y="438"/>
                  </a:moveTo>
                  <a:cubicBezTo>
                    <a:pt x="1674" y="429"/>
                    <a:pt x="1672" y="413"/>
                    <a:pt x="1672" y="413"/>
                  </a:cubicBezTo>
                  <a:cubicBezTo>
                    <a:pt x="1627" y="412"/>
                    <a:pt x="1627" y="412"/>
                    <a:pt x="1627" y="412"/>
                  </a:cubicBezTo>
                  <a:cubicBezTo>
                    <a:pt x="1627" y="412"/>
                    <a:pt x="1630" y="447"/>
                    <a:pt x="1652" y="438"/>
                  </a:cubicBezTo>
                  <a:close/>
                  <a:moveTo>
                    <a:pt x="1609" y="194"/>
                  </a:moveTo>
                  <a:cubicBezTo>
                    <a:pt x="1624" y="182"/>
                    <a:pt x="1618" y="175"/>
                    <a:pt x="1605" y="171"/>
                  </a:cubicBezTo>
                  <a:cubicBezTo>
                    <a:pt x="1592" y="167"/>
                    <a:pt x="1586" y="172"/>
                    <a:pt x="1586" y="172"/>
                  </a:cubicBezTo>
                  <a:cubicBezTo>
                    <a:pt x="1586" y="172"/>
                    <a:pt x="1601" y="202"/>
                    <a:pt x="1609" y="194"/>
                  </a:cubicBezTo>
                  <a:close/>
                  <a:moveTo>
                    <a:pt x="1918" y="353"/>
                  </a:moveTo>
                  <a:cubicBezTo>
                    <a:pt x="1937" y="362"/>
                    <a:pt x="1945" y="353"/>
                    <a:pt x="1930" y="346"/>
                  </a:cubicBezTo>
                  <a:cubicBezTo>
                    <a:pt x="1916" y="340"/>
                    <a:pt x="1910" y="349"/>
                    <a:pt x="1918" y="353"/>
                  </a:cubicBezTo>
                  <a:close/>
                  <a:moveTo>
                    <a:pt x="1950" y="413"/>
                  </a:moveTo>
                  <a:cubicBezTo>
                    <a:pt x="1959" y="413"/>
                    <a:pt x="1986" y="406"/>
                    <a:pt x="1986" y="406"/>
                  </a:cubicBezTo>
                  <a:cubicBezTo>
                    <a:pt x="1986" y="406"/>
                    <a:pt x="1962" y="396"/>
                    <a:pt x="1957" y="395"/>
                  </a:cubicBezTo>
                  <a:cubicBezTo>
                    <a:pt x="1953" y="394"/>
                    <a:pt x="1924" y="400"/>
                    <a:pt x="1924" y="400"/>
                  </a:cubicBezTo>
                  <a:cubicBezTo>
                    <a:pt x="1924" y="400"/>
                    <a:pt x="1940" y="413"/>
                    <a:pt x="1950" y="413"/>
                  </a:cubicBezTo>
                  <a:close/>
                  <a:moveTo>
                    <a:pt x="1145" y="370"/>
                  </a:moveTo>
                  <a:cubicBezTo>
                    <a:pt x="1142" y="380"/>
                    <a:pt x="1161" y="400"/>
                    <a:pt x="1153" y="409"/>
                  </a:cubicBezTo>
                  <a:cubicBezTo>
                    <a:pt x="1145" y="418"/>
                    <a:pt x="1122" y="424"/>
                    <a:pt x="1120" y="437"/>
                  </a:cubicBezTo>
                  <a:cubicBezTo>
                    <a:pt x="1119" y="451"/>
                    <a:pt x="1130" y="464"/>
                    <a:pt x="1130" y="464"/>
                  </a:cubicBezTo>
                  <a:cubicBezTo>
                    <a:pt x="1130" y="464"/>
                    <a:pt x="1114" y="478"/>
                    <a:pt x="1124" y="485"/>
                  </a:cubicBezTo>
                  <a:cubicBezTo>
                    <a:pt x="1135" y="492"/>
                    <a:pt x="1153" y="477"/>
                    <a:pt x="1157" y="489"/>
                  </a:cubicBezTo>
                  <a:cubicBezTo>
                    <a:pt x="1161" y="501"/>
                    <a:pt x="1153" y="510"/>
                    <a:pt x="1153" y="510"/>
                  </a:cubicBezTo>
                  <a:cubicBezTo>
                    <a:pt x="1164" y="524"/>
                    <a:pt x="1164" y="524"/>
                    <a:pt x="1164" y="524"/>
                  </a:cubicBezTo>
                  <a:cubicBezTo>
                    <a:pt x="1158" y="568"/>
                    <a:pt x="1158" y="568"/>
                    <a:pt x="1158" y="568"/>
                  </a:cubicBezTo>
                  <a:cubicBezTo>
                    <a:pt x="1158" y="568"/>
                    <a:pt x="1134" y="582"/>
                    <a:pt x="1146" y="606"/>
                  </a:cubicBezTo>
                  <a:cubicBezTo>
                    <a:pt x="1157" y="630"/>
                    <a:pt x="1173" y="630"/>
                    <a:pt x="1191" y="612"/>
                  </a:cubicBezTo>
                  <a:cubicBezTo>
                    <a:pt x="1208" y="595"/>
                    <a:pt x="1188" y="566"/>
                    <a:pt x="1188" y="566"/>
                  </a:cubicBezTo>
                  <a:cubicBezTo>
                    <a:pt x="1188" y="566"/>
                    <a:pt x="1209" y="551"/>
                    <a:pt x="1209" y="530"/>
                  </a:cubicBezTo>
                  <a:cubicBezTo>
                    <a:pt x="1208" y="508"/>
                    <a:pt x="1217" y="489"/>
                    <a:pt x="1210" y="476"/>
                  </a:cubicBezTo>
                  <a:cubicBezTo>
                    <a:pt x="1202" y="464"/>
                    <a:pt x="1198" y="439"/>
                    <a:pt x="1200" y="434"/>
                  </a:cubicBezTo>
                  <a:cubicBezTo>
                    <a:pt x="1201" y="429"/>
                    <a:pt x="1207" y="401"/>
                    <a:pt x="1217" y="419"/>
                  </a:cubicBezTo>
                  <a:cubicBezTo>
                    <a:pt x="1228" y="437"/>
                    <a:pt x="1228" y="468"/>
                    <a:pt x="1228" y="468"/>
                  </a:cubicBezTo>
                  <a:cubicBezTo>
                    <a:pt x="1251" y="494"/>
                    <a:pt x="1251" y="494"/>
                    <a:pt x="1251" y="494"/>
                  </a:cubicBezTo>
                  <a:cubicBezTo>
                    <a:pt x="1248" y="529"/>
                    <a:pt x="1248" y="529"/>
                    <a:pt x="1248" y="529"/>
                  </a:cubicBezTo>
                  <a:cubicBezTo>
                    <a:pt x="1265" y="551"/>
                    <a:pt x="1265" y="551"/>
                    <a:pt x="1265" y="551"/>
                  </a:cubicBezTo>
                  <a:cubicBezTo>
                    <a:pt x="1266" y="575"/>
                    <a:pt x="1266" y="575"/>
                    <a:pt x="1266" y="575"/>
                  </a:cubicBezTo>
                  <a:cubicBezTo>
                    <a:pt x="1275" y="624"/>
                    <a:pt x="1275" y="624"/>
                    <a:pt x="1275" y="624"/>
                  </a:cubicBezTo>
                  <a:cubicBezTo>
                    <a:pt x="1285" y="614"/>
                    <a:pt x="1285" y="614"/>
                    <a:pt x="1285" y="614"/>
                  </a:cubicBezTo>
                  <a:cubicBezTo>
                    <a:pt x="1312" y="622"/>
                    <a:pt x="1312" y="622"/>
                    <a:pt x="1312" y="622"/>
                  </a:cubicBezTo>
                  <a:cubicBezTo>
                    <a:pt x="1312" y="622"/>
                    <a:pt x="1314" y="605"/>
                    <a:pt x="1313" y="592"/>
                  </a:cubicBezTo>
                  <a:cubicBezTo>
                    <a:pt x="1312" y="579"/>
                    <a:pt x="1319" y="572"/>
                    <a:pt x="1319" y="572"/>
                  </a:cubicBezTo>
                  <a:cubicBezTo>
                    <a:pt x="1325" y="588"/>
                    <a:pt x="1325" y="588"/>
                    <a:pt x="1325" y="588"/>
                  </a:cubicBezTo>
                  <a:cubicBezTo>
                    <a:pt x="1325" y="588"/>
                    <a:pt x="1342" y="590"/>
                    <a:pt x="1344" y="574"/>
                  </a:cubicBezTo>
                  <a:cubicBezTo>
                    <a:pt x="1345" y="558"/>
                    <a:pt x="1341" y="546"/>
                    <a:pt x="1341" y="546"/>
                  </a:cubicBezTo>
                  <a:cubicBezTo>
                    <a:pt x="1341" y="546"/>
                    <a:pt x="1301" y="514"/>
                    <a:pt x="1303" y="502"/>
                  </a:cubicBezTo>
                  <a:cubicBezTo>
                    <a:pt x="1305" y="490"/>
                    <a:pt x="1324" y="477"/>
                    <a:pt x="1313" y="467"/>
                  </a:cubicBezTo>
                  <a:cubicBezTo>
                    <a:pt x="1301" y="457"/>
                    <a:pt x="1292" y="454"/>
                    <a:pt x="1291" y="446"/>
                  </a:cubicBezTo>
                  <a:cubicBezTo>
                    <a:pt x="1291" y="437"/>
                    <a:pt x="1304" y="418"/>
                    <a:pt x="1290" y="412"/>
                  </a:cubicBezTo>
                  <a:cubicBezTo>
                    <a:pt x="1277" y="407"/>
                    <a:pt x="1257" y="390"/>
                    <a:pt x="1257" y="390"/>
                  </a:cubicBezTo>
                  <a:cubicBezTo>
                    <a:pt x="1257" y="390"/>
                    <a:pt x="1279" y="395"/>
                    <a:pt x="1289" y="385"/>
                  </a:cubicBezTo>
                  <a:cubicBezTo>
                    <a:pt x="1298" y="376"/>
                    <a:pt x="1308" y="354"/>
                    <a:pt x="1308" y="354"/>
                  </a:cubicBezTo>
                  <a:cubicBezTo>
                    <a:pt x="1308" y="354"/>
                    <a:pt x="1347" y="356"/>
                    <a:pt x="1348" y="348"/>
                  </a:cubicBezTo>
                  <a:cubicBezTo>
                    <a:pt x="1349" y="339"/>
                    <a:pt x="1338" y="324"/>
                    <a:pt x="1328" y="323"/>
                  </a:cubicBezTo>
                  <a:cubicBezTo>
                    <a:pt x="1317" y="323"/>
                    <a:pt x="1310" y="341"/>
                    <a:pt x="1310" y="341"/>
                  </a:cubicBezTo>
                  <a:cubicBezTo>
                    <a:pt x="1310" y="341"/>
                    <a:pt x="1281" y="333"/>
                    <a:pt x="1269" y="337"/>
                  </a:cubicBezTo>
                  <a:cubicBezTo>
                    <a:pt x="1258" y="340"/>
                    <a:pt x="1252" y="369"/>
                    <a:pt x="1240" y="370"/>
                  </a:cubicBezTo>
                  <a:cubicBezTo>
                    <a:pt x="1229" y="370"/>
                    <a:pt x="1230" y="350"/>
                    <a:pt x="1213" y="340"/>
                  </a:cubicBezTo>
                  <a:cubicBezTo>
                    <a:pt x="1196" y="330"/>
                    <a:pt x="1188" y="333"/>
                    <a:pt x="1188" y="333"/>
                  </a:cubicBezTo>
                  <a:cubicBezTo>
                    <a:pt x="1188" y="333"/>
                    <a:pt x="1193" y="274"/>
                    <a:pt x="1209" y="273"/>
                  </a:cubicBezTo>
                  <a:cubicBezTo>
                    <a:pt x="1225" y="272"/>
                    <a:pt x="1255" y="283"/>
                    <a:pt x="1269" y="279"/>
                  </a:cubicBezTo>
                  <a:cubicBezTo>
                    <a:pt x="1282" y="276"/>
                    <a:pt x="1273" y="264"/>
                    <a:pt x="1284" y="266"/>
                  </a:cubicBezTo>
                  <a:cubicBezTo>
                    <a:pt x="1296" y="267"/>
                    <a:pt x="1349" y="293"/>
                    <a:pt x="1359" y="294"/>
                  </a:cubicBezTo>
                  <a:cubicBezTo>
                    <a:pt x="1370" y="294"/>
                    <a:pt x="1372" y="285"/>
                    <a:pt x="1379" y="281"/>
                  </a:cubicBezTo>
                  <a:cubicBezTo>
                    <a:pt x="1386" y="277"/>
                    <a:pt x="1399" y="283"/>
                    <a:pt x="1408" y="278"/>
                  </a:cubicBezTo>
                  <a:cubicBezTo>
                    <a:pt x="1417" y="272"/>
                    <a:pt x="1406" y="267"/>
                    <a:pt x="1415" y="258"/>
                  </a:cubicBezTo>
                  <a:cubicBezTo>
                    <a:pt x="1423" y="249"/>
                    <a:pt x="1443" y="240"/>
                    <a:pt x="1443" y="240"/>
                  </a:cubicBezTo>
                  <a:cubicBezTo>
                    <a:pt x="1436" y="220"/>
                    <a:pt x="1436" y="220"/>
                    <a:pt x="1436" y="220"/>
                  </a:cubicBezTo>
                  <a:cubicBezTo>
                    <a:pt x="1384" y="242"/>
                    <a:pt x="1384" y="242"/>
                    <a:pt x="1384" y="242"/>
                  </a:cubicBezTo>
                  <a:cubicBezTo>
                    <a:pt x="1384" y="242"/>
                    <a:pt x="1396" y="255"/>
                    <a:pt x="1381" y="256"/>
                  </a:cubicBezTo>
                  <a:cubicBezTo>
                    <a:pt x="1366" y="257"/>
                    <a:pt x="1353" y="248"/>
                    <a:pt x="1344" y="248"/>
                  </a:cubicBezTo>
                  <a:cubicBezTo>
                    <a:pt x="1336" y="248"/>
                    <a:pt x="1321" y="261"/>
                    <a:pt x="1311" y="259"/>
                  </a:cubicBezTo>
                  <a:cubicBezTo>
                    <a:pt x="1300" y="256"/>
                    <a:pt x="1275" y="244"/>
                    <a:pt x="1268" y="244"/>
                  </a:cubicBezTo>
                  <a:cubicBezTo>
                    <a:pt x="1261" y="244"/>
                    <a:pt x="1245" y="244"/>
                    <a:pt x="1245" y="244"/>
                  </a:cubicBezTo>
                  <a:cubicBezTo>
                    <a:pt x="1253" y="232"/>
                    <a:pt x="1253" y="232"/>
                    <a:pt x="1253" y="232"/>
                  </a:cubicBezTo>
                  <a:cubicBezTo>
                    <a:pt x="1253" y="232"/>
                    <a:pt x="1226" y="225"/>
                    <a:pt x="1223" y="228"/>
                  </a:cubicBezTo>
                  <a:cubicBezTo>
                    <a:pt x="1219" y="232"/>
                    <a:pt x="1224" y="249"/>
                    <a:pt x="1212" y="256"/>
                  </a:cubicBezTo>
                  <a:cubicBezTo>
                    <a:pt x="1201" y="263"/>
                    <a:pt x="1179" y="261"/>
                    <a:pt x="1179" y="267"/>
                  </a:cubicBezTo>
                  <a:cubicBezTo>
                    <a:pt x="1179" y="273"/>
                    <a:pt x="1178" y="287"/>
                    <a:pt x="1178" y="287"/>
                  </a:cubicBezTo>
                  <a:cubicBezTo>
                    <a:pt x="1164" y="289"/>
                    <a:pt x="1164" y="289"/>
                    <a:pt x="1164" y="289"/>
                  </a:cubicBezTo>
                  <a:cubicBezTo>
                    <a:pt x="1174" y="336"/>
                    <a:pt x="1174" y="336"/>
                    <a:pt x="1174" y="336"/>
                  </a:cubicBezTo>
                  <a:cubicBezTo>
                    <a:pt x="1164" y="335"/>
                    <a:pt x="1164" y="335"/>
                    <a:pt x="1164" y="335"/>
                  </a:cubicBezTo>
                  <a:cubicBezTo>
                    <a:pt x="1164" y="335"/>
                    <a:pt x="1147" y="360"/>
                    <a:pt x="1145" y="370"/>
                  </a:cubicBezTo>
                  <a:close/>
                  <a:moveTo>
                    <a:pt x="1328" y="387"/>
                  </a:moveTo>
                  <a:cubicBezTo>
                    <a:pt x="1328" y="400"/>
                    <a:pt x="1328" y="400"/>
                    <a:pt x="1328" y="400"/>
                  </a:cubicBezTo>
                  <a:cubicBezTo>
                    <a:pt x="1328" y="400"/>
                    <a:pt x="1343" y="412"/>
                    <a:pt x="1350" y="395"/>
                  </a:cubicBezTo>
                  <a:cubicBezTo>
                    <a:pt x="1358" y="379"/>
                    <a:pt x="1328" y="387"/>
                    <a:pt x="1328" y="387"/>
                  </a:cubicBezTo>
                  <a:close/>
                  <a:moveTo>
                    <a:pt x="1127" y="743"/>
                  </a:moveTo>
                  <a:cubicBezTo>
                    <a:pt x="1118" y="740"/>
                    <a:pt x="1111" y="746"/>
                    <a:pt x="1111" y="746"/>
                  </a:cubicBezTo>
                  <a:cubicBezTo>
                    <a:pt x="1080" y="739"/>
                    <a:pt x="1080" y="739"/>
                    <a:pt x="1080" y="739"/>
                  </a:cubicBezTo>
                  <a:cubicBezTo>
                    <a:pt x="1099" y="766"/>
                    <a:pt x="1099" y="766"/>
                    <a:pt x="1099" y="766"/>
                  </a:cubicBezTo>
                  <a:cubicBezTo>
                    <a:pt x="1099" y="766"/>
                    <a:pt x="1126" y="793"/>
                    <a:pt x="1132" y="775"/>
                  </a:cubicBezTo>
                  <a:cubicBezTo>
                    <a:pt x="1137" y="758"/>
                    <a:pt x="1136" y="746"/>
                    <a:pt x="1127" y="743"/>
                  </a:cubicBezTo>
                  <a:close/>
                  <a:moveTo>
                    <a:pt x="1400" y="740"/>
                  </a:moveTo>
                  <a:cubicBezTo>
                    <a:pt x="1379" y="754"/>
                    <a:pt x="1379" y="754"/>
                    <a:pt x="1379" y="754"/>
                  </a:cubicBezTo>
                  <a:cubicBezTo>
                    <a:pt x="1400" y="759"/>
                    <a:pt x="1400" y="759"/>
                    <a:pt x="1400" y="759"/>
                  </a:cubicBezTo>
                  <a:lnTo>
                    <a:pt x="1400" y="740"/>
                  </a:lnTo>
                  <a:close/>
                  <a:moveTo>
                    <a:pt x="327" y="200"/>
                  </a:moveTo>
                  <a:cubicBezTo>
                    <a:pt x="315" y="190"/>
                    <a:pt x="304" y="196"/>
                    <a:pt x="310" y="212"/>
                  </a:cubicBezTo>
                  <a:cubicBezTo>
                    <a:pt x="314" y="226"/>
                    <a:pt x="339" y="209"/>
                    <a:pt x="327" y="200"/>
                  </a:cubicBezTo>
                  <a:close/>
                  <a:moveTo>
                    <a:pt x="1569" y="393"/>
                  </a:moveTo>
                  <a:cubicBezTo>
                    <a:pt x="1561" y="383"/>
                    <a:pt x="1542" y="370"/>
                    <a:pt x="1542" y="370"/>
                  </a:cubicBezTo>
                  <a:cubicBezTo>
                    <a:pt x="1540" y="400"/>
                    <a:pt x="1540" y="400"/>
                    <a:pt x="1540" y="400"/>
                  </a:cubicBezTo>
                  <a:cubicBezTo>
                    <a:pt x="1552" y="408"/>
                    <a:pt x="1578" y="404"/>
                    <a:pt x="1569" y="393"/>
                  </a:cubicBezTo>
                  <a:close/>
                  <a:moveTo>
                    <a:pt x="1543" y="318"/>
                  </a:moveTo>
                  <a:cubicBezTo>
                    <a:pt x="1552" y="325"/>
                    <a:pt x="1590" y="359"/>
                    <a:pt x="1599" y="356"/>
                  </a:cubicBezTo>
                  <a:cubicBezTo>
                    <a:pt x="1608" y="353"/>
                    <a:pt x="1598" y="340"/>
                    <a:pt x="1587" y="334"/>
                  </a:cubicBezTo>
                  <a:cubicBezTo>
                    <a:pt x="1577" y="328"/>
                    <a:pt x="1571" y="316"/>
                    <a:pt x="1581" y="306"/>
                  </a:cubicBezTo>
                  <a:cubicBezTo>
                    <a:pt x="1592" y="296"/>
                    <a:pt x="1611" y="306"/>
                    <a:pt x="1611" y="306"/>
                  </a:cubicBezTo>
                  <a:cubicBezTo>
                    <a:pt x="1620" y="299"/>
                    <a:pt x="1620" y="299"/>
                    <a:pt x="1620" y="299"/>
                  </a:cubicBezTo>
                  <a:cubicBezTo>
                    <a:pt x="1603" y="288"/>
                    <a:pt x="1603" y="288"/>
                    <a:pt x="1603" y="288"/>
                  </a:cubicBezTo>
                  <a:cubicBezTo>
                    <a:pt x="1603" y="288"/>
                    <a:pt x="1617" y="281"/>
                    <a:pt x="1620" y="269"/>
                  </a:cubicBezTo>
                  <a:cubicBezTo>
                    <a:pt x="1623" y="258"/>
                    <a:pt x="1608" y="250"/>
                    <a:pt x="1598" y="249"/>
                  </a:cubicBezTo>
                  <a:cubicBezTo>
                    <a:pt x="1587" y="247"/>
                    <a:pt x="1577" y="274"/>
                    <a:pt x="1565" y="275"/>
                  </a:cubicBezTo>
                  <a:cubicBezTo>
                    <a:pt x="1554" y="277"/>
                    <a:pt x="1557" y="250"/>
                    <a:pt x="1557" y="250"/>
                  </a:cubicBezTo>
                  <a:cubicBezTo>
                    <a:pt x="1557" y="250"/>
                    <a:pt x="1567" y="237"/>
                    <a:pt x="1570" y="227"/>
                  </a:cubicBezTo>
                  <a:cubicBezTo>
                    <a:pt x="1573" y="216"/>
                    <a:pt x="1567" y="211"/>
                    <a:pt x="1567" y="211"/>
                  </a:cubicBezTo>
                  <a:cubicBezTo>
                    <a:pt x="1576" y="184"/>
                    <a:pt x="1576" y="184"/>
                    <a:pt x="1576" y="184"/>
                  </a:cubicBezTo>
                  <a:cubicBezTo>
                    <a:pt x="1548" y="211"/>
                    <a:pt x="1548" y="211"/>
                    <a:pt x="1548" y="211"/>
                  </a:cubicBezTo>
                  <a:cubicBezTo>
                    <a:pt x="1548" y="230"/>
                    <a:pt x="1548" y="230"/>
                    <a:pt x="1548" y="230"/>
                  </a:cubicBezTo>
                  <a:cubicBezTo>
                    <a:pt x="1548" y="230"/>
                    <a:pt x="1525" y="240"/>
                    <a:pt x="1527" y="265"/>
                  </a:cubicBezTo>
                  <a:cubicBezTo>
                    <a:pt x="1529" y="281"/>
                    <a:pt x="1540" y="284"/>
                    <a:pt x="1543" y="293"/>
                  </a:cubicBezTo>
                  <a:cubicBezTo>
                    <a:pt x="1546" y="302"/>
                    <a:pt x="1535" y="310"/>
                    <a:pt x="1543" y="318"/>
                  </a:cubicBezTo>
                  <a:close/>
                  <a:moveTo>
                    <a:pt x="1505" y="474"/>
                  </a:moveTo>
                  <a:cubicBezTo>
                    <a:pt x="1496" y="464"/>
                    <a:pt x="1496" y="464"/>
                    <a:pt x="1496" y="464"/>
                  </a:cubicBezTo>
                  <a:cubicBezTo>
                    <a:pt x="1482" y="475"/>
                    <a:pt x="1482" y="475"/>
                    <a:pt x="1482" y="475"/>
                  </a:cubicBezTo>
                  <a:cubicBezTo>
                    <a:pt x="1482" y="475"/>
                    <a:pt x="1475" y="494"/>
                    <a:pt x="1489" y="503"/>
                  </a:cubicBezTo>
                  <a:cubicBezTo>
                    <a:pt x="1502" y="513"/>
                    <a:pt x="1521" y="509"/>
                    <a:pt x="1521" y="509"/>
                  </a:cubicBezTo>
                  <a:cubicBezTo>
                    <a:pt x="1529" y="498"/>
                    <a:pt x="1517" y="471"/>
                    <a:pt x="1517" y="471"/>
                  </a:cubicBezTo>
                  <a:lnTo>
                    <a:pt x="1505" y="474"/>
                  </a:lnTo>
                  <a:close/>
                  <a:moveTo>
                    <a:pt x="1437" y="740"/>
                  </a:moveTo>
                  <a:cubicBezTo>
                    <a:pt x="1487" y="728"/>
                    <a:pt x="1487" y="728"/>
                    <a:pt x="1487" y="728"/>
                  </a:cubicBezTo>
                  <a:cubicBezTo>
                    <a:pt x="1449" y="718"/>
                    <a:pt x="1449" y="718"/>
                    <a:pt x="1449" y="718"/>
                  </a:cubicBezTo>
                  <a:lnTo>
                    <a:pt x="1437" y="740"/>
                  </a:lnTo>
                  <a:close/>
                  <a:moveTo>
                    <a:pt x="1700" y="502"/>
                  </a:moveTo>
                  <a:cubicBezTo>
                    <a:pt x="1686" y="490"/>
                    <a:pt x="1686" y="490"/>
                    <a:pt x="1686" y="490"/>
                  </a:cubicBezTo>
                  <a:cubicBezTo>
                    <a:pt x="1687" y="479"/>
                    <a:pt x="1687" y="479"/>
                    <a:pt x="1687" y="479"/>
                  </a:cubicBezTo>
                  <a:cubicBezTo>
                    <a:pt x="1687" y="479"/>
                    <a:pt x="1681" y="458"/>
                    <a:pt x="1634" y="448"/>
                  </a:cubicBezTo>
                  <a:cubicBezTo>
                    <a:pt x="1618" y="444"/>
                    <a:pt x="1608" y="454"/>
                    <a:pt x="1597" y="459"/>
                  </a:cubicBezTo>
                  <a:cubicBezTo>
                    <a:pt x="1591" y="461"/>
                    <a:pt x="1583" y="457"/>
                    <a:pt x="1579" y="460"/>
                  </a:cubicBezTo>
                  <a:cubicBezTo>
                    <a:pt x="1566" y="468"/>
                    <a:pt x="1562" y="484"/>
                    <a:pt x="1566" y="487"/>
                  </a:cubicBezTo>
                  <a:cubicBezTo>
                    <a:pt x="1573" y="493"/>
                    <a:pt x="1580" y="479"/>
                    <a:pt x="1580" y="479"/>
                  </a:cubicBezTo>
                  <a:cubicBezTo>
                    <a:pt x="1580" y="479"/>
                    <a:pt x="1580" y="495"/>
                    <a:pt x="1591" y="497"/>
                  </a:cubicBezTo>
                  <a:cubicBezTo>
                    <a:pt x="1602" y="498"/>
                    <a:pt x="1604" y="478"/>
                    <a:pt x="1604" y="478"/>
                  </a:cubicBezTo>
                  <a:cubicBezTo>
                    <a:pt x="1604" y="478"/>
                    <a:pt x="1612" y="489"/>
                    <a:pt x="1619" y="489"/>
                  </a:cubicBezTo>
                  <a:cubicBezTo>
                    <a:pt x="1626" y="489"/>
                    <a:pt x="1644" y="474"/>
                    <a:pt x="1644" y="474"/>
                  </a:cubicBezTo>
                  <a:cubicBezTo>
                    <a:pt x="1654" y="509"/>
                    <a:pt x="1654" y="509"/>
                    <a:pt x="1654" y="509"/>
                  </a:cubicBezTo>
                  <a:cubicBezTo>
                    <a:pt x="1673" y="495"/>
                    <a:pt x="1673" y="495"/>
                    <a:pt x="1673" y="495"/>
                  </a:cubicBezTo>
                  <a:cubicBezTo>
                    <a:pt x="1695" y="519"/>
                    <a:pt x="1695" y="519"/>
                    <a:pt x="1695" y="519"/>
                  </a:cubicBezTo>
                  <a:lnTo>
                    <a:pt x="1700" y="502"/>
                  </a:lnTo>
                  <a:close/>
                  <a:moveTo>
                    <a:pt x="2179" y="454"/>
                  </a:moveTo>
                  <a:cubicBezTo>
                    <a:pt x="2153" y="435"/>
                    <a:pt x="2153" y="435"/>
                    <a:pt x="2153" y="435"/>
                  </a:cubicBezTo>
                  <a:cubicBezTo>
                    <a:pt x="2153" y="435"/>
                    <a:pt x="2134" y="437"/>
                    <a:pt x="2124" y="437"/>
                  </a:cubicBezTo>
                  <a:cubicBezTo>
                    <a:pt x="2113" y="437"/>
                    <a:pt x="2045" y="394"/>
                    <a:pt x="2032" y="390"/>
                  </a:cubicBezTo>
                  <a:cubicBezTo>
                    <a:pt x="2019" y="386"/>
                    <a:pt x="1998" y="405"/>
                    <a:pt x="1998" y="405"/>
                  </a:cubicBezTo>
                  <a:cubicBezTo>
                    <a:pt x="2007" y="423"/>
                    <a:pt x="2007" y="423"/>
                    <a:pt x="2007" y="423"/>
                  </a:cubicBezTo>
                  <a:cubicBezTo>
                    <a:pt x="1956" y="428"/>
                    <a:pt x="1956" y="428"/>
                    <a:pt x="1956" y="428"/>
                  </a:cubicBezTo>
                  <a:cubicBezTo>
                    <a:pt x="1960" y="446"/>
                    <a:pt x="1960" y="446"/>
                    <a:pt x="1960" y="446"/>
                  </a:cubicBezTo>
                  <a:cubicBezTo>
                    <a:pt x="1960" y="446"/>
                    <a:pt x="1950" y="477"/>
                    <a:pt x="1913" y="484"/>
                  </a:cubicBezTo>
                  <a:cubicBezTo>
                    <a:pt x="1876" y="492"/>
                    <a:pt x="1886" y="443"/>
                    <a:pt x="1880" y="443"/>
                  </a:cubicBezTo>
                  <a:cubicBezTo>
                    <a:pt x="1875" y="443"/>
                    <a:pt x="1869" y="465"/>
                    <a:pt x="1869" y="465"/>
                  </a:cubicBezTo>
                  <a:cubicBezTo>
                    <a:pt x="1869" y="465"/>
                    <a:pt x="1861" y="448"/>
                    <a:pt x="1861" y="439"/>
                  </a:cubicBezTo>
                  <a:cubicBezTo>
                    <a:pt x="1861" y="429"/>
                    <a:pt x="1862" y="402"/>
                    <a:pt x="1859" y="385"/>
                  </a:cubicBezTo>
                  <a:cubicBezTo>
                    <a:pt x="1857" y="368"/>
                    <a:pt x="1846" y="350"/>
                    <a:pt x="1846" y="350"/>
                  </a:cubicBezTo>
                  <a:cubicBezTo>
                    <a:pt x="1820" y="350"/>
                    <a:pt x="1820" y="350"/>
                    <a:pt x="1820" y="350"/>
                  </a:cubicBezTo>
                  <a:cubicBezTo>
                    <a:pt x="1820" y="350"/>
                    <a:pt x="1799" y="326"/>
                    <a:pt x="1781" y="326"/>
                  </a:cubicBezTo>
                  <a:cubicBezTo>
                    <a:pt x="1763" y="326"/>
                    <a:pt x="1744" y="351"/>
                    <a:pt x="1744" y="351"/>
                  </a:cubicBezTo>
                  <a:cubicBezTo>
                    <a:pt x="1728" y="355"/>
                    <a:pt x="1728" y="355"/>
                    <a:pt x="1728" y="355"/>
                  </a:cubicBezTo>
                  <a:cubicBezTo>
                    <a:pt x="1723" y="367"/>
                    <a:pt x="1723" y="367"/>
                    <a:pt x="1723" y="367"/>
                  </a:cubicBezTo>
                  <a:cubicBezTo>
                    <a:pt x="1711" y="373"/>
                    <a:pt x="1711" y="373"/>
                    <a:pt x="1711" y="373"/>
                  </a:cubicBezTo>
                  <a:cubicBezTo>
                    <a:pt x="1711" y="364"/>
                    <a:pt x="1711" y="364"/>
                    <a:pt x="1711" y="364"/>
                  </a:cubicBezTo>
                  <a:cubicBezTo>
                    <a:pt x="1711" y="364"/>
                    <a:pt x="1704" y="352"/>
                    <a:pt x="1693" y="356"/>
                  </a:cubicBezTo>
                  <a:cubicBezTo>
                    <a:pt x="1693" y="356"/>
                    <a:pt x="1693" y="369"/>
                    <a:pt x="1702" y="382"/>
                  </a:cubicBezTo>
                  <a:cubicBezTo>
                    <a:pt x="1711" y="395"/>
                    <a:pt x="1732" y="388"/>
                    <a:pt x="1749" y="393"/>
                  </a:cubicBezTo>
                  <a:cubicBezTo>
                    <a:pt x="1766" y="398"/>
                    <a:pt x="1751" y="406"/>
                    <a:pt x="1760" y="422"/>
                  </a:cubicBezTo>
                  <a:cubicBezTo>
                    <a:pt x="1769" y="437"/>
                    <a:pt x="1799" y="424"/>
                    <a:pt x="1821" y="424"/>
                  </a:cubicBezTo>
                  <a:cubicBezTo>
                    <a:pt x="1844" y="424"/>
                    <a:pt x="1845" y="429"/>
                    <a:pt x="1845" y="440"/>
                  </a:cubicBezTo>
                  <a:cubicBezTo>
                    <a:pt x="1845" y="450"/>
                    <a:pt x="1819" y="440"/>
                    <a:pt x="1811" y="441"/>
                  </a:cubicBezTo>
                  <a:cubicBezTo>
                    <a:pt x="1803" y="443"/>
                    <a:pt x="1785" y="454"/>
                    <a:pt x="1785" y="454"/>
                  </a:cubicBezTo>
                  <a:cubicBezTo>
                    <a:pt x="1785" y="454"/>
                    <a:pt x="1757" y="454"/>
                    <a:pt x="1751" y="461"/>
                  </a:cubicBezTo>
                  <a:cubicBezTo>
                    <a:pt x="1744" y="467"/>
                    <a:pt x="1774" y="474"/>
                    <a:pt x="1781" y="478"/>
                  </a:cubicBezTo>
                  <a:cubicBezTo>
                    <a:pt x="1787" y="482"/>
                    <a:pt x="1797" y="498"/>
                    <a:pt x="1797" y="498"/>
                  </a:cubicBezTo>
                  <a:cubicBezTo>
                    <a:pt x="1797" y="498"/>
                    <a:pt x="1781" y="517"/>
                    <a:pt x="1790" y="530"/>
                  </a:cubicBezTo>
                  <a:cubicBezTo>
                    <a:pt x="1799" y="543"/>
                    <a:pt x="1819" y="508"/>
                    <a:pt x="1819" y="504"/>
                  </a:cubicBezTo>
                  <a:cubicBezTo>
                    <a:pt x="1819" y="500"/>
                    <a:pt x="1838" y="471"/>
                    <a:pt x="1838" y="471"/>
                  </a:cubicBezTo>
                  <a:cubicBezTo>
                    <a:pt x="1836" y="496"/>
                    <a:pt x="1836" y="496"/>
                    <a:pt x="1836" y="496"/>
                  </a:cubicBezTo>
                  <a:cubicBezTo>
                    <a:pt x="1836" y="496"/>
                    <a:pt x="1849" y="509"/>
                    <a:pt x="1859" y="518"/>
                  </a:cubicBezTo>
                  <a:cubicBezTo>
                    <a:pt x="1870" y="528"/>
                    <a:pt x="1891" y="520"/>
                    <a:pt x="1891" y="520"/>
                  </a:cubicBezTo>
                  <a:cubicBezTo>
                    <a:pt x="1882" y="529"/>
                    <a:pt x="1882" y="529"/>
                    <a:pt x="1882" y="529"/>
                  </a:cubicBezTo>
                  <a:cubicBezTo>
                    <a:pt x="1903" y="549"/>
                    <a:pt x="1903" y="549"/>
                    <a:pt x="1903" y="549"/>
                  </a:cubicBezTo>
                  <a:cubicBezTo>
                    <a:pt x="1941" y="550"/>
                    <a:pt x="1941" y="550"/>
                    <a:pt x="1941" y="550"/>
                  </a:cubicBezTo>
                  <a:cubicBezTo>
                    <a:pt x="1964" y="567"/>
                    <a:pt x="1964" y="567"/>
                    <a:pt x="1964" y="567"/>
                  </a:cubicBezTo>
                  <a:cubicBezTo>
                    <a:pt x="1964" y="567"/>
                    <a:pt x="2006" y="581"/>
                    <a:pt x="2030" y="598"/>
                  </a:cubicBezTo>
                  <a:cubicBezTo>
                    <a:pt x="2053" y="615"/>
                    <a:pt x="2048" y="621"/>
                    <a:pt x="2049" y="640"/>
                  </a:cubicBezTo>
                  <a:cubicBezTo>
                    <a:pt x="2051" y="660"/>
                    <a:pt x="2073" y="669"/>
                    <a:pt x="2073" y="669"/>
                  </a:cubicBezTo>
                  <a:cubicBezTo>
                    <a:pt x="2073" y="669"/>
                    <a:pt x="2056" y="672"/>
                    <a:pt x="2056" y="681"/>
                  </a:cubicBezTo>
                  <a:cubicBezTo>
                    <a:pt x="2056" y="690"/>
                    <a:pt x="2082" y="691"/>
                    <a:pt x="2082" y="691"/>
                  </a:cubicBezTo>
                  <a:cubicBezTo>
                    <a:pt x="2066" y="697"/>
                    <a:pt x="2066" y="697"/>
                    <a:pt x="2066" y="697"/>
                  </a:cubicBezTo>
                  <a:cubicBezTo>
                    <a:pt x="2067" y="705"/>
                    <a:pt x="2067" y="705"/>
                    <a:pt x="2067" y="705"/>
                  </a:cubicBezTo>
                  <a:cubicBezTo>
                    <a:pt x="2072" y="708"/>
                    <a:pt x="2072" y="708"/>
                    <a:pt x="2072" y="708"/>
                  </a:cubicBezTo>
                  <a:cubicBezTo>
                    <a:pt x="2077" y="729"/>
                    <a:pt x="2077" y="729"/>
                    <a:pt x="2077" y="729"/>
                  </a:cubicBezTo>
                  <a:cubicBezTo>
                    <a:pt x="2067" y="750"/>
                    <a:pt x="2067" y="750"/>
                    <a:pt x="2067" y="750"/>
                  </a:cubicBezTo>
                  <a:cubicBezTo>
                    <a:pt x="2073" y="749"/>
                    <a:pt x="2078" y="748"/>
                    <a:pt x="2081" y="749"/>
                  </a:cubicBezTo>
                  <a:cubicBezTo>
                    <a:pt x="2086" y="752"/>
                    <a:pt x="2120" y="737"/>
                    <a:pt x="2120" y="737"/>
                  </a:cubicBezTo>
                  <a:cubicBezTo>
                    <a:pt x="2120" y="755"/>
                    <a:pt x="2120" y="755"/>
                    <a:pt x="2120" y="755"/>
                  </a:cubicBezTo>
                  <a:cubicBezTo>
                    <a:pt x="2120" y="755"/>
                    <a:pt x="2147" y="788"/>
                    <a:pt x="2159" y="797"/>
                  </a:cubicBezTo>
                  <a:cubicBezTo>
                    <a:pt x="2161" y="798"/>
                    <a:pt x="2162" y="799"/>
                    <a:pt x="2164" y="800"/>
                  </a:cubicBezTo>
                  <a:cubicBezTo>
                    <a:pt x="2166" y="768"/>
                    <a:pt x="2166" y="768"/>
                    <a:pt x="2166" y="768"/>
                  </a:cubicBezTo>
                  <a:cubicBezTo>
                    <a:pt x="2162" y="752"/>
                    <a:pt x="2162" y="752"/>
                    <a:pt x="2162" y="752"/>
                  </a:cubicBezTo>
                  <a:cubicBezTo>
                    <a:pt x="2162" y="752"/>
                    <a:pt x="2166" y="733"/>
                    <a:pt x="2168" y="726"/>
                  </a:cubicBezTo>
                  <a:cubicBezTo>
                    <a:pt x="2170" y="718"/>
                    <a:pt x="2173" y="681"/>
                    <a:pt x="2173" y="681"/>
                  </a:cubicBezTo>
                  <a:cubicBezTo>
                    <a:pt x="2173" y="681"/>
                    <a:pt x="2169" y="683"/>
                    <a:pt x="2158" y="676"/>
                  </a:cubicBezTo>
                  <a:cubicBezTo>
                    <a:pt x="2147" y="670"/>
                    <a:pt x="2174" y="652"/>
                    <a:pt x="2174" y="652"/>
                  </a:cubicBezTo>
                  <a:cubicBezTo>
                    <a:pt x="2174" y="652"/>
                    <a:pt x="2173" y="626"/>
                    <a:pt x="2171" y="611"/>
                  </a:cubicBezTo>
                  <a:cubicBezTo>
                    <a:pt x="2169" y="596"/>
                    <a:pt x="2177" y="574"/>
                    <a:pt x="2177" y="554"/>
                  </a:cubicBezTo>
                  <a:cubicBezTo>
                    <a:pt x="2177" y="538"/>
                    <a:pt x="2179" y="474"/>
                    <a:pt x="2179" y="454"/>
                  </a:cubicBezTo>
                  <a:close/>
                  <a:moveTo>
                    <a:pt x="228" y="446"/>
                  </a:moveTo>
                  <a:cubicBezTo>
                    <a:pt x="220" y="453"/>
                    <a:pt x="238" y="462"/>
                    <a:pt x="238" y="462"/>
                  </a:cubicBezTo>
                  <a:cubicBezTo>
                    <a:pt x="238" y="462"/>
                    <a:pt x="250" y="486"/>
                    <a:pt x="258" y="478"/>
                  </a:cubicBezTo>
                  <a:cubicBezTo>
                    <a:pt x="266" y="470"/>
                    <a:pt x="234" y="442"/>
                    <a:pt x="228" y="446"/>
                  </a:cubicBezTo>
                  <a:close/>
                  <a:moveTo>
                    <a:pt x="1691" y="739"/>
                  </a:moveTo>
                  <a:cubicBezTo>
                    <a:pt x="1701" y="745"/>
                    <a:pt x="1701" y="745"/>
                    <a:pt x="1701" y="745"/>
                  </a:cubicBezTo>
                  <a:cubicBezTo>
                    <a:pt x="1720" y="730"/>
                    <a:pt x="1720" y="730"/>
                    <a:pt x="1720" y="730"/>
                  </a:cubicBezTo>
                  <a:cubicBezTo>
                    <a:pt x="1720" y="730"/>
                    <a:pt x="1742" y="738"/>
                    <a:pt x="1742" y="716"/>
                  </a:cubicBezTo>
                  <a:cubicBezTo>
                    <a:pt x="1742" y="694"/>
                    <a:pt x="1691" y="720"/>
                    <a:pt x="1691" y="739"/>
                  </a:cubicBezTo>
                  <a:close/>
                  <a:moveTo>
                    <a:pt x="2068" y="714"/>
                  </a:moveTo>
                  <a:cubicBezTo>
                    <a:pt x="2067" y="713"/>
                    <a:pt x="2067" y="713"/>
                    <a:pt x="2067" y="713"/>
                  </a:cubicBezTo>
                  <a:cubicBezTo>
                    <a:pt x="2065" y="710"/>
                    <a:pt x="2056" y="702"/>
                    <a:pt x="2037" y="711"/>
                  </a:cubicBezTo>
                  <a:cubicBezTo>
                    <a:pt x="2015" y="721"/>
                    <a:pt x="2011" y="759"/>
                    <a:pt x="2011" y="759"/>
                  </a:cubicBezTo>
                  <a:cubicBezTo>
                    <a:pt x="2053" y="754"/>
                    <a:pt x="2053" y="754"/>
                    <a:pt x="2053" y="754"/>
                  </a:cubicBezTo>
                  <a:cubicBezTo>
                    <a:pt x="2053" y="754"/>
                    <a:pt x="2059" y="752"/>
                    <a:pt x="2066" y="750"/>
                  </a:cubicBezTo>
                  <a:cubicBezTo>
                    <a:pt x="2072" y="728"/>
                    <a:pt x="2072" y="728"/>
                    <a:pt x="2072" y="728"/>
                  </a:cubicBezTo>
                  <a:lnTo>
                    <a:pt x="2068" y="714"/>
                  </a:lnTo>
                  <a:close/>
                  <a:moveTo>
                    <a:pt x="1857" y="631"/>
                  </a:moveTo>
                  <a:cubicBezTo>
                    <a:pt x="1847" y="641"/>
                    <a:pt x="1847" y="641"/>
                    <a:pt x="1847" y="641"/>
                  </a:cubicBezTo>
                  <a:cubicBezTo>
                    <a:pt x="1849" y="676"/>
                    <a:pt x="1849" y="676"/>
                    <a:pt x="1849" y="676"/>
                  </a:cubicBezTo>
                  <a:cubicBezTo>
                    <a:pt x="1860" y="679"/>
                    <a:pt x="1860" y="679"/>
                    <a:pt x="1860" y="679"/>
                  </a:cubicBezTo>
                  <a:cubicBezTo>
                    <a:pt x="1859" y="666"/>
                    <a:pt x="1859" y="666"/>
                    <a:pt x="1859" y="666"/>
                  </a:cubicBezTo>
                  <a:cubicBezTo>
                    <a:pt x="1866" y="663"/>
                    <a:pt x="1866" y="663"/>
                    <a:pt x="1866" y="663"/>
                  </a:cubicBezTo>
                  <a:cubicBezTo>
                    <a:pt x="1865" y="648"/>
                    <a:pt x="1865" y="648"/>
                    <a:pt x="1865" y="648"/>
                  </a:cubicBezTo>
                  <a:cubicBezTo>
                    <a:pt x="1856" y="648"/>
                    <a:pt x="1856" y="648"/>
                    <a:pt x="1856" y="648"/>
                  </a:cubicBezTo>
                  <a:cubicBezTo>
                    <a:pt x="1868" y="628"/>
                    <a:pt x="1868" y="628"/>
                    <a:pt x="1868" y="628"/>
                  </a:cubicBezTo>
                  <a:cubicBezTo>
                    <a:pt x="1881" y="606"/>
                    <a:pt x="1881" y="606"/>
                    <a:pt x="1881" y="606"/>
                  </a:cubicBezTo>
                  <a:cubicBezTo>
                    <a:pt x="1862" y="610"/>
                    <a:pt x="1862" y="610"/>
                    <a:pt x="1862" y="610"/>
                  </a:cubicBezTo>
                  <a:lnTo>
                    <a:pt x="1857" y="631"/>
                  </a:lnTo>
                  <a:close/>
                  <a:moveTo>
                    <a:pt x="1427" y="403"/>
                  </a:moveTo>
                  <a:cubicBezTo>
                    <a:pt x="1427" y="403"/>
                    <a:pt x="1405" y="391"/>
                    <a:pt x="1398" y="394"/>
                  </a:cubicBezTo>
                  <a:cubicBezTo>
                    <a:pt x="1392" y="397"/>
                    <a:pt x="1389" y="406"/>
                    <a:pt x="1389" y="406"/>
                  </a:cubicBezTo>
                  <a:cubicBezTo>
                    <a:pt x="1396" y="420"/>
                    <a:pt x="1427" y="415"/>
                    <a:pt x="1427" y="415"/>
                  </a:cubicBezTo>
                  <a:cubicBezTo>
                    <a:pt x="1480" y="405"/>
                    <a:pt x="1480" y="405"/>
                    <a:pt x="1480" y="405"/>
                  </a:cubicBezTo>
                  <a:lnTo>
                    <a:pt x="1427" y="403"/>
                  </a:lnTo>
                  <a:close/>
                  <a:moveTo>
                    <a:pt x="879" y="696"/>
                  </a:moveTo>
                  <a:cubicBezTo>
                    <a:pt x="917" y="669"/>
                    <a:pt x="917" y="669"/>
                    <a:pt x="917" y="669"/>
                  </a:cubicBezTo>
                  <a:cubicBezTo>
                    <a:pt x="914" y="663"/>
                    <a:pt x="914" y="663"/>
                    <a:pt x="914" y="663"/>
                  </a:cubicBezTo>
                  <a:cubicBezTo>
                    <a:pt x="914" y="663"/>
                    <a:pt x="864" y="667"/>
                    <a:pt x="863" y="677"/>
                  </a:cubicBezTo>
                  <a:cubicBezTo>
                    <a:pt x="858" y="702"/>
                    <a:pt x="879" y="696"/>
                    <a:pt x="879" y="696"/>
                  </a:cubicBezTo>
                  <a:close/>
                  <a:moveTo>
                    <a:pt x="959" y="747"/>
                  </a:moveTo>
                  <a:cubicBezTo>
                    <a:pt x="949" y="747"/>
                    <a:pt x="933" y="747"/>
                    <a:pt x="933" y="747"/>
                  </a:cubicBezTo>
                  <a:cubicBezTo>
                    <a:pt x="930" y="766"/>
                    <a:pt x="930" y="766"/>
                    <a:pt x="930" y="766"/>
                  </a:cubicBezTo>
                  <a:cubicBezTo>
                    <a:pt x="930" y="766"/>
                    <a:pt x="940" y="794"/>
                    <a:pt x="953" y="783"/>
                  </a:cubicBezTo>
                  <a:cubicBezTo>
                    <a:pt x="966" y="773"/>
                    <a:pt x="969" y="747"/>
                    <a:pt x="959" y="747"/>
                  </a:cubicBezTo>
                  <a:close/>
                  <a:moveTo>
                    <a:pt x="475" y="622"/>
                  </a:moveTo>
                  <a:cubicBezTo>
                    <a:pt x="480" y="617"/>
                    <a:pt x="480" y="602"/>
                    <a:pt x="480" y="602"/>
                  </a:cubicBezTo>
                  <a:cubicBezTo>
                    <a:pt x="499" y="620"/>
                    <a:pt x="499" y="620"/>
                    <a:pt x="499" y="620"/>
                  </a:cubicBezTo>
                  <a:cubicBezTo>
                    <a:pt x="499" y="620"/>
                    <a:pt x="507" y="597"/>
                    <a:pt x="507" y="581"/>
                  </a:cubicBezTo>
                  <a:cubicBezTo>
                    <a:pt x="507" y="565"/>
                    <a:pt x="516" y="521"/>
                    <a:pt x="516" y="521"/>
                  </a:cubicBezTo>
                  <a:cubicBezTo>
                    <a:pt x="516" y="521"/>
                    <a:pt x="507" y="516"/>
                    <a:pt x="507" y="506"/>
                  </a:cubicBezTo>
                  <a:cubicBezTo>
                    <a:pt x="507" y="497"/>
                    <a:pt x="526" y="482"/>
                    <a:pt x="520" y="477"/>
                  </a:cubicBezTo>
                  <a:cubicBezTo>
                    <a:pt x="515" y="472"/>
                    <a:pt x="510" y="468"/>
                    <a:pt x="510" y="468"/>
                  </a:cubicBezTo>
                  <a:cubicBezTo>
                    <a:pt x="502" y="437"/>
                    <a:pt x="502" y="437"/>
                    <a:pt x="502" y="437"/>
                  </a:cubicBezTo>
                  <a:cubicBezTo>
                    <a:pt x="474" y="438"/>
                    <a:pt x="474" y="438"/>
                    <a:pt x="474" y="438"/>
                  </a:cubicBezTo>
                  <a:cubicBezTo>
                    <a:pt x="474" y="438"/>
                    <a:pt x="478" y="420"/>
                    <a:pt x="471" y="416"/>
                  </a:cubicBezTo>
                  <a:cubicBezTo>
                    <a:pt x="464" y="412"/>
                    <a:pt x="450" y="413"/>
                    <a:pt x="450" y="413"/>
                  </a:cubicBezTo>
                  <a:cubicBezTo>
                    <a:pt x="444" y="366"/>
                    <a:pt x="444" y="366"/>
                    <a:pt x="444" y="366"/>
                  </a:cubicBezTo>
                  <a:cubicBezTo>
                    <a:pt x="444" y="366"/>
                    <a:pt x="402" y="370"/>
                    <a:pt x="399" y="357"/>
                  </a:cubicBezTo>
                  <a:cubicBezTo>
                    <a:pt x="396" y="344"/>
                    <a:pt x="410" y="328"/>
                    <a:pt x="410" y="328"/>
                  </a:cubicBezTo>
                  <a:cubicBezTo>
                    <a:pt x="394" y="326"/>
                    <a:pt x="394" y="326"/>
                    <a:pt x="394" y="326"/>
                  </a:cubicBezTo>
                  <a:cubicBezTo>
                    <a:pt x="394" y="326"/>
                    <a:pt x="419" y="297"/>
                    <a:pt x="410" y="289"/>
                  </a:cubicBezTo>
                  <a:cubicBezTo>
                    <a:pt x="400" y="281"/>
                    <a:pt x="358" y="300"/>
                    <a:pt x="358" y="300"/>
                  </a:cubicBezTo>
                  <a:cubicBezTo>
                    <a:pt x="358" y="300"/>
                    <a:pt x="383" y="276"/>
                    <a:pt x="375" y="272"/>
                  </a:cubicBezTo>
                  <a:cubicBezTo>
                    <a:pt x="367" y="268"/>
                    <a:pt x="343" y="264"/>
                    <a:pt x="343" y="264"/>
                  </a:cubicBezTo>
                  <a:cubicBezTo>
                    <a:pt x="343" y="264"/>
                    <a:pt x="354" y="256"/>
                    <a:pt x="340" y="238"/>
                  </a:cubicBezTo>
                  <a:cubicBezTo>
                    <a:pt x="327" y="221"/>
                    <a:pt x="304" y="220"/>
                    <a:pt x="304" y="220"/>
                  </a:cubicBezTo>
                  <a:cubicBezTo>
                    <a:pt x="304" y="220"/>
                    <a:pt x="298" y="200"/>
                    <a:pt x="291" y="192"/>
                  </a:cubicBezTo>
                  <a:cubicBezTo>
                    <a:pt x="284" y="184"/>
                    <a:pt x="275" y="190"/>
                    <a:pt x="275" y="190"/>
                  </a:cubicBezTo>
                  <a:cubicBezTo>
                    <a:pt x="279" y="205"/>
                    <a:pt x="279" y="205"/>
                    <a:pt x="279" y="205"/>
                  </a:cubicBezTo>
                  <a:cubicBezTo>
                    <a:pt x="279" y="205"/>
                    <a:pt x="254" y="186"/>
                    <a:pt x="248" y="180"/>
                  </a:cubicBezTo>
                  <a:cubicBezTo>
                    <a:pt x="243" y="173"/>
                    <a:pt x="232" y="146"/>
                    <a:pt x="232" y="146"/>
                  </a:cubicBezTo>
                  <a:cubicBezTo>
                    <a:pt x="232" y="146"/>
                    <a:pt x="202" y="125"/>
                    <a:pt x="188" y="113"/>
                  </a:cubicBezTo>
                  <a:cubicBezTo>
                    <a:pt x="175" y="101"/>
                    <a:pt x="152" y="82"/>
                    <a:pt x="152" y="82"/>
                  </a:cubicBezTo>
                  <a:cubicBezTo>
                    <a:pt x="152" y="82"/>
                    <a:pt x="156" y="77"/>
                    <a:pt x="151" y="72"/>
                  </a:cubicBezTo>
                  <a:cubicBezTo>
                    <a:pt x="146" y="66"/>
                    <a:pt x="139" y="60"/>
                    <a:pt x="139" y="60"/>
                  </a:cubicBezTo>
                  <a:cubicBezTo>
                    <a:pt x="139" y="60"/>
                    <a:pt x="128" y="41"/>
                    <a:pt x="120" y="34"/>
                  </a:cubicBezTo>
                  <a:cubicBezTo>
                    <a:pt x="112" y="28"/>
                    <a:pt x="104" y="29"/>
                    <a:pt x="104" y="29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27" y="0"/>
                    <a:pt x="16" y="2"/>
                  </a:cubicBezTo>
                  <a:cubicBezTo>
                    <a:pt x="6" y="5"/>
                    <a:pt x="0" y="29"/>
                    <a:pt x="7" y="41"/>
                  </a:cubicBezTo>
                  <a:cubicBezTo>
                    <a:pt x="14" y="53"/>
                    <a:pt x="88" y="121"/>
                    <a:pt x="88" y="121"/>
                  </a:cubicBezTo>
                  <a:cubicBezTo>
                    <a:pt x="111" y="157"/>
                    <a:pt x="111" y="157"/>
                    <a:pt x="111" y="157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19" y="154"/>
                    <a:pt x="122" y="178"/>
                    <a:pt x="128" y="184"/>
                  </a:cubicBezTo>
                  <a:cubicBezTo>
                    <a:pt x="135" y="189"/>
                    <a:pt x="170" y="202"/>
                    <a:pt x="178" y="218"/>
                  </a:cubicBezTo>
                  <a:cubicBezTo>
                    <a:pt x="186" y="234"/>
                    <a:pt x="194" y="266"/>
                    <a:pt x="194" y="266"/>
                  </a:cubicBezTo>
                  <a:cubicBezTo>
                    <a:pt x="194" y="266"/>
                    <a:pt x="191" y="301"/>
                    <a:pt x="199" y="301"/>
                  </a:cubicBezTo>
                  <a:cubicBezTo>
                    <a:pt x="207" y="301"/>
                    <a:pt x="219" y="293"/>
                    <a:pt x="222" y="302"/>
                  </a:cubicBezTo>
                  <a:cubicBezTo>
                    <a:pt x="224" y="312"/>
                    <a:pt x="230" y="328"/>
                    <a:pt x="230" y="328"/>
                  </a:cubicBezTo>
                  <a:cubicBezTo>
                    <a:pt x="255" y="349"/>
                    <a:pt x="255" y="349"/>
                    <a:pt x="255" y="349"/>
                  </a:cubicBezTo>
                  <a:cubicBezTo>
                    <a:pt x="254" y="365"/>
                    <a:pt x="254" y="365"/>
                    <a:pt x="254" y="365"/>
                  </a:cubicBezTo>
                  <a:cubicBezTo>
                    <a:pt x="275" y="408"/>
                    <a:pt x="275" y="408"/>
                    <a:pt x="275" y="408"/>
                  </a:cubicBezTo>
                  <a:cubicBezTo>
                    <a:pt x="275" y="408"/>
                    <a:pt x="268" y="421"/>
                    <a:pt x="278" y="436"/>
                  </a:cubicBezTo>
                  <a:cubicBezTo>
                    <a:pt x="287" y="450"/>
                    <a:pt x="296" y="453"/>
                    <a:pt x="296" y="453"/>
                  </a:cubicBezTo>
                  <a:cubicBezTo>
                    <a:pt x="296" y="453"/>
                    <a:pt x="306" y="477"/>
                    <a:pt x="314" y="485"/>
                  </a:cubicBezTo>
                  <a:cubicBezTo>
                    <a:pt x="322" y="493"/>
                    <a:pt x="343" y="501"/>
                    <a:pt x="343" y="501"/>
                  </a:cubicBezTo>
                  <a:cubicBezTo>
                    <a:pt x="343" y="526"/>
                    <a:pt x="343" y="526"/>
                    <a:pt x="343" y="526"/>
                  </a:cubicBezTo>
                  <a:cubicBezTo>
                    <a:pt x="343" y="526"/>
                    <a:pt x="392" y="568"/>
                    <a:pt x="395" y="572"/>
                  </a:cubicBezTo>
                  <a:cubicBezTo>
                    <a:pt x="398" y="576"/>
                    <a:pt x="411" y="577"/>
                    <a:pt x="411" y="577"/>
                  </a:cubicBezTo>
                  <a:cubicBezTo>
                    <a:pt x="411" y="577"/>
                    <a:pt x="422" y="602"/>
                    <a:pt x="430" y="606"/>
                  </a:cubicBezTo>
                  <a:cubicBezTo>
                    <a:pt x="438" y="610"/>
                    <a:pt x="440" y="632"/>
                    <a:pt x="444" y="630"/>
                  </a:cubicBezTo>
                  <a:cubicBezTo>
                    <a:pt x="448" y="629"/>
                    <a:pt x="442" y="608"/>
                    <a:pt x="447" y="605"/>
                  </a:cubicBezTo>
                  <a:cubicBezTo>
                    <a:pt x="452" y="602"/>
                    <a:pt x="470" y="628"/>
                    <a:pt x="475" y="622"/>
                  </a:cubicBezTo>
                  <a:close/>
                  <a:moveTo>
                    <a:pt x="1416" y="798"/>
                  </a:moveTo>
                  <a:cubicBezTo>
                    <a:pt x="1409" y="784"/>
                    <a:pt x="1409" y="784"/>
                    <a:pt x="1409" y="784"/>
                  </a:cubicBezTo>
                  <a:cubicBezTo>
                    <a:pt x="1404" y="785"/>
                    <a:pt x="1397" y="786"/>
                    <a:pt x="1392" y="790"/>
                  </a:cubicBezTo>
                  <a:cubicBezTo>
                    <a:pt x="1380" y="797"/>
                    <a:pt x="1380" y="812"/>
                    <a:pt x="1380" y="812"/>
                  </a:cubicBezTo>
                  <a:cubicBezTo>
                    <a:pt x="1380" y="812"/>
                    <a:pt x="1369" y="809"/>
                    <a:pt x="1357" y="820"/>
                  </a:cubicBezTo>
                  <a:cubicBezTo>
                    <a:pt x="1345" y="832"/>
                    <a:pt x="1322" y="855"/>
                    <a:pt x="1342" y="870"/>
                  </a:cubicBezTo>
                  <a:cubicBezTo>
                    <a:pt x="1353" y="879"/>
                    <a:pt x="1393" y="842"/>
                    <a:pt x="1408" y="828"/>
                  </a:cubicBezTo>
                  <a:cubicBezTo>
                    <a:pt x="1405" y="827"/>
                    <a:pt x="1402" y="823"/>
                    <a:pt x="1406" y="817"/>
                  </a:cubicBezTo>
                  <a:cubicBezTo>
                    <a:pt x="1412" y="805"/>
                    <a:pt x="1416" y="798"/>
                    <a:pt x="1416" y="798"/>
                  </a:cubicBezTo>
                  <a:close/>
                  <a:moveTo>
                    <a:pt x="921" y="753"/>
                  </a:moveTo>
                  <a:cubicBezTo>
                    <a:pt x="921" y="734"/>
                    <a:pt x="894" y="734"/>
                    <a:pt x="879" y="731"/>
                  </a:cubicBezTo>
                  <a:cubicBezTo>
                    <a:pt x="865" y="728"/>
                    <a:pt x="866" y="759"/>
                    <a:pt x="866" y="759"/>
                  </a:cubicBezTo>
                  <a:cubicBezTo>
                    <a:pt x="841" y="740"/>
                    <a:pt x="841" y="740"/>
                    <a:pt x="841" y="740"/>
                  </a:cubicBezTo>
                  <a:cubicBezTo>
                    <a:pt x="841" y="740"/>
                    <a:pt x="847" y="724"/>
                    <a:pt x="847" y="700"/>
                  </a:cubicBezTo>
                  <a:cubicBezTo>
                    <a:pt x="847" y="677"/>
                    <a:pt x="799" y="686"/>
                    <a:pt x="799" y="686"/>
                  </a:cubicBezTo>
                  <a:cubicBezTo>
                    <a:pt x="778" y="674"/>
                    <a:pt x="778" y="674"/>
                    <a:pt x="778" y="674"/>
                  </a:cubicBezTo>
                  <a:cubicBezTo>
                    <a:pt x="775" y="659"/>
                    <a:pt x="775" y="659"/>
                    <a:pt x="775" y="659"/>
                  </a:cubicBezTo>
                  <a:cubicBezTo>
                    <a:pt x="749" y="659"/>
                    <a:pt x="749" y="659"/>
                    <a:pt x="749" y="659"/>
                  </a:cubicBezTo>
                  <a:cubicBezTo>
                    <a:pt x="749" y="659"/>
                    <a:pt x="744" y="680"/>
                    <a:pt x="744" y="684"/>
                  </a:cubicBezTo>
                  <a:cubicBezTo>
                    <a:pt x="744" y="688"/>
                    <a:pt x="709" y="677"/>
                    <a:pt x="693" y="674"/>
                  </a:cubicBezTo>
                  <a:cubicBezTo>
                    <a:pt x="677" y="671"/>
                    <a:pt x="648" y="672"/>
                    <a:pt x="648" y="672"/>
                  </a:cubicBezTo>
                  <a:cubicBezTo>
                    <a:pt x="648" y="672"/>
                    <a:pt x="630" y="650"/>
                    <a:pt x="621" y="640"/>
                  </a:cubicBezTo>
                  <a:cubicBezTo>
                    <a:pt x="612" y="630"/>
                    <a:pt x="598" y="641"/>
                    <a:pt x="598" y="641"/>
                  </a:cubicBezTo>
                  <a:cubicBezTo>
                    <a:pt x="598" y="641"/>
                    <a:pt x="573" y="628"/>
                    <a:pt x="567" y="627"/>
                  </a:cubicBezTo>
                  <a:cubicBezTo>
                    <a:pt x="561" y="625"/>
                    <a:pt x="535" y="624"/>
                    <a:pt x="535" y="624"/>
                  </a:cubicBezTo>
                  <a:cubicBezTo>
                    <a:pt x="535" y="624"/>
                    <a:pt x="524" y="615"/>
                    <a:pt x="511" y="619"/>
                  </a:cubicBezTo>
                  <a:cubicBezTo>
                    <a:pt x="498" y="624"/>
                    <a:pt x="498" y="652"/>
                    <a:pt x="491" y="656"/>
                  </a:cubicBezTo>
                  <a:cubicBezTo>
                    <a:pt x="483" y="661"/>
                    <a:pt x="469" y="666"/>
                    <a:pt x="472" y="677"/>
                  </a:cubicBezTo>
                  <a:cubicBezTo>
                    <a:pt x="496" y="672"/>
                    <a:pt x="496" y="672"/>
                    <a:pt x="496" y="672"/>
                  </a:cubicBezTo>
                  <a:cubicBezTo>
                    <a:pt x="527" y="675"/>
                    <a:pt x="527" y="675"/>
                    <a:pt x="527" y="675"/>
                  </a:cubicBezTo>
                  <a:cubicBezTo>
                    <a:pt x="527" y="675"/>
                    <a:pt x="504" y="688"/>
                    <a:pt x="514" y="699"/>
                  </a:cubicBezTo>
                  <a:cubicBezTo>
                    <a:pt x="524" y="709"/>
                    <a:pt x="558" y="691"/>
                    <a:pt x="558" y="691"/>
                  </a:cubicBezTo>
                  <a:cubicBezTo>
                    <a:pt x="558" y="691"/>
                    <a:pt x="608" y="718"/>
                    <a:pt x="623" y="722"/>
                  </a:cubicBezTo>
                  <a:cubicBezTo>
                    <a:pt x="637" y="727"/>
                    <a:pt x="687" y="728"/>
                    <a:pt x="705" y="728"/>
                  </a:cubicBezTo>
                  <a:cubicBezTo>
                    <a:pt x="722" y="728"/>
                    <a:pt x="727" y="747"/>
                    <a:pt x="737" y="756"/>
                  </a:cubicBezTo>
                  <a:cubicBezTo>
                    <a:pt x="747" y="765"/>
                    <a:pt x="780" y="771"/>
                    <a:pt x="794" y="772"/>
                  </a:cubicBezTo>
                  <a:cubicBezTo>
                    <a:pt x="809" y="774"/>
                    <a:pt x="815" y="771"/>
                    <a:pt x="837" y="772"/>
                  </a:cubicBezTo>
                  <a:cubicBezTo>
                    <a:pt x="859" y="774"/>
                    <a:pt x="877" y="801"/>
                    <a:pt x="885" y="806"/>
                  </a:cubicBezTo>
                  <a:cubicBezTo>
                    <a:pt x="894" y="810"/>
                    <a:pt x="904" y="801"/>
                    <a:pt x="904" y="801"/>
                  </a:cubicBezTo>
                  <a:cubicBezTo>
                    <a:pt x="904" y="801"/>
                    <a:pt x="921" y="810"/>
                    <a:pt x="921" y="804"/>
                  </a:cubicBezTo>
                  <a:cubicBezTo>
                    <a:pt x="921" y="793"/>
                    <a:pt x="910" y="778"/>
                    <a:pt x="910" y="778"/>
                  </a:cubicBezTo>
                  <a:cubicBezTo>
                    <a:pt x="910" y="778"/>
                    <a:pt x="921" y="772"/>
                    <a:pt x="921" y="753"/>
                  </a:cubicBezTo>
                  <a:close/>
                  <a:moveTo>
                    <a:pt x="1004" y="484"/>
                  </a:moveTo>
                  <a:cubicBezTo>
                    <a:pt x="1004" y="484"/>
                    <a:pt x="1025" y="467"/>
                    <a:pt x="1031" y="460"/>
                  </a:cubicBezTo>
                  <a:cubicBezTo>
                    <a:pt x="1036" y="453"/>
                    <a:pt x="1055" y="403"/>
                    <a:pt x="1055" y="403"/>
                  </a:cubicBezTo>
                  <a:cubicBezTo>
                    <a:pt x="1055" y="403"/>
                    <a:pt x="1037" y="401"/>
                    <a:pt x="1034" y="388"/>
                  </a:cubicBezTo>
                  <a:cubicBezTo>
                    <a:pt x="1031" y="376"/>
                    <a:pt x="1037" y="361"/>
                    <a:pt x="1042" y="348"/>
                  </a:cubicBezTo>
                  <a:cubicBezTo>
                    <a:pt x="1048" y="334"/>
                    <a:pt x="1070" y="336"/>
                    <a:pt x="1083" y="334"/>
                  </a:cubicBezTo>
                  <a:cubicBezTo>
                    <a:pt x="1095" y="333"/>
                    <a:pt x="1102" y="309"/>
                    <a:pt x="1101" y="301"/>
                  </a:cubicBezTo>
                  <a:cubicBezTo>
                    <a:pt x="1099" y="293"/>
                    <a:pt x="1079" y="301"/>
                    <a:pt x="1079" y="301"/>
                  </a:cubicBezTo>
                  <a:cubicBezTo>
                    <a:pt x="1079" y="301"/>
                    <a:pt x="1076" y="288"/>
                    <a:pt x="1088" y="275"/>
                  </a:cubicBezTo>
                  <a:cubicBezTo>
                    <a:pt x="1101" y="264"/>
                    <a:pt x="1128" y="269"/>
                    <a:pt x="1139" y="271"/>
                  </a:cubicBezTo>
                  <a:cubicBezTo>
                    <a:pt x="1150" y="274"/>
                    <a:pt x="1150" y="257"/>
                    <a:pt x="1150" y="257"/>
                  </a:cubicBezTo>
                  <a:cubicBezTo>
                    <a:pt x="1124" y="235"/>
                    <a:pt x="1124" y="235"/>
                    <a:pt x="1124" y="235"/>
                  </a:cubicBezTo>
                  <a:cubicBezTo>
                    <a:pt x="1124" y="208"/>
                    <a:pt x="1124" y="208"/>
                    <a:pt x="1124" y="208"/>
                  </a:cubicBezTo>
                  <a:cubicBezTo>
                    <a:pt x="1124" y="208"/>
                    <a:pt x="1105" y="207"/>
                    <a:pt x="1105" y="199"/>
                  </a:cubicBezTo>
                  <a:cubicBezTo>
                    <a:pt x="1105" y="191"/>
                    <a:pt x="1117" y="179"/>
                    <a:pt x="1116" y="168"/>
                  </a:cubicBezTo>
                  <a:cubicBezTo>
                    <a:pt x="1115" y="156"/>
                    <a:pt x="1082" y="153"/>
                    <a:pt x="1082" y="153"/>
                  </a:cubicBezTo>
                  <a:cubicBezTo>
                    <a:pt x="1093" y="135"/>
                    <a:pt x="1093" y="135"/>
                    <a:pt x="1093" y="135"/>
                  </a:cubicBezTo>
                  <a:cubicBezTo>
                    <a:pt x="1082" y="130"/>
                    <a:pt x="1082" y="130"/>
                    <a:pt x="1082" y="130"/>
                  </a:cubicBezTo>
                  <a:cubicBezTo>
                    <a:pt x="1086" y="110"/>
                    <a:pt x="1086" y="110"/>
                    <a:pt x="1086" y="110"/>
                  </a:cubicBezTo>
                  <a:cubicBezTo>
                    <a:pt x="1078" y="99"/>
                    <a:pt x="1078" y="99"/>
                    <a:pt x="1078" y="99"/>
                  </a:cubicBezTo>
                  <a:cubicBezTo>
                    <a:pt x="1070" y="92"/>
                    <a:pt x="1051" y="75"/>
                    <a:pt x="1047" y="75"/>
                  </a:cubicBezTo>
                  <a:cubicBezTo>
                    <a:pt x="1043" y="74"/>
                    <a:pt x="1002" y="73"/>
                    <a:pt x="987" y="74"/>
                  </a:cubicBezTo>
                  <a:cubicBezTo>
                    <a:pt x="973" y="75"/>
                    <a:pt x="980" y="97"/>
                    <a:pt x="978" y="113"/>
                  </a:cubicBezTo>
                  <a:cubicBezTo>
                    <a:pt x="977" y="129"/>
                    <a:pt x="968" y="144"/>
                    <a:pt x="968" y="144"/>
                  </a:cubicBezTo>
                  <a:cubicBezTo>
                    <a:pt x="968" y="144"/>
                    <a:pt x="961" y="143"/>
                    <a:pt x="955" y="152"/>
                  </a:cubicBezTo>
                  <a:cubicBezTo>
                    <a:pt x="948" y="161"/>
                    <a:pt x="960" y="177"/>
                    <a:pt x="960" y="177"/>
                  </a:cubicBezTo>
                  <a:cubicBezTo>
                    <a:pt x="938" y="196"/>
                    <a:pt x="938" y="196"/>
                    <a:pt x="938" y="196"/>
                  </a:cubicBezTo>
                  <a:cubicBezTo>
                    <a:pt x="939" y="208"/>
                    <a:pt x="939" y="208"/>
                    <a:pt x="939" y="208"/>
                  </a:cubicBezTo>
                  <a:cubicBezTo>
                    <a:pt x="922" y="231"/>
                    <a:pt x="922" y="231"/>
                    <a:pt x="922" y="231"/>
                  </a:cubicBezTo>
                  <a:cubicBezTo>
                    <a:pt x="906" y="231"/>
                    <a:pt x="906" y="231"/>
                    <a:pt x="906" y="231"/>
                  </a:cubicBezTo>
                  <a:cubicBezTo>
                    <a:pt x="906" y="231"/>
                    <a:pt x="888" y="244"/>
                    <a:pt x="885" y="244"/>
                  </a:cubicBezTo>
                  <a:cubicBezTo>
                    <a:pt x="882" y="245"/>
                    <a:pt x="857" y="229"/>
                    <a:pt x="853" y="227"/>
                  </a:cubicBezTo>
                  <a:cubicBezTo>
                    <a:pt x="849" y="224"/>
                    <a:pt x="824" y="227"/>
                    <a:pt x="824" y="227"/>
                  </a:cubicBezTo>
                  <a:cubicBezTo>
                    <a:pt x="824" y="227"/>
                    <a:pt x="811" y="248"/>
                    <a:pt x="801" y="254"/>
                  </a:cubicBezTo>
                  <a:cubicBezTo>
                    <a:pt x="791" y="260"/>
                    <a:pt x="778" y="251"/>
                    <a:pt x="764" y="251"/>
                  </a:cubicBezTo>
                  <a:cubicBezTo>
                    <a:pt x="749" y="251"/>
                    <a:pt x="750" y="259"/>
                    <a:pt x="746" y="261"/>
                  </a:cubicBezTo>
                  <a:cubicBezTo>
                    <a:pt x="742" y="264"/>
                    <a:pt x="720" y="256"/>
                    <a:pt x="712" y="247"/>
                  </a:cubicBezTo>
                  <a:cubicBezTo>
                    <a:pt x="708" y="243"/>
                    <a:pt x="706" y="237"/>
                    <a:pt x="703" y="231"/>
                  </a:cubicBezTo>
                  <a:cubicBezTo>
                    <a:pt x="703" y="231"/>
                    <a:pt x="703" y="231"/>
                    <a:pt x="703" y="231"/>
                  </a:cubicBezTo>
                  <a:cubicBezTo>
                    <a:pt x="703" y="231"/>
                    <a:pt x="684" y="213"/>
                    <a:pt x="671" y="227"/>
                  </a:cubicBezTo>
                  <a:cubicBezTo>
                    <a:pt x="657" y="242"/>
                    <a:pt x="650" y="278"/>
                    <a:pt x="650" y="278"/>
                  </a:cubicBezTo>
                  <a:cubicBezTo>
                    <a:pt x="666" y="300"/>
                    <a:pt x="666" y="300"/>
                    <a:pt x="666" y="300"/>
                  </a:cubicBezTo>
                  <a:cubicBezTo>
                    <a:pt x="673" y="335"/>
                    <a:pt x="673" y="335"/>
                    <a:pt x="673" y="335"/>
                  </a:cubicBezTo>
                  <a:cubicBezTo>
                    <a:pt x="704" y="353"/>
                    <a:pt x="704" y="353"/>
                    <a:pt x="704" y="353"/>
                  </a:cubicBezTo>
                  <a:cubicBezTo>
                    <a:pt x="699" y="377"/>
                    <a:pt x="699" y="377"/>
                    <a:pt x="699" y="377"/>
                  </a:cubicBezTo>
                  <a:cubicBezTo>
                    <a:pt x="716" y="388"/>
                    <a:pt x="716" y="388"/>
                    <a:pt x="716" y="388"/>
                  </a:cubicBezTo>
                  <a:cubicBezTo>
                    <a:pt x="705" y="407"/>
                    <a:pt x="705" y="407"/>
                    <a:pt x="705" y="407"/>
                  </a:cubicBezTo>
                  <a:cubicBezTo>
                    <a:pt x="718" y="425"/>
                    <a:pt x="718" y="425"/>
                    <a:pt x="718" y="425"/>
                  </a:cubicBezTo>
                  <a:cubicBezTo>
                    <a:pt x="707" y="432"/>
                    <a:pt x="707" y="432"/>
                    <a:pt x="707" y="432"/>
                  </a:cubicBezTo>
                  <a:cubicBezTo>
                    <a:pt x="717" y="470"/>
                    <a:pt x="717" y="470"/>
                    <a:pt x="717" y="470"/>
                  </a:cubicBezTo>
                  <a:cubicBezTo>
                    <a:pt x="745" y="466"/>
                    <a:pt x="745" y="466"/>
                    <a:pt x="745" y="466"/>
                  </a:cubicBezTo>
                  <a:cubicBezTo>
                    <a:pt x="765" y="473"/>
                    <a:pt x="765" y="473"/>
                    <a:pt x="765" y="473"/>
                  </a:cubicBezTo>
                  <a:cubicBezTo>
                    <a:pt x="765" y="473"/>
                    <a:pt x="777" y="451"/>
                    <a:pt x="789" y="451"/>
                  </a:cubicBezTo>
                  <a:cubicBezTo>
                    <a:pt x="801" y="451"/>
                    <a:pt x="789" y="483"/>
                    <a:pt x="801" y="493"/>
                  </a:cubicBezTo>
                  <a:cubicBezTo>
                    <a:pt x="812" y="502"/>
                    <a:pt x="822" y="472"/>
                    <a:pt x="822" y="472"/>
                  </a:cubicBezTo>
                  <a:cubicBezTo>
                    <a:pt x="840" y="484"/>
                    <a:pt x="840" y="484"/>
                    <a:pt x="840" y="484"/>
                  </a:cubicBezTo>
                  <a:cubicBezTo>
                    <a:pt x="840" y="484"/>
                    <a:pt x="856" y="470"/>
                    <a:pt x="865" y="470"/>
                  </a:cubicBezTo>
                  <a:cubicBezTo>
                    <a:pt x="874" y="469"/>
                    <a:pt x="868" y="495"/>
                    <a:pt x="878" y="498"/>
                  </a:cubicBezTo>
                  <a:cubicBezTo>
                    <a:pt x="888" y="502"/>
                    <a:pt x="919" y="486"/>
                    <a:pt x="935" y="489"/>
                  </a:cubicBezTo>
                  <a:cubicBezTo>
                    <a:pt x="951" y="493"/>
                    <a:pt x="936" y="542"/>
                    <a:pt x="936" y="542"/>
                  </a:cubicBezTo>
                  <a:cubicBezTo>
                    <a:pt x="936" y="542"/>
                    <a:pt x="950" y="538"/>
                    <a:pt x="966" y="531"/>
                  </a:cubicBezTo>
                  <a:cubicBezTo>
                    <a:pt x="982" y="523"/>
                    <a:pt x="1004" y="484"/>
                    <a:pt x="1004" y="484"/>
                  </a:cubicBezTo>
                  <a:close/>
                  <a:moveTo>
                    <a:pt x="990" y="745"/>
                  </a:moveTo>
                  <a:cubicBezTo>
                    <a:pt x="980" y="744"/>
                    <a:pt x="974" y="755"/>
                    <a:pt x="974" y="755"/>
                  </a:cubicBezTo>
                  <a:cubicBezTo>
                    <a:pt x="974" y="755"/>
                    <a:pt x="991" y="770"/>
                    <a:pt x="1002" y="763"/>
                  </a:cubicBezTo>
                  <a:cubicBezTo>
                    <a:pt x="1012" y="755"/>
                    <a:pt x="1000" y="747"/>
                    <a:pt x="990" y="745"/>
                  </a:cubicBezTo>
                  <a:close/>
                  <a:moveTo>
                    <a:pt x="1148" y="822"/>
                  </a:moveTo>
                  <a:cubicBezTo>
                    <a:pt x="1125" y="815"/>
                    <a:pt x="1125" y="815"/>
                    <a:pt x="1125" y="815"/>
                  </a:cubicBezTo>
                  <a:cubicBezTo>
                    <a:pt x="1118" y="821"/>
                    <a:pt x="1119" y="822"/>
                    <a:pt x="1129" y="838"/>
                  </a:cubicBezTo>
                  <a:cubicBezTo>
                    <a:pt x="1140" y="854"/>
                    <a:pt x="1147" y="843"/>
                    <a:pt x="1160" y="843"/>
                  </a:cubicBezTo>
                  <a:cubicBezTo>
                    <a:pt x="1173" y="843"/>
                    <a:pt x="1163" y="852"/>
                    <a:pt x="1173" y="862"/>
                  </a:cubicBezTo>
                  <a:cubicBezTo>
                    <a:pt x="1184" y="872"/>
                    <a:pt x="1204" y="863"/>
                    <a:pt x="1204" y="863"/>
                  </a:cubicBezTo>
                  <a:cubicBezTo>
                    <a:pt x="1204" y="863"/>
                    <a:pt x="1200" y="844"/>
                    <a:pt x="1187" y="827"/>
                  </a:cubicBezTo>
                  <a:cubicBezTo>
                    <a:pt x="1173" y="809"/>
                    <a:pt x="1148" y="822"/>
                    <a:pt x="1148" y="822"/>
                  </a:cubicBezTo>
                  <a:close/>
                  <a:moveTo>
                    <a:pt x="1312" y="751"/>
                  </a:moveTo>
                  <a:cubicBezTo>
                    <a:pt x="1293" y="767"/>
                    <a:pt x="1293" y="767"/>
                    <a:pt x="1293" y="767"/>
                  </a:cubicBezTo>
                  <a:cubicBezTo>
                    <a:pt x="1293" y="767"/>
                    <a:pt x="1282" y="755"/>
                    <a:pt x="1271" y="756"/>
                  </a:cubicBezTo>
                  <a:cubicBezTo>
                    <a:pt x="1261" y="758"/>
                    <a:pt x="1249" y="771"/>
                    <a:pt x="1249" y="771"/>
                  </a:cubicBezTo>
                  <a:cubicBezTo>
                    <a:pt x="1249" y="771"/>
                    <a:pt x="1239" y="745"/>
                    <a:pt x="1221" y="748"/>
                  </a:cubicBezTo>
                  <a:cubicBezTo>
                    <a:pt x="1204" y="751"/>
                    <a:pt x="1182" y="777"/>
                    <a:pt x="1182" y="777"/>
                  </a:cubicBezTo>
                  <a:cubicBezTo>
                    <a:pt x="1158" y="775"/>
                    <a:pt x="1158" y="775"/>
                    <a:pt x="1158" y="775"/>
                  </a:cubicBezTo>
                  <a:cubicBezTo>
                    <a:pt x="1151" y="787"/>
                    <a:pt x="1151" y="787"/>
                    <a:pt x="1151" y="787"/>
                  </a:cubicBezTo>
                  <a:cubicBezTo>
                    <a:pt x="1167" y="784"/>
                    <a:pt x="1167" y="784"/>
                    <a:pt x="1167" y="784"/>
                  </a:cubicBezTo>
                  <a:cubicBezTo>
                    <a:pt x="1167" y="784"/>
                    <a:pt x="1179" y="790"/>
                    <a:pt x="1191" y="795"/>
                  </a:cubicBezTo>
                  <a:cubicBezTo>
                    <a:pt x="1202" y="799"/>
                    <a:pt x="1214" y="781"/>
                    <a:pt x="1214" y="781"/>
                  </a:cubicBezTo>
                  <a:cubicBezTo>
                    <a:pt x="1276" y="780"/>
                    <a:pt x="1276" y="780"/>
                    <a:pt x="1276" y="780"/>
                  </a:cubicBezTo>
                  <a:cubicBezTo>
                    <a:pt x="1308" y="775"/>
                    <a:pt x="1308" y="775"/>
                    <a:pt x="1308" y="775"/>
                  </a:cubicBezTo>
                  <a:cubicBezTo>
                    <a:pt x="1334" y="752"/>
                    <a:pt x="1334" y="752"/>
                    <a:pt x="1334" y="752"/>
                  </a:cubicBezTo>
                  <a:cubicBezTo>
                    <a:pt x="1333" y="742"/>
                    <a:pt x="1333" y="742"/>
                    <a:pt x="1333" y="742"/>
                  </a:cubicBezTo>
                  <a:lnTo>
                    <a:pt x="1312" y="751"/>
                  </a:lnTo>
                  <a:close/>
                  <a:moveTo>
                    <a:pt x="1056" y="774"/>
                  </a:moveTo>
                  <a:cubicBezTo>
                    <a:pt x="1056" y="774"/>
                    <a:pt x="1042" y="759"/>
                    <a:pt x="1034" y="761"/>
                  </a:cubicBezTo>
                  <a:cubicBezTo>
                    <a:pt x="1025" y="762"/>
                    <a:pt x="1006" y="791"/>
                    <a:pt x="1006" y="791"/>
                  </a:cubicBezTo>
                  <a:cubicBezTo>
                    <a:pt x="1041" y="796"/>
                    <a:pt x="1041" y="796"/>
                    <a:pt x="1041" y="796"/>
                  </a:cubicBezTo>
                  <a:cubicBezTo>
                    <a:pt x="1042" y="810"/>
                    <a:pt x="1042" y="810"/>
                    <a:pt x="1042" y="810"/>
                  </a:cubicBezTo>
                  <a:cubicBezTo>
                    <a:pt x="1057" y="808"/>
                    <a:pt x="1057" y="808"/>
                    <a:pt x="1057" y="808"/>
                  </a:cubicBezTo>
                  <a:cubicBezTo>
                    <a:pt x="1063" y="794"/>
                    <a:pt x="1063" y="794"/>
                    <a:pt x="1063" y="794"/>
                  </a:cubicBezTo>
                  <a:cubicBezTo>
                    <a:pt x="1082" y="805"/>
                    <a:pt x="1082" y="805"/>
                    <a:pt x="1082" y="805"/>
                  </a:cubicBezTo>
                  <a:cubicBezTo>
                    <a:pt x="1101" y="783"/>
                    <a:pt x="1101" y="783"/>
                    <a:pt x="1101" y="783"/>
                  </a:cubicBezTo>
                  <a:cubicBezTo>
                    <a:pt x="1067" y="771"/>
                    <a:pt x="1067" y="771"/>
                    <a:pt x="1067" y="771"/>
                  </a:cubicBezTo>
                  <a:lnTo>
                    <a:pt x="1056" y="774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39" name="Freeform 155"/>
            <p:cNvSpPr>
              <a:spLocks noEditPoints="1"/>
            </p:cNvSpPr>
            <p:nvPr/>
          </p:nvSpPr>
          <p:spPr bwMode="auto">
            <a:xfrm>
              <a:off x="5358" y="3453"/>
              <a:ext cx="323" cy="248"/>
            </a:xfrm>
            <a:custGeom>
              <a:avLst/>
              <a:gdLst>
                <a:gd name="T0" fmla="*/ 0 w 851"/>
                <a:gd name="T1" fmla="*/ 0 h 656"/>
                <a:gd name="T2" fmla="*/ 0 w 851"/>
                <a:gd name="T3" fmla="*/ 0 h 656"/>
                <a:gd name="T4" fmla="*/ 0 w 851"/>
                <a:gd name="T5" fmla="*/ 0 h 656"/>
                <a:gd name="T6" fmla="*/ 0 w 851"/>
                <a:gd name="T7" fmla="*/ 0 h 656"/>
                <a:gd name="T8" fmla="*/ 0 w 851"/>
                <a:gd name="T9" fmla="*/ 0 h 656"/>
                <a:gd name="T10" fmla="*/ 0 w 851"/>
                <a:gd name="T11" fmla="*/ 0 h 656"/>
                <a:gd name="T12" fmla="*/ 0 w 851"/>
                <a:gd name="T13" fmla="*/ 0 h 656"/>
                <a:gd name="T14" fmla="*/ 0 w 851"/>
                <a:gd name="T15" fmla="*/ 0 h 656"/>
                <a:gd name="T16" fmla="*/ 0 w 851"/>
                <a:gd name="T17" fmla="*/ 0 h 656"/>
                <a:gd name="T18" fmla="*/ 0 w 851"/>
                <a:gd name="T19" fmla="*/ 0 h 656"/>
                <a:gd name="T20" fmla="*/ 0 w 851"/>
                <a:gd name="T21" fmla="*/ 0 h 656"/>
                <a:gd name="T22" fmla="*/ 0 w 851"/>
                <a:gd name="T23" fmla="*/ 0 h 656"/>
                <a:gd name="T24" fmla="*/ 0 w 851"/>
                <a:gd name="T25" fmla="*/ 0 h 656"/>
                <a:gd name="T26" fmla="*/ 0 w 851"/>
                <a:gd name="T27" fmla="*/ 0 h 656"/>
                <a:gd name="T28" fmla="*/ 0 w 851"/>
                <a:gd name="T29" fmla="*/ 0 h 656"/>
                <a:gd name="T30" fmla="*/ 0 w 851"/>
                <a:gd name="T31" fmla="*/ 0 h 656"/>
                <a:gd name="T32" fmla="*/ 0 w 851"/>
                <a:gd name="T33" fmla="*/ 0 h 656"/>
                <a:gd name="T34" fmla="*/ 0 w 851"/>
                <a:gd name="T35" fmla="*/ 0 h 656"/>
                <a:gd name="T36" fmla="*/ 0 w 851"/>
                <a:gd name="T37" fmla="*/ 0 h 656"/>
                <a:gd name="T38" fmla="*/ 0 w 851"/>
                <a:gd name="T39" fmla="*/ 0 h 656"/>
                <a:gd name="T40" fmla="*/ 0 w 851"/>
                <a:gd name="T41" fmla="*/ 0 h 656"/>
                <a:gd name="T42" fmla="*/ 0 w 851"/>
                <a:gd name="T43" fmla="*/ 0 h 656"/>
                <a:gd name="T44" fmla="*/ 0 w 851"/>
                <a:gd name="T45" fmla="*/ 0 h 656"/>
                <a:gd name="T46" fmla="*/ 0 w 851"/>
                <a:gd name="T47" fmla="*/ 0 h 656"/>
                <a:gd name="T48" fmla="*/ 0 w 851"/>
                <a:gd name="T49" fmla="*/ 0 h 656"/>
                <a:gd name="T50" fmla="*/ 0 w 851"/>
                <a:gd name="T51" fmla="*/ 0 h 656"/>
                <a:gd name="T52" fmla="*/ 0 w 851"/>
                <a:gd name="T53" fmla="*/ 0 h 656"/>
                <a:gd name="T54" fmla="*/ 0 w 851"/>
                <a:gd name="T55" fmla="*/ 0 h 656"/>
                <a:gd name="T56" fmla="*/ 0 w 851"/>
                <a:gd name="T57" fmla="*/ 0 h 656"/>
                <a:gd name="T58" fmla="*/ 0 w 851"/>
                <a:gd name="T59" fmla="*/ 0 h 656"/>
                <a:gd name="T60" fmla="*/ 0 w 851"/>
                <a:gd name="T61" fmla="*/ 0 h 656"/>
                <a:gd name="T62" fmla="*/ 0 w 851"/>
                <a:gd name="T63" fmla="*/ 0 h 656"/>
                <a:gd name="T64" fmla="*/ 0 w 851"/>
                <a:gd name="T65" fmla="*/ 0 h 656"/>
                <a:gd name="T66" fmla="*/ 0 w 851"/>
                <a:gd name="T67" fmla="*/ 0 h 656"/>
                <a:gd name="T68" fmla="*/ 0 w 851"/>
                <a:gd name="T69" fmla="*/ 0 h 656"/>
                <a:gd name="T70" fmla="*/ 0 w 851"/>
                <a:gd name="T71" fmla="*/ 0 h 656"/>
                <a:gd name="T72" fmla="*/ 0 w 851"/>
                <a:gd name="T73" fmla="*/ 0 h 656"/>
                <a:gd name="T74" fmla="*/ 0 w 851"/>
                <a:gd name="T75" fmla="*/ 0 h 656"/>
                <a:gd name="T76" fmla="*/ 0 w 851"/>
                <a:gd name="T77" fmla="*/ 0 h 656"/>
                <a:gd name="T78" fmla="*/ 0 w 851"/>
                <a:gd name="T79" fmla="*/ 0 h 656"/>
                <a:gd name="T80" fmla="*/ 0 w 851"/>
                <a:gd name="T81" fmla="*/ 0 h 656"/>
                <a:gd name="T82" fmla="*/ 0 w 851"/>
                <a:gd name="T83" fmla="*/ 0 h 656"/>
                <a:gd name="T84" fmla="*/ 0 w 851"/>
                <a:gd name="T85" fmla="*/ 0 h 656"/>
                <a:gd name="T86" fmla="*/ 0 w 851"/>
                <a:gd name="T87" fmla="*/ 0 h 656"/>
                <a:gd name="T88" fmla="*/ 0 w 851"/>
                <a:gd name="T89" fmla="*/ 0 h 656"/>
                <a:gd name="T90" fmla="*/ 0 w 851"/>
                <a:gd name="T91" fmla="*/ 0 h 656"/>
                <a:gd name="T92" fmla="*/ 0 w 851"/>
                <a:gd name="T93" fmla="*/ 0 h 656"/>
                <a:gd name="T94" fmla="*/ 0 w 851"/>
                <a:gd name="T95" fmla="*/ 0 h 656"/>
                <a:gd name="T96" fmla="*/ 0 w 851"/>
                <a:gd name="T97" fmla="*/ 0 h 656"/>
                <a:gd name="T98" fmla="*/ 0 w 851"/>
                <a:gd name="T99" fmla="*/ 0 h 656"/>
                <a:gd name="T100" fmla="*/ 0 w 851"/>
                <a:gd name="T101" fmla="*/ 0 h 656"/>
                <a:gd name="T102" fmla="*/ 0 w 851"/>
                <a:gd name="T103" fmla="*/ 0 h 656"/>
                <a:gd name="T104" fmla="*/ 0 w 851"/>
                <a:gd name="T105" fmla="*/ 0 h 65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51"/>
                <a:gd name="T160" fmla="*/ 0 h 656"/>
                <a:gd name="T161" fmla="*/ 851 w 851"/>
                <a:gd name="T162" fmla="*/ 656 h 65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51" h="656">
                  <a:moveTo>
                    <a:pt x="498" y="375"/>
                  </a:moveTo>
                  <a:cubicBezTo>
                    <a:pt x="489" y="375"/>
                    <a:pt x="489" y="375"/>
                    <a:pt x="489" y="375"/>
                  </a:cubicBezTo>
                  <a:cubicBezTo>
                    <a:pt x="495" y="350"/>
                    <a:pt x="495" y="350"/>
                    <a:pt x="495" y="350"/>
                  </a:cubicBezTo>
                  <a:cubicBezTo>
                    <a:pt x="477" y="361"/>
                    <a:pt x="477" y="361"/>
                    <a:pt x="477" y="361"/>
                  </a:cubicBezTo>
                  <a:cubicBezTo>
                    <a:pt x="477" y="361"/>
                    <a:pt x="490" y="335"/>
                    <a:pt x="478" y="335"/>
                  </a:cubicBezTo>
                  <a:cubicBezTo>
                    <a:pt x="466" y="334"/>
                    <a:pt x="456" y="351"/>
                    <a:pt x="456" y="351"/>
                  </a:cubicBezTo>
                  <a:cubicBezTo>
                    <a:pt x="445" y="358"/>
                    <a:pt x="445" y="358"/>
                    <a:pt x="445" y="358"/>
                  </a:cubicBezTo>
                  <a:cubicBezTo>
                    <a:pt x="445" y="358"/>
                    <a:pt x="434" y="369"/>
                    <a:pt x="425" y="380"/>
                  </a:cubicBezTo>
                  <a:cubicBezTo>
                    <a:pt x="417" y="391"/>
                    <a:pt x="396" y="393"/>
                    <a:pt x="381" y="403"/>
                  </a:cubicBezTo>
                  <a:cubicBezTo>
                    <a:pt x="366" y="414"/>
                    <a:pt x="360" y="432"/>
                    <a:pt x="360" y="432"/>
                  </a:cubicBezTo>
                  <a:cubicBezTo>
                    <a:pt x="360" y="432"/>
                    <a:pt x="313" y="446"/>
                    <a:pt x="300" y="455"/>
                  </a:cubicBezTo>
                  <a:cubicBezTo>
                    <a:pt x="285" y="464"/>
                    <a:pt x="261" y="484"/>
                    <a:pt x="261" y="484"/>
                  </a:cubicBezTo>
                  <a:cubicBezTo>
                    <a:pt x="261" y="484"/>
                    <a:pt x="234" y="488"/>
                    <a:pt x="217" y="495"/>
                  </a:cubicBezTo>
                  <a:cubicBezTo>
                    <a:pt x="201" y="503"/>
                    <a:pt x="192" y="505"/>
                    <a:pt x="177" y="513"/>
                  </a:cubicBezTo>
                  <a:cubicBezTo>
                    <a:pt x="161" y="522"/>
                    <a:pt x="131" y="533"/>
                    <a:pt x="119" y="539"/>
                  </a:cubicBezTo>
                  <a:cubicBezTo>
                    <a:pt x="106" y="545"/>
                    <a:pt x="112" y="564"/>
                    <a:pt x="112" y="564"/>
                  </a:cubicBezTo>
                  <a:cubicBezTo>
                    <a:pt x="102" y="555"/>
                    <a:pt x="102" y="555"/>
                    <a:pt x="102" y="555"/>
                  </a:cubicBezTo>
                  <a:cubicBezTo>
                    <a:pt x="102" y="555"/>
                    <a:pt x="67" y="577"/>
                    <a:pt x="56" y="583"/>
                  </a:cubicBezTo>
                  <a:cubicBezTo>
                    <a:pt x="44" y="590"/>
                    <a:pt x="39" y="587"/>
                    <a:pt x="23" y="593"/>
                  </a:cubicBezTo>
                  <a:cubicBezTo>
                    <a:pt x="7" y="599"/>
                    <a:pt x="0" y="608"/>
                    <a:pt x="0" y="608"/>
                  </a:cubicBezTo>
                  <a:cubicBezTo>
                    <a:pt x="0" y="608"/>
                    <a:pt x="20" y="607"/>
                    <a:pt x="18" y="611"/>
                  </a:cubicBezTo>
                  <a:cubicBezTo>
                    <a:pt x="16" y="615"/>
                    <a:pt x="8" y="620"/>
                    <a:pt x="12" y="629"/>
                  </a:cubicBezTo>
                  <a:cubicBezTo>
                    <a:pt x="17" y="638"/>
                    <a:pt x="40" y="624"/>
                    <a:pt x="40" y="624"/>
                  </a:cubicBezTo>
                  <a:cubicBezTo>
                    <a:pt x="47" y="631"/>
                    <a:pt x="47" y="631"/>
                    <a:pt x="47" y="631"/>
                  </a:cubicBezTo>
                  <a:cubicBezTo>
                    <a:pt x="63" y="631"/>
                    <a:pt x="63" y="631"/>
                    <a:pt x="63" y="631"/>
                  </a:cubicBezTo>
                  <a:cubicBezTo>
                    <a:pt x="65" y="637"/>
                    <a:pt x="65" y="637"/>
                    <a:pt x="65" y="637"/>
                  </a:cubicBezTo>
                  <a:cubicBezTo>
                    <a:pt x="87" y="634"/>
                    <a:pt x="87" y="634"/>
                    <a:pt x="87" y="634"/>
                  </a:cubicBezTo>
                  <a:cubicBezTo>
                    <a:pt x="96" y="648"/>
                    <a:pt x="96" y="648"/>
                    <a:pt x="96" y="648"/>
                  </a:cubicBezTo>
                  <a:cubicBezTo>
                    <a:pt x="118" y="645"/>
                    <a:pt x="118" y="645"/>
                    <a:pt x="118" y="645"/>
                  </a:cubicBezTo>
                  <a:cubicBezTo>
                    <a:pt x="118" y="645"/>
                    <a:pt x="136" y="656"/>
                    <a:pt x="152" y="653"/>
                  </a:cubicBezTo>
                  <a:cubicBezTo>
                    <a:pt x="167" y="650"/>
                    <a:pt x="172" y="634"/>
                    <a:pt x="182" y="627"/>
                  </a:cubicBezTo>
                  <a:cubicBezTo>
                    <a:pt x="192" y="620"/>
                    <a:pt x="200" y="630"/>
                    <a:pt x="215" y="620"/>
                  </a:cubicBezTo>
                  <a:cubicBezTo>
                    <a:pt x="230" y="610"/>
                    <a:pt x="220" y="597"/>
                    <a:pt x="232" y="586"/>
                  </a:cubicBezTo>
                  <a:cubicBezTo>
                    <a:pt x="243" y="574"/>
                    <a:pt x="257" y="582"/>
                    <a:pt x="265" y="574"/>
                  </a:cubicBezTo>
                  <a:cubicBezTo>
                    <a:pt x="273" y="567"/>
                    <a:pt x="265" y="558"/>
                    <a:pt x="265" y="558"/>
                  </a:cubicBezTo>
                  <a:cubicBezTo>
                    <a:pt x="279" y="557"/>
                    <a:pt x="279" y="557"/>
                    <a:pt x="279" y="557"/>
                  </a:cubicBezTo>
                  <a:cubicBezTo>
                    <a:pt x="318" y="527"/>
                    <a:pt x="318" y="527"/>
                    <a:pt x="318" y="527"/>
                  </a:cubicBezTo>
                  <a:cubicBezTo>
                    <a:pt x="306" y="517"/>
                    <a:pt x="306" y="517"/>
                    <a:pt x="306" y="517"/>
                  </a:cubicBezTo>
                  <a:cubicBezTo>
                    <a:pt x="333" y="527"/>
                    <a:pt x="333" y="527"/>
                    <a:pt x="333" y="527"/>
                  </a:cubicBezTo>
                  <a:cubicBezTo>
                    <a:pt x="333" y="527"/>
                    <a:pt x="334" y="511"/>
                    <a:pt x="343" y="510"/>
                  </a:cubicBezTo>
                  <a:cubicBezTo>
                    <a:pt x="352" y="509"/>
                    <a:pt x="360" y="517"/>
                    <a:pt x="372" y="520"/>
                  </a:cubicBezTo>
                  <a:cubicBezTo>
                    <a:pt x="383" y="522"/>
                    <a:pt x="388" y="503"/>
                    <a:pt x="388" y="503"/>
                  </a:cubicBezTo>
                  <a:cubicBezTo>
                    <a:pt x="378" y="495"/>
                    <a:pt x="378" y="495"/>
                    <a:pt x="378" y="495"/>
                  </a:cubicBezTo>
                  <a:cubicBezTo>
                    <a:pt x="395" y="480"/>
                    <a:pt x="395" y="480"/>
                    <a:pt x="395" y="480"/>
                  </a:cubicBezTo>
                  <a:cubicBezTo>
                    <a:pt x="407" y="466"/>
                    <a:pt x="407" y="466"/>
                    <a:pt x="407" y="466"/>
                  </a:cubicBezTo>
                  <a:cubicBezTo>
                    <a:pt x="407" y="466"/>
                    <a:pt x="418" y="459"/>
                    <a:pt x="430" y="456"/>
                  </a:cubicBezTo>
                  <a:cubicBezTo>
                    <a:pt x="442" y="453"/>
                    <a:pt x="447" y="436"/>
                    <a:pt x="447" y="436"/>
                  </a:cubicBezTo>
                  <a:cubicBezTo>
                    <a:pt x="447" y="436"/>
                    <a:pt x="458" y="434"/>
                    <a:pt x="468" y="430"/>
                  </a:cubicBezTo>
                  <a:cubicBezTo>
                    <a:pt x="479" y="426"/>
                    <a:pt x="488" y="408"/>
                    <a:pt x="488" y="408"/>
                  </a:cubicBezTo>
                  <a:cubicBezTo>
                    <a:pt x="488" y="408"/>
                    <a:pt x="508" y="401"/>
                    <a:pt x="518" y="389"/>
                  </a:cubicBezTo>
                  <a:cubicBezTo>
                    <a:pt x="529" y="376"/>
                    <a:pt x="516" y="353"/>
                    <a:pt x="516" y="353"/>
                  </a:cubicBezTo>
                  <a:lnTo>
                    <a:pt x="498" y="375"/>
                  </a:lnTo>
                  <a:close/>
                  <a:moveTo>
                    <a:pt x="815" y="215"/>
                  </a:moveTo>
                  <a:cubicBezTo>
                    <a:pt x="823" y="210"/>
                    <a:pt x="831" y="213"/>
                    <a:pt x="841" y="205"/>
                  </a:cubicBezTo>
                  <a:cubicBezTo>
                    <a:pt x="851" y="197"/>
                    <a:pt x="847" y="183"/>
                    <a:pt x="839" y="176"/>
                  </a:cubicBezTo>
                  <a:cubicBezTo>
                    <a:pt x="831" y="168"/>
                    <a:pt x="821" y="186"/>
                    <a:pt x="821" y="186"/>
                  </a:cubicBezTo>
                  <a:cubicBezTo>
                    <a:pt x="821" y="186"/>
                    <a:pt x="815" y="186"/>
                    <a:pt x="806" y="184"/>
                  </a:cubicBezTo>
                  <a:cubicBezTo>
                    <a:pt x="798" y="181"/>
                    <a:pt x="780" y="195"/>
                    <a:pt x="768" y="192"/>
                  </a:cubicBezTo>
                  <a:cubicBezTo>
                    <a:pt x="756" y="189"/>
                    <a:pt x="761" y="145"/>
                    <a:pt x="761" y="145"/>
                  </a:cubicBezTo>
                  <a:cubicBezTo>
                    <a:pt x="777" y="120"/>
                    <a:pt x="777" y="120"/>
                    <a:pt x="777" y="120"/>
                  </a:cubicBezTo>
                  <a:cubicBezTo>
                    <a:pt x="777" y="120"/>
                    <a:pt x="777" y="102"/>
                    <a:pt x="767" y="103"/>
                  </a:cubicBezTo>
                  <a:cubicBezTo>
                    <a:pt x="756" y="103"/>
                    <a:pt x="756" y="119"/>
                    <a:pt x="756" y="129"/>
                  </a:cubicBezTo>
                  <a:cubicBezTo>
                    <a:pt x="755" y="138"/>
                    <a:pt x="743" y="146"/>
                    <a:pt x="743" y="146"/>
                  </a:cubicBezTo>
                  <a:cubicBezTo>
                    <a:pt x="740" y="126"/>
                    <a:pt x="740" y="126"/>
                    <a:pt x="740" y="126"/>
                  </a:cubicBezTo>
                  <a:cubicBezTo>
                    <a:pt x="726" y="113"/>
                    <a:pt x="726" y="113"/>
                    <a:pt x="726" y="113"/>
                  </a:cubicBezTo>
                  <a:cubicBezTo>
                    <a:pt x="726" y="113"/>
                    <a:pt x="750" y="82"/>
                    <a:pt x="750" y="62"/>
                  </a:cubicBezTo>
                  <a:cubicBezTo>
                    <a:pt x="751" y="42"/>
                    <a:pt x="717" y="41"/>
                    <a:pt x="717" y="41"/>
                  </a:cubicBezTo>
                  <a:cubicBezTo>
                    <a:pt x="720" y="27"/>
                    <a:pt x="720" y="27"/>
                    <a:pt x="720" y="27"/>
                  </a:cubicBezTo>
                  <a:cubicBezTo>
                    <a:pt x="707" y="25"/>
                    <a:pt x="707" y="25"/>
                    <a:pt x="707" y="25"/>
                  </a:cubicBezTo>
                  <a:cubicBezTo>
                    <a:pt x="692" y="11"/>
                    <a:pt x="692" y="11"/>
                    <a:pt x="692" y="11"/>
                  </a:cubicBezTo>
                  <a:cubicBezTo>
                    <a:pt x="699" y="0"/>
                    <a:pt x="699" y="0"/>
                    <a:pt x="699" y="0"/>
                  </a:cubicBezTo>
                  <a:cubicBezTo>
                    <a:pt x="679" y="12"/>
                    <a:pt x="679" y="12"/>
                    <a:pt x="679" y="12"/>
                  </a:cubicBezTo>
                  <a:cubicBezTo>
                    <a:pt x="692" y="35"/>
                    <a:pt x="692" y="35"/>
                    <a:pt x="692" y="35"/>
                  </a:cubicBezTo>
                  <a:cubicBezTo>
                    <a:pt x="686" y="60"/>
                    <a:pt x="686" y="60"/>
                    <a:pt x="686" y="60"/>
                  </a:cubicBezTo>
                  <a:cubicBezTo>
                    <a:pt x="701" y="66"/>
                    <a:pt x="701" y="66"/>
                    <a:pt x="701" y="66"/>
                  </a:cubicBezTo>
                  <a:cubicBezTo>
                    <a:pt x="692" y="70"/>
                    <a:pt x="692" y="70"/>
                    <a:pt x="692" y="70"/>
                  </a:cubicBezTo>
                  <a:cubicBezTo>
                    <a:pt x="696" y="84"/>
                    <a:pt x="696" y="84"/>
                    <a:pt x="696" y="84"/>
                  </a:cubicBezTo>
                  <a:cubicBezTo>
                    <a:pt x="712" y="89"/>
                    <a:pt x="712" y="89"/>
                    <a:pt x="712" y="89"/>
                  </a:cubicBezTo>
                  <a:cubicBezTo>
                    <a:pt x="696" y="97"/>
                    <a:pt x="696" y="97"/>
                    <a:pt x="696" y="97"/>
                  </a:cubicBezTo>
                  <a:cubicBezTo>
                    <a:pt x="705" y="102"/>
                    <a:pt x="705" y="102"/>
                    <a:pt x="705" y="102"/>
                  </a:cubicBezTo>
                  <a:cubicBezTo>
                    <a:pt x="705" y="102"/>
                    <a:pt x="702" y="116"/>
                    <a:pt x="702" y="122"/>
                  </a:cubicBezTo>
                  <a:cubicBezTo>
                    <a:pt x="702" y="129"/>
                    <a:pt x="715" y="136"/>
                    <a:pt x="715" y="136"/>
                  </a:cubicBezTo>
                  <a:cubicBezTo>
                    <a:pt x="702" y="138"/>
                    <a:pt x="702" y="138"/>
                    <a:pt x="702" y="138"/>
                  </a:cubicBezTo>
                  <a:cubicBezTo>
                    <a:pt x="694" y="148"/>
                    <a:pt x="694" y="148"/>
                    <a:pt x="694" y="148"/>
                  </a:cubicBezTo>
                  <a:cubicBezTo>
                    <a:pt x="705" y="154"/>
                    <a:pt x="705" y="154"/>
                    <a:pt x="705" y="154"/>
                  </a:cubicBezTo>
                  <a:cubicBezTo>
                    <a:pt x="705" y="154"/>
                    <a:pt x="684" y="174"/>
                    <a:pt x="682" y="185"/>
                  </a:cubicBezTo>
                  <a:cubicBezTo>
                    <a:pt x="681" y="196"/>
                    <a:pt x="691" y="199"/>
                    <a:pt x="691" y="199"/>
                  </a:cubicBezTo>
                  <a:cubicBezTo>
                    <a:pt x="691" y="199"/>
                    <a:pt x="669" y="203"/>
                    <a:pt x="656" y="209"/>
                  </a:cubicBezTo>
                  <a:cubicBezTo>
                    <a:pt x="643" y="214"/>
                    <a:pt x="646" y="217"/>
                    <a:pt x="630" y="229"/>
                  </a:cubicBezTo>
                  <a:cubicBezTo>
                    <a:pt x="613" y="242"/>
                    <a:pt x="599" y="243"/>
                    <a:pt x="578" y="255"/>
                  </a:cubicBezTo>
                  <a:cubicBezTo>
                    <a:pt x="557" y="268"/>
                    <a:pt x="576" y="302"/>
                    <a:pt x="576" y="302"/>
                  </a:cubicBezTo>
                  <a:cubicBezTo>
                    <a:pt x="576" y="302"/>
                    <a:pt x="599" y="300"/>
                    <a:pt x="609" y="302"/>
                  </a:cubicBezTo>
                  <a:cubicBezTo>
                    <a:pt x="619" y="304"/>
                    <a:pt x="609" y="323"/>
                    <a:pt x="609" y="338"/>
                  </a:cubicBezTo>
                  <a:cubicBezTo>
                    <a:pt x="610" y="354"/>
                    <a:pt x="593" y="353"/>
                    <a:pt x="576" y="359"/>
                  </a:cubicBezTo>
                  <a:cubicBezTo>
                    <a:pt x="559" y="365"/>
                    <a:pt x="567" y="370"/>
                    <a:pt x="567" y="370"/>
                  </a:cubicBezTo>
                  <a:cubicBezTo>
                    <a:pt x="557" y="381"/>
                    <a:pt x="557" y="381"/>
                    <a:pt x="557" y="381"/>
                  </a:cubicBezTo>
                  <a:cubicBezTo>
                    <a:pt x="557" y="381"/>
                    <a:pt x="575" y="394"/>
                    <a:pt x="589" y="390"/>
                  </a:cubicBezTo>
                  <a:cubicBezTo>
                    <a:pt x="602" y="385"/>
                    <a:pt x="633" y="351"/>
                    <a:pt x="644" y="340"/>
                  </a:cubicBezTo>
                  <a:cubicBezTo>
                    <a:pt x="655" y="329"/>
                    <a:pt x="682" y="321"/>
                    <a:pt x="687" y="321"/>
                  </a:cubicBezTo>
                  <a:cubicBezTo>
                    <a:pt x="692" y="320"/>
                    <a:pt x="697" y="308"/>
                    <a:pt x="697" y="308"/>
                  </a:cubicBezTo>
                  <a:cubicBezTo>
                    <a:pt x="697" y="308"/>
                    <a:pt x="704" y="305"/>
                    <a:pt x="715" y="301"/>
                  </a:cubicBezTo>
                  <a:cubicBezTo>
                    <a:pt x="726" y="296"/>
                    <a:pt x="715" y="277"/>
                    <a:pt x="715" y="277"/>
                  </a:cubicBezTo>
                  <a:cubicBezTo>
                    <a:pt x="715" y="277"/>
                    <a:pt x="725" y="269"/>
                    <a:pt x="738" y="263"/>
                  </a:cubicBezTo>
                  <a:cubicBezTo>
                    <a:pt x="752" y="257"/>
                    <a:pt x="762" y="269"/>
                    <a:pt x="774" y="266"/>
                  </a:cubicBezTo>
                  <a:cubicBezTo>
                    <a:pt x="786" y="264"/>
                    <a:pt x="782" y="240"/>
                    <a:pt x="782" y="240"/>
                  </a:cubicBezTo>
                  <a:cubicBezTo>
                    <a:pt x="782" y="240"/>
                    <a:pt x="793" y="237"/>
                    <a:pt x="805" y="236"/>
                  </a:cubicBezTo>
                  <a:cubicBezTo>
                    <a:pt x="816" y="235"/>
                    <a:pt x="808" y="221"/>
                    <a:pt x="815" y="215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40" name="Freeform 156"/>
            <p:cNvSpPr>
              <a:spLocks noEditPoints="1"/>
            </p:cNvSpPr>
            <p:nvPr/>
          </p:nvSpPr>
          <p:spPr bwMode="auto">
            <a:xfrm>
              <a:off x="4630" y="2970"/>
              <a:ext cx="720" cy="673"/>
            </a:xfrm>
            <a:custGeom>
              <a:avLst/>
              <a:gdLst>
                <a:gd name="T0" fmla="*/ 0 w 1898"/>
                <a:gd name="T1" fmla="*/ 0 h 1774"/>
                <a:gd name="T2" fmla="*/ 0 w 1898"/>
                <a:gd name="T3" fmla="*/ 0 h 1774"/>
                <a:gd name="T4" fmla="*/ 0 w 1898"/>
                <a:gd name="T5" fmla="*/ 0 h 1774"/>
                <a:gd name="T6" fmla="*/ 0 w 1898"/>
                <a:gd name="T7" fmla="*/ 0 h 1774"/>
                <a:gd name="T8" fmla="*/ 0 w 1898"/>
                <a:gd name="T9" fmla="*/ 0 h 1774"/>
                <a:gd name="T10" fmla="*/ 0 w 1898"/>
                <a:gd name="T11" fmla="*/ 0 h 1774"/>
                <a:gd name="T12" fmla="*/ 0 w 1898"/>
                <a:gd name="T13" fmla="*/ 0 h 1774"/>
                <a:gd name="T14" fmla="*/ 0 w 1898"/>
                <a:gd name="T15" fmla="*/ 0 h 1774"/>
                <a:gd name="T16" fmla="*/ 0 w 1898"/>
                <a:gd name="T17" fmla="*/ 0 h 1774"/>
                <a:gd name="T18" fmla="*/ 0 w 1898"/>
                <a:gd name="T19" fmla="*/ 0 h 1774"/>
                <a:gd name="T20" fmla="*/ 0 w 1898"/>
                <a:gd name="T21" fmla="*/ 0 h 1774"/>
                <a:gd name="T22" fmla="*/ 0 w 1898"/>
                <a:gd name="T23" fmla="*/ 0 h 1774"/>
                <a:gd name="T24" fmla="*/ 0 w 1898"/>
                <a:gd name="T25" fmla="*/ 0 h 1774"/>
                <a:gd name="T26" fmla="*/ 0 w 1898"/>
                <a:gd name="T27" fmla="*/ 0 h 1774"/>
                <a:gd name="T28" fmla="*/ 0 w 1898"/>
                <a:gd name="T29" fmla="*/ 0 h 1774"/>
                <a:gd name="T30" fmla="*/ 0 w 1898"/>
                <a:gd name="T31" fmla="*/ 0 h 1774"/>
                <a:gd name="T32" fmla="*/ 0 w 1898"/>
                <a:gd name="T33" fmla="*/ 0 h 1774"/>
                <a:gd name="T34" fmla="*/ 0 w 1898"/>
                <a:gd name="T35" fmla="*/ 0 h 1774"/>
                <a:gd name="T36" fmla="*/ 0 w 1898"/>
                <a:gd name="T37" fmla="*/ 0 h 1774"/>
                <a:gd name="T38" fmla="*/ 0 w 1898"/>
                <a:gd name="T39" fmla="*/ 0 h 1774"/>
                <a:gd name="T40" fmla="*/ 0 w 1898"/>
                <a:gd name="T41" fmla="*/ 0 h 1774"/>
                <a:gd name="T42" fmla="*/ 0 w 1898"/>
                <a:gd name="T43" fmla="*/ 0 h 1774"/>
                <a:gd name="T44" fmla="*/ 0 w 1898"/>
                <a:gd name="T45" fmla="*/ 0 h 1774"/>
                <a:gd name="T46" fmla="*/ 0 w 1898"/>
                <a:gd name="T47" fmla="*/ 0 h 1774"/>
                <a:gd name="T48" fmla="*/ 0 w 1898"/>
                <a:gd name="T49" fmla="*/ 0 h 1774"/>
                <a:gd name="T50" fmla="*/ 0 w 1898"/>
                <a:gd name="T51" fmla="*/ 0 h 1774"/>
                <a:gd name="T52" fmla="*/ 0 w 1898"/>
                <a:gd name="T53" fmla="*/ 0 h 1774"/>
                <a:gd name="T54" fmla="*/ 0 w 1898"/>
                <a:gd name="T55" fmla="*/ 0 h 1774"/>
                <a:gd name="T56" fmla="*/ 0 w 1898"/>
                <a:gd name="T57" fmla="*/ 0 h 1774"/>
                <a:gd name="T58" fmla="*/ 0 w 1898"/>
                <a:gd name="T59" fmla="*/ 0 h 1774"/>
                <a:gd name="T60" fmla="*/ 0 w 1898"/>
                <a:gd name="T61" fmla="*/ 0 h 1774"/>
                <a:gd name="T62" fmla="*/ 0 w 1898"/>
                <a:gd name="T63" fmla="*/ 0 h 1774"/>
                <a:gd name="T64" fmla="*/ 0 w 1898"/>
                <a:gd name="T65" fmla="*/ 0 h 1774"/>
                <a:gd name="T66" fmla="*/ 0 w 1898"/>
                <a:gd name="T67" fmla="*/ 0 h 1774"/>
                <a:gd name="T68" fmla="*/ 0 w 1898"/>
                <a:gd name="T69" fmla="*/ 0 h 1774"/>
                <a:gd name="T70" fmla="*/ 0 w 1898"/>
                <a:gd name="T71" fmla="*/ 0 h 1774"/>
                <a:gd name="T72" fmla="*/ 0 w 1898"/>
                <a:gd name="T73" fmla="*/ 0 h 1774"/>
                <a:gd name="T74" fmla="*/ 0 w 1898"/>
                <a:gd name="T75" fmla="*/ 0 h 1774"/>
                <a:gd name="T76" fmla="*/ 0 w 1898"/>
                <a:gd name="T77" fmla="*/ 0 h 1774"/>
                <a:gd name="T78" fmla="*/ 0 w 1898"/>
                <a:gd name="T79" fmla="*/ 0 h 1774"/>
                <a:gd name="T80" fmla="*/ 0 w 1898"/>
                <a:gd name="T81" fmla="*/ 0 h 1774"/>
                <a:gd name="T82" fmla="*/ 0 w 1898"/>
                <a:gd name="T83" fmla="*/ 0 h 1774"/>
                <a:gd name="T84" fmla="*/ 0 w 1898"/>
                <a:gd name="T85" fmla="*/ 0 h 1774"/>
                <a:gd name="T86" fmla="*/ 0 w 1898"/>
                <a:gd name="T87" fmla="*/ 0 h 1774"/>
                <a:gd name="T88" fmla="*/ 0 w 1898"/>
                <a:gd name="T89" fmla="*/ 0 h 1774"/>
                <a:gd name="T90" fmla="*/ 0 w 1898"/>
                <a:gd name="T91" fmla="*/ 0 h 1774"/>
                <a:gd name="T92" fmla="*/ 0 w 1898"/>
                <a:gd name="T93" fmla="*/ 0 h 1774"/>
                <a:gd name="T94" fmla="*/ 0 w 1898"/>
                <a:gd name="T95" fmla="*/ 0 h 1774"/>
                <a:gd name="T96" fmla="*/ 0 w 1898"/>
                <a:gd name="T97" fmla="*/ 0 h 1774"/>
                <a:gd name="T98" fmla="*/ 0 w 1898"/>
                <a:gd name="T99" fmla="*/ 0 h 1774"/>
                <a:gd name="T100" fmla="*/ 0 w 1898"/>
                <a:gd name="T101" fmla="*/ 0 h 1774"/>
                <a:gd name="T102" fmla="*/ 0 w 1898"/>
                <a:gd name="T103" fmla="*/ 0 h 1774"/>
                <a:gd name="T104" fmla="*/ 0 w 1898"/>
                <a:gd name="T105" fmla="*/ 0 h 1774"/>
                <a:gd name="T106" fmla="*/ 0 w 1898"/>
                <a:gd name="T107" fmla="*/ 0 h 1774"/>
                <a:gd name="T108" fmla="*/ 0 w 1898"/>
                <a:gd name="T109" fmla="*/ 0 h 1774"/>
                <a:gd name="T110" fmla="*/ 0 w 1898"/>
                <a:gd name="T111" fmla="*/ 0 h 177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898"/>
                <a:gd name="T169" fmla="*/ 0 h 1774"/>
                <a:gd name="T170" fmla="*/ 1898 w 1898"/>
                <a:gd name="T171" fmla="*/ 1774 h 177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898" h="1774">
                  <a:moveTo>
                    <a:pt x="1024" y="43"/>
                  </a:moveTo>
                  <a:cubicBezTo>
                    <a:pt x="1014" y="29"/>
                    <a:pt x="990" y="54"/>
                    <a:pt x="999" y="65"/>
                  </a:cubicBezTo>
                  <a:cubicBezTo>
                    <a:pt x="1008" y="75"/>
                    <a:pt x="1024" y="43"/>
                    <a:pt x="1024" y="43"/>
                  </a:cubicBezTo>
                  <a:close/>
                  <a:moveTo>
                    <a:pt x="986" y="1341"/>
                  </a:moveTo>
                  <a:cubicBezTo>
                    <a:pt x="972" y="1343"/>
                    <a:pt x="954" y="1348"/>
                    <a:pt x="961" y="1354"/>
                  </a:cubicBezTo>
                  <a:cubicBezTo>
                    <a:pt x="968" y="1360"/>
                    <a:pt x="971" y="1367"/>
                    <a:pt x="971" y="1367"/>
                  </a:cubicBezTo>
                  <a:cubicBezTo>
                    <a:pt x="985" y="1367"/>
                    <a:pt x="999" y="1359"/>
                    <a:pt x="999" y="1359"/>
                  </a:cubicBezTo>
                  <a:cubicBezTo>
                    <a:pt x="1007" y="1359"/>
                    <a:pt x="1007" y="1359"/>
                    <a:pt x="1007" y="1359"/>
                  </a:cubicBezTo>
                  <a:cubicBezTo>
                    <a:pt x="1011" y="1356"/>
                    <a:pt x="1011" y="1356"/>
                    <a:pt x="1011" y="1356"/>
                  </a:cubicBezTo>
                  <a:cubicBezTo>
                    <a:pt x="1022" y="1356"/>
                    <a:pt x="1022" y="1356"/>
                    <a:pt x="1022" y="1356"/>
                  </a:cubicBezTo>
                  <a:cubicBezTo>
                    <a:pt x="1026" y="1351"/>
                    <a:pt x="1026" y="1351"/>
                    <a:pt x="1026" y="1351"/>
                  </a:cubicBezTo>
                  <a:cubicBezTo>
                    <a:pt x="1008" y="1349"/>
                    <a:pt x="1008" y="1349"/>
                    <a:pt x="1008" y="1349"/>
                  </a:cubicBezTo>
                  <a:cubicBezTo>
                    <a:pt x="1008" y="1349"/>
                    <a:pt x="1000" y="1340"/>
                    <a:pt x="986" y="1341"/>
                  </a:cubicBezTo>
                  <a:close/>
                  <a:moveTo>
                    <a:pt x="1869" y="774"/>
                  </a:moveTo>
                  <a:cubicBezTo>
                    <a:pt x="1869" y="774"/>
                    <a:pt x="1866" y="733"/>
                    <a:pt x="1865" y="727"/>
                  </a:cubicBezTo>
                  <a:cubicBezTo>
                    <a:pt x="1863" y="721"/>
                    <a:pt x="1843" y="720"/>
                    <a:pt x="1843" y="720"/>
                  </a:cubicBezTo>
                  <a:cubicBezTo>
                    <a:pt x="1843" y="706"/>
                    <a:pt x="1843" y="706"/>
                    <a:pt x="1843" y="706"/>
                  </a:cubicBezTo>
                  <a:cubicBezTo>
                    <a:pt x="1830" y="698"/>
                    <a:pt x="1830" y="698"/>
                    <a:pt x="1830" y="698"/>
                  </a:cubicBezTo>
                  <a:cubicBezTo>
                    <a:pt x="1830" y="698"/>
                    <a:pt x="1835" y="681"/>
                    <a:pt x="1830" y="674"/>
                  </a:cubicBezTo>
                  <a:cubicBezTo>
                    <a:pt x="1825" y="667"/>
                    <a:pt x="1805" y="660"/>
                    <a:pt x="1805" y="660"/>
                  </a:cubicBezTo>
                  <a:cubicBezTo>
                    <a:pt x="1805" y="660"/>
                    <a:pt x="1840" y="654"/>
                    <a:pt x="1842" y="641"/>
                  </a:cubicBezTo>
                  <a:cubicBezTo>
                    <a:pt x="1844" y="627"/>
                    <a:pt x="1822" y="623"/>
                    <a:pt x="1822" y="623"/>
                  </a:cubicBezTo>
                  <a:cubicBezTo>
                    <a:pt x="1822" y="623"/>
                    <a:pt x="1815" y="602"/>
                    <a:pt x="1804" y="603"/>
                  </a:cubicBezTo>
                  <a:cubicBezTo>
                    <a:pt x="1792" y="604"/>
                    <a:pt x="1797" y="622"/>
                    <a:pt x="1797" y="622"/>
                  </a:cubicBezTo>
                  <a:cubicBezTo>
                    <a:pt x="1783" y="619"/>
                    <a:pt x="1783" y="619"/>
                    <a:pt x="1783" y="619"/>
                  </a:cubicBezTo>
                  <a:cubicBezTo>
                    <a:pt x="1783" y="619"/>
                    <a:pt x="1796" y="578"/>
                    <a:pt x="1796" y="568"/>
                  </a:cubicBezTo>
                  <a:cubicBezTo>
                    <a:pt x="1795" y="559"/>
                    <a:pt x="1775" y="557"/>
                    <a:pt x="1771" y="547"/>
                  </a:cubicBezTo>
                  <a:cubicBezTo>
                    <a:pt x="1768" y="538"/>
                    <a:pt x="1781" y="521"/>
                    <a:pt x="1777" y="507"/>
                  </a:cubicBezTo>
                  <a:cubicBezTo>
                    <a:pt x="1773" y="494"/>
                    <a:pt x="1713" y="465"/>
                    <a:pt x="1713" y="465"/>
                  </a:cubicBezTo>
                  <a:cubicBezTo>
                    <a:pt x="1707" y="471"/>
                    <a:pt x="1707" y="471"/>
                    <a:pt x="1707" y="471"/>
                  </a:cubicBezTo>
                  <a:cubicBezTo>
                    <a:pt x="1707" y="471"/>
                    <a:pt x="1679" y="439"/>
                    <a:pt x="1677" y="417"/>
                  </a:cubicBezTo>
                  <a:cubicBezTo>
                    <a:pt x="1676" y="394"/>
                    <a:pt x="1685" y="381"/>
                    <a:pt x="1685" y="361"/>
                  </a:cubicBezTo>
                  <a:cubicBezTo>
                    <a:pt x="1685" y="341"/>
                    <a:pt x="1666" y="298"/>
                    <a:pt x="1662" y="282"/>
                  </a:cubicBezTo>
                  <a:cubicBezTo>
                    <a:pt x="1658" y="266"/>
                    <a:pt x="1669" y="256"/>
                    <a:pt x="1671" y="247"/>
                  </a:cubicBezTo>
                  <a:cubicBezTo>
                    <a:pt x="1673" y="238"/>
                    <a:pt x="1666" y="200"/>
                    <a:pt x="1666" y="200"/>
                  </a:cubicBezTo>
                  <a:cubicBezTo>
                    <a:pt x="1649" y="192"/>
                    <a:pt x="1649" y="192"/>
                    <a:pt x="1649" y="192"/>
                  </a:cubicBezTo>
                  <a:cubicBezTo>
                    <a:pt x="1649" y="192"/>
                    <a:pt x="1635" y="177"/>
                    <a:pt x="1625" y="177"/>
                  </a:cubicBezTo>
                  <a:cubicBezTo>
                    <a:pt x="1615" y="176"/>
                    <a:pt x="1609" y="191"/>
                    <a:pt x="1609" y="191"/>
                  </a:cubicBezTo>
                  <a:cubicBezTo>
                    <a:pt x="1609" y="191"/>
                    <a:pt x="1602" y="176"/>
                    <a:pt x="1601" y="167"/>
                  </a:cubicBezTo>
                  <a:cubicBezTo>
                    <a:pt x="1600" y="159"/>
                    <a:pt x="1607" y="135"/>
                    <a:pt x="1607" y="135"/>
                  </a:cubicBezTo>
                  <a:cubicBezTo>
                    <a:pt x="1596" y="120"/>
                    <a:pt x="1596" y="120"/>
                    <a:pt x="1596" y="120"/>
                  </a:cubicBezTo>
                  <a:cubicBezTo>
                    <a:pt x="1596" y="64"/>
                    <a:pt x="1596" y="64"/>
                    <a:pt x="1596" y="64"/>
                  </a:cubicBezTo>
                  <a:cubicBezTo>
                    <a:pt x="1596" y="64"/>
                    <a:pt x="1575" y="50"/>
                    <a:pt x="1578" y="41"/>
                  </a:cubicBezTo>
                  <a:cubicBezTo>
                    <a:pt x="1582" y="32"/>
                    <a:pt x="1586" y="20"/>
                    <a:pt x="1581" y="15"/>
                  </a:cubicBezTo>
                  <a:cubicBezTo>
                    <a:pt x="1576" y="11"/>
                    <a:pt x="1564" y="9"/>
                    <a:pt x="1564" y="9"/>
                  </a:cubicBezTo>
                  <a:cubicBezTo>
                    <a:pt x="1565" y="0"/>
                    <a:pt x="1565" y="0"/>
                    <a:pt x="1565" y="0"/>
                  </a:cubicBezTo>
                  <a:cubicBezTo>
                    <a:pt x="1545" y="5"/>
                    <a:pt x="1545" y="5"/>
                    <a:pt x="1545" y="5"/>
                  </a:cubicBezTo>
                  <a:cubicBezTo>
                    <a:pt x="1541" y="18"/>
                    <a:pt x="1541" y="18"/>
                    <a:pt x="1541" y="18"/>
                  </a:cubicBezTo>
                  <a:cubicBezTo>
                    <a:pt x="1541" y="18"/>
                    <a:pt x="1529" y="26"/>
                    <a:pt x="1523" y="30"/>
                  </a:cubicBezTo>
                  <a:cubicBezTo>
                    <a:pt x="1518" y="34"/>
                    <a:pt x="1531" y="60"/>
                    <a:pt x="1531" y="70"/>
                  </a:cubicBezTo>
                  <a:cubicBezTo>
                    <a:pt x="1530" y="81"/>
                    <a:pt x="1496" y="118"/>
                    <a:pt x="1496" y="118"/>
                  </a:cubicBezTo>
                  <a:cubicBezTo>
                    <a:pt x="1507" y="127"/>
                    <a:pt x="1507" y="127"/>
                    <a:pt x="1507" y="127"/>
                  </a:cubicBezTo>
                  <a:cubicBezTo>
                    <a:pt x="1507" y="127"/>
                    <a:pt x="1492" y="147"/>
                    <a:pt x="1490" y="155"/>
                  </a:cubicBezTo>
                  <a:cubicBezTo>
                    <a:pt x="1488" y="163"/>
                    <a:pt x="1494" y="189"/>
                    <a:pt x="1494" y="189"/>
                  </a:cubicBezTo>
                  <a:cubicBezTo>
                    <a:pt x="1494" y="189"/>
                    <a:pt x="1473" y="273"/>
                    <a:pt x="1472" y="285"/>
                  </a:cubicBezTo>
                  <a:cubicBezTo>
                    <a:pt x="1471" y="296"/>
                    <a:pt x="1444" y="325"/>
                    <a:pt x="1444" y="325"/>
                  </a:cubicBezTo>
                  <a:cubicBezTo>
                    <a:pt x="1444" y="325"/>
                    <a:pt x="1445" y="358"/>
                    <a:pt x="1428" y="366"/>
                  </a:cubicBezTo>
                  <a:cubicBezTo>
                    <a:pt x="1411" y="373"/>
                    <a:pt x="1375" y="381"/>
                    <a:pt x="1375" y="381"/>
                  </a:cubicBezTo>
                  <a:cubicBezTo>
                    <a:pt x="1375" y="381"/>
                    <a:pt x="1354" y="347"/>
                    <a:pt x="1349" y="337"/>
                  </a:cubicBezTo>
                  <a:cubicBezTo>
                    <a:pt x="1344" y="328"/>
                    <a:pt x="1303" y="314"/>
                    <a:pt x="1283" y="306"/>
                  </a:cubicBezTo>
                  <a:cubicBezTo>
                    <a:pt x="1262" y="299"/>
                    <a:pt x="1249" y="266"/>
                    <a:pt x="1246" y="262"/>
                  </a:cubicBezTo>
                  <a:cubicBezTo>
                    <a:pt x="1243" y="259"/>
                    <a:pt x="1223" y="260"/>
                    <a:pt x="1223" y="260"/>
                  </a:cubicBezTo>
                  <a:cubicBezTo>
                    <a:pt x="1207" y="231"/>
                    <a:pt x="1207" y="231"/>
                    <a:pt x="1207" y="231"/>
                  </a:cubicBezTo>
                  <a:cubicBezTo>
                    <a:pt x="1220" y="217"/>
                    <a:pt x="1220" y="217"/>
                    <a:pt x="1220" y="217"/>
                  </a:cubicBezTo>
                  <a:cubicBezTo>
                    <a:pt x="1220" y="217"/>
                    <a:pt x="1213" y="206"/>
                    <a:pt x="1221" y="195"/>
                  </a:cubicBezTo>
                  <a:cubicBezTo>
                    <a:pt x="1229" y="184"/>
                    <a:pt x="1239" y="181"/>
                    <a:pt x="1239" y="181"/>
                  </a:cubicBezTo>
                  <a:cubicBezTo>
                    <a:pt x="1235" y="151"/>
                    <a:pt x="1235" y="151"/>
                    <a:pt x="1235" y="151"/>
                  </a:cubicBezTo>
                  <a:cubicBezTo>
                    <a:pt x="1248" y="139"/>
                    <a:pt x="1248" y="139"/>
                    <a:pt x="1248" y="139"/>
                  </a:cubicBezTo>
                  <a:cubicBezTo>
                    <a:pt x="1248" y="139"/>
                    <a:pt x="1262" y="146"/>
                    <a:pt x="1267" y="144"/>
                  </a:cubicBezTo>
                  <a:cubicBezTo>
                    <a:pt x="1273" y="142"/>
                    <a:pt x="1274" y="119"/>
                    <a:pt x="1274" y="119"/>
                  </a:cubicBezTo>
                  <a:cubicBezTo>
                    <a:pt x="1299" y="95"/>
                    <a:pt x="1299" y="95"/>
                    <a:pt x="1299" y="95"/>
                  </a:cubicBezTo>
                  <a:cubicBezTo>
                    <a:pt x="1299" y="95"/>
                    <a:pt x="1285" y="72"/>
                    <a:pt x="1269" y="69"/>
                  </a:cubicBezTo>
                  <a:cubicBezTo>
                    <a:pt x="1252" y="67"/>
                    <a:pt x="1231" y="92"/>
                    <a:pt x="1231" y="92"/>
                  </a:cubicBezTo>
                  <a:cubicBezTo>
                    <a:pt x="1229" y="78"/>
                    <a:pt x="1229" y="78"/>
                    <a:pt x="1229" y="78"/>
                  </a:cubicBezTo>
                  <a:cubicBezTo>
                    <a:pt x="1209" y="80"/>
                    <a:pt x="1209" y="80"/>
                    <a:pt x="1209" y="80"/>
                  </a:cubicBezTo>
                  <a:cubicBezTo>
                    <a:pt x="1200" y="89"/>
                    <a:pt x="1200" y="89"/>
                    <a:pt x="1200" y="89"/>
                  </a:cubicBezTo>
                  <a:cubicBezTo>
                    <a:pt x="1194" y="78"/>
                    <a:pt x="1194" y="78"/>
                    <a:pt x="1194" y="78"/>
                  </a:cubicBezTo>
                  <a:cubicBezTo>
                    <a:pt x="1170" y="75"/>
                    <a:pt x="1170" y="75"/>
                    <a:pt x="1170" y="75"/>
                  </a:cubicBezTo>
                  <a:cubicBezTo>
                    <a:pt x="1170" y="75"/>
                    <a:pt x="1144" y="56"/>
                    <a:pt x="1139" y="56"/>
                  </a:cubicBezTo>
                  <a:cubicBezTo>
                    <a:pt x="1135" y="57"/>
                    <a:pt x="1101" y="53"/>
                    <a:pt x="1101" y="53"/>
                  </a:cubicBezTo>
                  <a:cubicBezTo>
                    <a:pt x="1101" y="53"/>
                    <a:pt x="1093" y="31"/>
                    <a:pt x="1086" y="28"/>
                  </a:cubicBezTo>
                  <a:cubicBezTo>
                    <a:pt x="1080" y="24"/>
                    <a:pt x="1078" y="38"/>
                    <a:pt x="1078" y="38"/>
                  </a:cubicBezTo>
                  <a:cubicBezTo>
                    <a:pt x="1078" y="38"/>
                    <a:pt x="1053" y="25"/>
                    <a:pt x="1047" y="30"/>
                  </a:cubicBezTo>
                  <a:cubicBezTo>
                    <a:pt x="1041" y="34"/>
                    <a:pt x="1050" y="42"/>
                    <a:pt x="1050" y="42"/>
                  </a:cubicBezTo>
                  <a:cubicBezTo>
                    <a:pt x="1050" y="42"/>
                    <a:pt x="1037" y="41"/>
                    <a:pt x="1035" y="46"/>
                  </a:cubicBezTo>
                  <a:cubicBezTo>
                    <a:pt x="1032" y="52"/>
                    <a:pt x="1049" y="58"/>
                    <a:pt x="1060" y="61"/>
                  </a:cubicBezTo>
                  <a:cubicBezTo>
                    <a:pt x="1071" y="64"/>
                    <a:pt x="1077" y="56"/>
                    <a:pt x="1077" y="56"/>
                  </a:cubicBezTo>
                  <a:cubicBezTo>
                    <a:pt x="1099" y="65"/>
                    <a:pt x="1099" y="65"/>
                    <a:pt x="1099" y="65"/>
                  </a:cubicBezTo>
                  <a:cubicBezTo>
                    <a:pt x="1099" y="65"/>
                    <a:pt x="1077" y="78"/>
                    <a:pt x="1065" y="83"/>
                  </a:cubicBezTo>
                  <a:cubicBezTo>
                    <a:pt x="1054" y="88"/>
                    <a:pt x="1020" y="84"/>
                    <a:pt x="1012" y="86"/>
                  </a:cubicBezTo>
                  <a:cubicBezTo>
                    <a:pt x="1005" y="88"/>
                    <a:pt x="955" y="114"/>
                    <a:pt x="955" y="114"/>
                  </a:cubicBezTo>
                  <a:cubicBezTo>
                    <a:pt x="955" y="114"/>
                    <a:pt x="949" y="131"/>
                    <a:pt x="948" y="142"/>
                  </a:cubicBezTo>
                  <a:cubicBezTo>
                    <a:pt x="947" y="152"/>
                    <a:pt x="968" y="161"/>
                    <a:pt x="968" y="161"/>
                  </a:cubicBezTo>
                  <a:cubicBezTo>
                    <a:pt x="935" y="163"/>
                    <a:pt x="935" y="163"/>
                    <a:pt x="935" y="163"/>
                  </a:cubicBezTo>
                  <a:cubicBezTo>
                    <a:pt x="912" y="185"/>
                    <a:pt x="912" y="185"/>
                    <a:pt x="912" y="185"/>
                  </a:cubicBezTo>
                  <a:cubicBezTo>
                    <a:pt x="912" y="185"/>
                    <a:pt x="916" y="205"/>
                    <a:pt x="910" y="212"/>
                  </a:cubicBezTo>
                  <a:cubicBezTo>
                    <a:pt x="904" y="219"/>
                    <a:pt x="927" y="226"/>
                    <a:pt x="936" y="231"/>
                  </a:cubicBezTo>
                  <a:cubicBezTo>
                    <a:pt x="946" y="235"/>
                    <a:pt x="942" y="256"/>
                    <a:pt x="942" y="256"/>
                  </a:cubicBezTo>
                  <a:cubicBezTo>
                    <a:pt x="927" y="242"/>
                    <a:pt x="927" y="242"/>
                    <a:pt x="927" y="242"/>
                  </a:cubicBezTo>
                  <a:cubicBezTo>
                    <a:pt x="907" y="244"/>
                    <a:pt x="907" y="244"/>
                    <a:pt x="907" y="244"/>
                  </a:cubicBezTo>
                  <a:cubicBezTo>
                    <a:pt x="899" y="256"/>
                    <a:pt x="899" y="256"/>
                    <a:pt x="899" y="256"/>
                  </a:cubicBezTo>
                  <a:cubicBezTo>
                    <a:pt x="872" y="235"/>
                    <a:pt x="872" y="235"/>
                    <a:pt x="872" y="235"/>
                  </a:cubicBezTo>
                  <a:cubicBezTo>
                    <a:pt x="869" y="256"/>
                    <a:pt x="869" y="256"/>
                    <a:pt x="869" y="256"/>
                  </a:cubicBezTo>
                  <a:cubicBezTo>
                    <a:pt x="853" y="261"/>
                    <a:pt x="853" y="261"/>
                    <a:pt x="853" y="261"/>
                  </a:cubicBezTo>
                  <a:cubicBezTo>
                    <a:pt x="856" y="279"/>
                    <a:pt x="856" y="279"/>
                    <a:pt x="856" y="279"/>
                  </a:cubicBezTo>
                  <a:cubicBezTo>
                    <a:pt x="837" y="276"/>
                    <a:pt x="837" y="276"/>
                    <a:pt x="837" y="276"/>
                  </a:cubicBezTo>
                  <a:cubicBezTo>
                    <a:pt x="856" y="232"/>
                    <a:pt x="856" y="232"/>
                    <a:pt x="856" y="232"/>
                  </a:cubicBezTo>
                  <a:cubicBezTo>
                    <a:pt x="856" y="232"/>
                    <a:pt x="851" y="226"/>
                    <a:pt x="848" y="215"/>
                  </a:cubicBezTo>
                  <a:cubicBezTo>
                    <a:pt x="846" y="203"/>
                    <a:pt x="827" y="205"/>
                    <a:pt x="827" y="205"/>
                  </a:cubicBezTo>
                  <a:cubicBezTo>
                    <a:pt x="816" y="187"/>
                    <a:pt x="816" y="187"/>
                    <a:pt x="816" y="187"/>
                  </a:cubicBezTo>
                  <a:cubicBezTo>
                    <a:pt x="816" y="187"/>
                    <a:pt x="825" y="167"/>
                    <a:pt x="814" y="159"/>
                  </a:cubicBezTo>
                  <a:cubicBezTo>
                    <a:pt x="802" y="151"/>
                    <a:pt x="787" y="162"/>
                    <a:pt x="787" y="169"/>
                  </a:cubicBezTo>
                  <a:cubicBezTo>
                    <a:pt x="786" y="176"/>
                    <a:pt x="792" y="176"/>
                    <a:pt x="792" y="176"/>
                  </a:cubicBezTo>
                  <a:cubicBezTo>
                    <a:pt x="788" y="185"/>
                    <a:pt x="788" y="185"/>
                    <a:pt x="788" y="185"/>
                  </a:cubicBezTo>
                  <a:cubicBezTo>
                    <a:pt x="768" y="184"/>
                    <a:pt x="768" y="184"/>
                    <a:pt x="768" y="184"/>
                  </a:cubicBezTo>
                  <a:cubicBezTo>
                    <a:pt x="771" y="202"/>
                    <a:pt x="771" y="202"/>
                    <a:pt x="771" y="202"/>
                  </a:cubicBezTo>
                  <a:cubicBezTo>
                    <a:pt x="758" y="196"/>
                    <a:pt x="758" y="196"/>
                    <a:pt x="758" y="196"/>
                  </a:cubicBezTo>
                  <a:cubicBezTo>
                    <a:pt x="746" y="201"/>
                    <a:pt x="746" y="201"/>
                    <a:pt x="746" y="201"/>
                  </a:cubicBezTo>
                  <a:cubicBezTo>
                    <a:pt x="746" y="201"/>
                    <a:pt x="751" y="209"/>
                    <a:pt x="749" y="219"/>
                  </a:cubicBezTo>
                  <a:cubicBezTo>
                    <a:pt x="747" y="230"/>
                    <a:pt x="731" y="238"/>
                    <a:pt x="731" y="238"/>
                  </a:cubicBezTo>
                  <a:cubicBezTo>
                    <a:pt x="736" y="214"/>
                    <a:pt x="736" y="214"/>
                    <a:pt x="736" y="214"/>
                  </a:cubicBezTo>
                  <a:cubicBezTo>
                    <a:pt x="724" y="229"/>
                    <a:pt x="724" y="229"/>
                    <a:pt x="724" y="229"/>
                  </a:cubicBezTo>
                  <a:cubicBezTo>
                    <a:pt x="724" y="229"/>
                    <a:pt x="713" y="227"/>
                    <a:pt x="706" y="237"/>
                  </a:cubicBezTo>
                  <a:cubicBezTo>
                    <a:pt x="699" y="247"/>
                    <a:pt x="710" y="268"/>
                    <a:pt x="710" y="268"/>
                  </a:cubicBezTo>
                  <a:cubicBezTo>
                    <a:pt x="679" y="255"/>
                    <a:pt x="679" y="255"/>
                    <a:pt x="679" y="255"/>
                  </a:cubicBezTo>
                  <a:cubicBezTo>
                    <a:pt x="676" y="279"/>
                    <a:pt x="676" y="279"/>
                    <a:pt x="676" y="279"/>
                  </a:cubicBezTo>
                  <a:cubicBezTo>
                    <a:pt x="665" y="281"/>
                    <a:pt x="665" y="281"/>
                    <a:pt x="665" y="281"/>
                  </a:cubicBezTo>
                  <a:cubicBezTo>
                    <a:pt x="676" y="298"/>
                    <a:pt x="676" y="298"/>
                    <a:pt x="676" y="298"/>
                  </a:cubicBezTo>
                  <a:cubicBezTo>
                    <a:pt x="688" y="297"/>
                    <a:pt x="688" y="297"/>
                    <a:pt x="688" y="297"/>
                  </a:cubicBezTo>
                  <a:cubicBezTo>
                    <a:pt x="685" y="308"/>
                    <a:pt x="685" y="308"/>
                    <a:pt x="685" y="308"/>
                  </a:cubicBezTo>
                  <a:cubicBezTo>
                    <a:pt x="638" y="312"/>
                    <a:pt x="638" y="312"/>
                    <a:pt x="638" y="312"/>
                  </a:cubicBezTo>
                  <a:cubicBezTo>
                    <a:pt x="638" y="312"/>
                    <a:pt x="624" y="302"/>
                    <a:pt x="614" y="310"/>
                  </a:cubicBezTo>
                  <a:cubicBezTo>
                    <a:pt x="604" y="319"/>
                    <a:pt x="620" y="337"/>
                    <a:pt x="620" y="337"/>
                  </a:cubicBezTo>
                  <a:cubicBezTo>
                    <a:pt x="622" y="359"/>
                    <a:pt x="622" y="359"/>
                    <a:pt x="622" y="359"/>
                  </a:cubicBezTo>
                  <a:cubicBezTo>
                    <a:pt x="616" y="373"/>
                    <a:pt x="616" y="373"/>
                    <a:pt x="616" y="373"/>
                  </a:cubicBezTo>
                  <a:cubicBezTo>
                    <a:pt x="620" y="399"/>
                    <a:pt x="620" y="399"/>
                    <a:pt x="620" y="399"/>
                  </a:cubicBezTo>
                  <a:cubicBezTo>
                    <a:pt x="609" y="400"/>
                    <a:pt x="609" y="400"/>
                    <a:pt x="609" y="400"/>
                  </a:cubicBezTo>
                  <a:cubicBezTo>
                    <a:pt x="606" y="348"/>
                    <a:pt x="606" y="348"/>
                    <a:pt x="606" y="348"/>
                  </a:cubicBezTo>
                  <a:cubicBezTo>
                    <a:pt x="595" y="337"/>
                    <a:pt x="595" y="337"/>
                    <a:pt x="595" y="337"/>
                  </a:cubicBezTo>
                  <a:cubicBezTo>
                    <a:pt x="593" y="316"/>
                    <a:pt x="593" y="316"/>
                    <a:pt x="593" y="316"/>
                  </a:cubicBezTo>
                  <a:cubicBezTo>
                    <a:pt x="580" y="317"/>
                    <a:pt x="580" y="317"/>
                    <a:pt x="580" y="317"/>
                  </a:cubicBezTo>
                  <a:cubicBezTo>
                    <a:pt x="569" y="332"/>
                    <a:pt x="569" y="332"/>
                    <a:pt x="569" y="332"/>
                  </a:cubicBezTo>
                  <a:cubicBezTo>
                    <a:pt x="569" y="332"/>
                    <a:pt x="556" y="344"/>
                    <a:pt x="537" y="360"/>
                  </a:cubicBezTo>
                  <a:cubicBezTo>
                    <a:pt x="519" y="376"/>
                    <a:pt x="531" y="409"/>
                    <a:pt x="531" y="409"/>
                  </a:cubicBezTo>
                  <a:cubicBezTo>
                    <a:pt x="531" y="409"/>
                    <a:pt x="548" y="414"/>
                    <a:pt x="546" y="423"/>
                  </a:cubicBezTo>
                  <a:cubicBezTo>
                    <a:pt x="543" y="433"/>
                    <a:pt x="510" y="445"/>
                    <a:pt x="504" y="448"/>
                  </a:cubicBezTo>
                  <a:cubicBezTo>
                    <a:pt x="498" y="451"/>
                    <a:pt x="501" y="461"/>
                    <a:pt x="501" y="461"/>
                  </a:cubicBezTo>
                  <a:cubicBezTo>
                    <a:pt x="501" y="461"/>
                    <a:pt x="480" y="480"/>
                    <a:pt x="463" y="494"/>
                  </a:cubicBezTo>
                  <a:cubicBezTo>
                    <a:pt x="445" y="507"/>
                    <a:pt x="393" y="512"/>
                    <a:pt x="393" y="512"/>
                  </a:cubicBezTo>
                  <a:cubicBezTo>
                    <a:pt x="359" y="505"/>
                    <a:pt x="359" y="505"/>
                    <a:pt x="359" y="505"/>
                  </a:cubicBezTo>
                  <a:cubicBezTo>
                    <a:pt x="332" y="519"/>
                    <a:pt x="332" y="519"/>
                    <a:pt x="332" y="519"/>
                  </a:cubicBezTo>
                  <a:cubicBezTo>
                    <a:pt x="295" y="524"/>
                    <a:pt x="295" y="524"/>
                    <a:pt x="295" y="524"/>
                  </a:cubicBezTo>
                  <a:cubicBezTo>
                    <a:pt x="290" y="529"/>
                    <a:pt x="290" y="529"/>
                    <a:pt x="290" y="529"/>
                  </a:cubicBezTo>
                  <a:cubicBezTo>
                    <a:pt x="290" y="529"/>
                    <a:pt x="280" y="529"/>
                    <a:pt x="271" y="534"/>
                  </a:cubicBezTo>
                  <a:cubicBezTo>
                    <a:pt x="262" y="538"/>
                    <a:pt x="251" y="549"/>
                    <a:pt x="251" y="549"/>
                  </a:cubicBezTo>
                  <a:cubicBezTo>
                    <a:pt x="251" y="549"/>
                    <a:pt x="232" y="550"/>
                    <a:pt x="218" y="554"/>
                  </a:cubicBezTo>
                  <a:cubicBezTo>
                    <a:pt x="204" y="558"/>
                    <a:pt x="188" y="587"/>
                    <a:pt x="188" y="587"/>
                  </a:cubicBezTo>
                  <a:cubicBezTo>
                    <a:pt x="188" y="587"/>
                    <a:pt x="153" y="595"/>
                    <a:pt x="146" y="599"/>
                  </a:cubicBezTo>
                  <a:cubicBezTo>
                    <a:pt x="138" y="604"/>
                    <a:pt x="103" y="649"/>
                    <a:pt x="103" y="649"/>
                  </a:cubicBezTo>
                  <a:cubicBezTo>
                    <a:pt x="109" y="605"/>
                    <a:pt x="109" y="605"/>
                    <a:pt x="109" y="605"/>
                  </a:cubicBezTo>
                  <a:cubicBezTo>
                    <a:pt x="97" y="612"/>
                    <a:pt x="97" y="612"/>
                    <a:pt x="97" y="612"/>
                  </a:cubicBezTo>
                  <a:cubicBezTo>
                    <a:pt x="83" y="649"/>
                    <a:pt x="83" y="649"/>
                    <a:pt x="83" y="649"/>
                  </a:cubicBezTo>
                  <a:cubicBezTo>
                    <a:pt x="83" y="649"/>
                    <a:pt x="69" y="675"/>
                    <a:pt x="62" y="690"/>
                  </a:cubicBezTo>
                  <a:cubicBezTo>
                    <a:pt x="56" y="705"/>
                    <a:pt x="79" y="711"/>
                    <a:pt x="79" y="711"/>
                  </a:cubicBezTo>
                  <a:cubicBezTo>
                    <a:pt x="79" y="711"/>
                    <a:pt x="59" y="732"/>
                    <a:pt x="49" y="741"/>
                  </a:cubicBezTo>
                  <a:cubicBezTo>
                    <a:pt x="38" y="750"/>
                    <a:pt x="58" y="789"/>
                    <a:pt x="59" y="795"/>
                  </a:cubicBezTo>
                  <a:cubicBezTo>
                    <a:pt x="59" y="802"/>
                    <a:pt x="84" y="845"/>
                    <a:pt x="78" y="849"/>
                  </a:cubicBezTo>
                  <a:cubicBezTo>
                    <a:pt x="72" y="854"/>
                    <a:pt x="48" y="813"/>
                    <a:pt x="48" y="813"/>
                  </a:cubicBezTo>
                  <a:cubicBezTo>
                    <a:pt x="36" y="811"/>
                    <a:pt x="36" y="811"/>
                    <a:pt x="36" y="811"/>
                  </a:cubicBezTo>
                  <a:cubicBezTo>
                    <a:pt x="46" y="841"/>
                    <a:pt x="46" y="841"/>
                    <a:pt x="46" y="841"/>
                  </a:cubicBezTo>
                  <a:cubicBezTo>
                    <a:pt x="23" y="821"/>
                    <a:pt x="23" y="821"/>
                    <a:pt x="23" y="821"/>
                  </a:cubicBezTo>
                  <a:cubicBezTo>
                    <a:pt x="23" y="821"/>
                    <a:pt x="19" y="844"/>
                    <a:pt x="22" y="858"/>
                  </a:cubicBezTo>
                  <a:cubicBezTo>
                    <a:pt x="25" y="872"/>
                    <a:pt x="48" y="907"/>
                    <a:pt x="48" y="907"/>
                  </a:cubicBezTo>
                  <a:cubicBezTo>
                    <a:pt x="48" y="907"/>
                    <a:pt x="37" y="929"/>
                    <a:pt x="35" y="937"/>
                  </a:cubicBezTo>
                  <a:cubicBezTo>
                    <a:pt x="33" y="945"/>
                    <a:pt x="63" y="968"/>
                    <a:pt x="64" y="974"/>
                  </a:cubicBezTo>
                  <a:cubicBezTo>
                    <a:pt x="65" y="981"/>
                    <a:pt x="66" y="1003"/>
                    <a:pt x="60" y="1011"/>
                  </a:cubicBezTo>
                  <a:cubicBezTo>
                    <a:pt x="55" y="1019"/>
                    <a:pt x="68" y="1065"/>
                    <a:pt x="68" y="1065"/>
                  </a:cubicBezTo>
                  <a:cubicBezTo>
                    <a:pt x="68" y="1065"/>
                    <a:pt x="64" y="1067"/>
                    <a:pt x="56" y="1073"/>
                  </a:cubicBezTo>
                  <a:cubicBezTo>
                    <a:pt x="49" y="1079"/>
                    <a:pt x="65" y="1115"/>
                    <a:pt x="65" y="1115"/>
                  </a:cubicBezTo>
                  <a:cubicBezTo>
                    <a:pt x="65" y="1115"/>
                    <a:pt x="85" y="1124"/>
                    <a:pt x="87" y="1141"/>
                  </a:cubicBezTo>
                  <a:cubicBezTo>
                    <a:pt x="89" y="1157"/>
                    <a:pt x="60" y="1186"/>
                    <a:pt x="60" y="1186"/>
                  </a:cubicBezTo>
                  <a:cubicBezTo>
                    <a:pt x="60" y="1186"/>
                    <a:pt x="69" y="1219"/>
                    <a:pt x="52" y="1236"/>
                  </a:cubicBezTo>
                  <a:cubicBezTo>
                    <a:pt x="35" y="1252"/>
                    <a:pt x="4" y="1244"/>
                    <a:pt x="4" y="1244"/>
                  </a:cubicBezTo>
                  <a:cubicBezTo>
                    <a:pt x="0" y="1276"/>
                    <a:pt x="0" y="1276"/>
                    <a:pt x="0" y="1276"/>
                  </a:cubicBezTo>
                  <a:cubicBezTo>
                    <a:pt x="0" y="1276"/>
                    <a:pt x="32" y="1284"/>
                    <a:pt x="41" y="1289"/>
                  </a:cubicBezTo>
                  <a:cubicBezTo>
                    <a:pt x="50" y="1295"/>
                    <a:pt x="56" y="1305"/>
                    <a:pt x="56" y="1305"/>
                  </a:cubicBezTo>
                  <a:cubicBezTo>
                    <a:pt x="73" y="1303"/>
                    <a:pt x="73" y="1303"/>
                    <a:pt x="73" y="1303"/>
                  </a:cubicBezTo>
                  <a:cubicBezTo>
                    <a:pt x="73" y="1303"/>
                    <a:pt x="82" y="1312"/>
                    <a:pt x="96" y="1317"/>
                  </a:cubicBezTo>
                  <a:cubicBezTo>
                    <a:pt x="109" y="1322"/>
                    <a:pt x="140" y="1312"/>
                    <a:pt x="153" y="1311"/>
                  </a:cubicBezTo>
                  <a:cubicBezTo>
                    <a:pt x="165" y="1311"/>
                    <a:pt x="155" y="1295"/>
                    <a:pt x="155" y="1295"/>
                  </a:cubicBezTo>
                  <a:cubicBezTo>
                    <a:pt x="180" y="1297"/>
                    <a:pt x="180" y="1297"/>
                    <a:pt x="180" y="1297"/>
                  </a:cubicBezTo>
                  <a:cubicBezTo>
                    <a:pt x="186" y="1285"/>
                    <a:pt x="186" y="1285"/>
                    <a:pt x="186" y="1285"/>
                  </a:cubicBezTo>
                  <a:cubicBezTo>
                    <a:pt x="213" y="1281"/>
                    <a:pt x="213" y="1281"/>
                    <a:pt x="213" y="1281"/>
                  </a:cubicBezTo>
                  <a:cubicBezTo>
                    <a:pt x="213" y="1281"/>
                    <a:pt x="237" y="1256"/>
                    <a:pt x="250" y="1255"/>
                  </a:cubicBezTo>
                  <a:cubicBezTo>
                    <a:pt x="262" y="1255"/>
                    <a:pt x="274" y="1270"/>
                    <a:pt x="281" y="1268"/>
                  </a:cubicBezTo>
                  <a:cubicBezTo>
                    <a:pt x="289" y="1266"/>
                    <a:pt x="326" y="1248"/>
                    <a:pt x="326" y="1248"/>
                  </a:cubicBezTo>
                  <a:cubicBezTo>
                    <a:pt x="326" y="1248"/>
                    <a:pt x="348" y="1258"/>
                    <a:pt x="359" y="1256"/>
                  </a:cubicBezTo>
                  <a:cubicBezTo>
                    <a:pt x="370" y="1255"/>
                    <a:pt x="377" y="1245"/>
                    <a:pt x="384" y="1244"/>
                  </a:cubicBezTo>
                  <a:cubicBezTo>
                    <a:pt x="392" y="1244"/>
                    <a:pt x="411" y="1256"/>
                    <a:pt x="426" y="1253"/>
                  </a:cubicBezTo>
                  <a:cubicBezTo>
                    <a:pt x="441" y="1250"/>
                    <a:pt x="438" y="1231"/>
                    <a:pt x="438" y="1231"/>
                  </a:cubicBezTo>
                  <a:cubicBezTo>
                    <a:pt x="438" y="1231"/>
                    <a:pt x="450" y="1228"/>
                    <a:pt x="454" y="1225"/>
                  </a:cubicBezTo>
                  <a:cubicBezTo>
                    <a:pt x="459" y="1222"/>
                    <a:pt x="465" y="1195"/>
                    <a:pt x="478" y="1183"/>
                  </a:cubicBezTo>
                  <a:cubicBezTo>
                    <a:pt x="491" y="1171"/>
                    <a:pt x="524" y="1179"/>
                    <a:pt x="535" y="1176"/>
                  </a:cubicBezTo>
                  <a:cubicBezTo>
                    <a:pt x="545" y="1174"/>
                    <a:pt x="579" y="1155"/>
                    <a:pt x="594" y="1153"/>
                  </a:cubicBezTo>
                  <a:cubicBezTo>
                    <a:pt x="610" y="1151"/>
                    <a:pt x="612" y="1158"/>
                    <a:pt x="631" y="1161"/>
                  </a:cubicBezTo>
                  <a:cubicBezTo>
                    <a:pt x="650" y="1164"/>
                    <a:pt x="697" y="1131"/>
                    <a:pt x="716" y="1125"/>
                  </a:cubicBezTo>
                  <a:cubicBezTo>
                    <a:pt x="736" y="1119"/>
                    <a:pt x="819" y="1113"/>
                    <a:pt x="819" y="1113"/>
                  </a:cubicBezTo>
                  <a:cubicBezTo>
                    <a:pt x="826" y="1106"/>
                    <a:pt x="826" y="1106"/>
                    <a:pt x="826" y="1106"/>
                  </a:cubicBezTo>
                  <a:cubicBezTo>
                    <a:pt x="826" y="1106"/>
                    <a:pt x="854" y="1131"/>
                    <a:pt x="872" y="1138"/>
                  </a:cubicBezTo>
                  <a:cubicBezTo>
                    <a:pt x="889" y="1145"/>
                    <a:pt x="896" y="1136"/>
                    <a:pt x="896" y="1136"/>
                  </a:cubicBezTo>
                  <a:cubicBezTo>
                    <a:pt x="896" y="1136"/>
                    <a:pt x="899" y="1153"/>
                    <a:pt x="907" y="1156"/>
                  </a:cubicBezTo>
                  <a:cubicBezTo>
                    <a:pt x="915" y="1159"/>
                    <a:pt x="920" y="1152"/>
                    <a:pt x="920" y="1152"/>
                  </a:cubicBezTo>
                  <a:cubicBezTo>
                    <a:pt x="923" y="1167"/>
                    <a:pt x="923" y="1167"/>
                    <a:pt x="923" y="1167"/>
                  </a:cubicBezTo>
                  <a:cubicBezTo>
                    <a:pt x="923" y="1167"/>
                    <a:pt x="935" y="1165"/>
                    <a:pt x="936" y="1174"/>
                  </a:cubicBezTo>
                  <a:cubicBezTo>
                    <a:pt x="937" y="1182"/>
                    <a:pt x="918" y="1206"/>
                    <a:pt x="918" y="1206"/>
                  </a:cubicBezTo>
                  <a:cubicBezTo>
                    <a:pt x="932" y="1225"/>
                    <a:pt x="932" y="1225"/>
                    <a:pt x="932" y="1225"/>
                  </a:cubicBezTo>
                  <a:cubicBezTo>
                    <a:pt x="941" y="1216"/>
                    <a:pt x="941" y="1216"/>
                    <a:pt x="941" y="1216"/>
                  </a:cubicBezTo>
                  <a:cubicBezTo>
                    <a:pt x="954" y="1243"/>
                    <a:pt x="954" y="1243"/>
                    <a:pt x="954" y="1243"/>
                  </a:cubicBezTo>
                  <a:cubicBezTo>
                    <a:pt x="954" y="1243"/>
                    <a:pt x="963" y="1270"/>
                    <a:pt x="964" y="1279"/>
                  </a:cubicBezTo>
                  <a:cubicBezTo>
                    <a:pt x="965" y="1287"/>
                    <a:pt x="937" y="1280"/>
                    <a:pt x="937" y="1280"/>
                  </a:cubicBezTo>
                  <a:cubicBezTo>
                    <a:pt x="944" y="1303"/>
                    <a:pt x="944" y="1303"/>
                    <a:pt x="944" y="1303"/>
                  </a:cubicBezTo>
                  <a:cubicBezTo>
                    <a:pt x="944" y="1303"/>
                    <a:pt x="953" y="1303"/>
                    <a:pt x="962" y="1304"/>
                  </a:cubicBezTo>
                  <a:cubicBezTo>
                    <a:pt x="971" y="1304"/>
                    <a:pt x="970" y="1311"/>
                    <a:pt x="970" y="1311"/>
                  </a:cubicBezTo>
                  <a:cubicBezTo>
                    <a:pt x="983" y="1308"/>
                    <a:pt x="983" y="1308"/>
                    <a:pt x="983" y="1308"/>
                  </a:cubicBezTo>
                  <a:cubicBezTo>
                    <a:pt x="983" y="1308"/>
                    <a:pt x="979" y="1294"/>
                    <a:pt x="979" y="1283"/>
                  </a:cubicBezTo>
                  <a:cubicBezTo>
                    <a:pt x="980" y="1272"/>
                    <a:pt x="998" y="1263"/>
                    <a:pt x="1010" y="1261"/>
                  </a:cubicBezTo>
                  <a:cubicBezTo>
                    <a:pt x="1022" y="1258"/>
                    <a:pt x="1045" y="1222"/>
                    <a:pt x="1045" y="1222"/>
                  </a:cubicBezTo>
                  <a:cubicBezTo>
                    <a:pt x="1060" y="1224"/>
                    <a:pt x="1060" y="1224"/>
                    <a:pt x="1060" y="1224"/>
                  </a:cubicBezTo>
                  <a:cubicBezTo>
                    <a:pt x="1074" y="1191"/>
                    <a:pt x="1074" y="1191"/>
                    <a:pt x="1074" y="1191"/>
                  </a:cubicBezTo>
                  <a:cubicBezTo>
                    <a:pt x="1074" y="1191"/>
                    <a:pt x="1093" y="1188"/>
                    <a:pt x="1102" y="1187"/>
                  </a:cubicBezTo>
                  <a:cubicBezTo>
                    <a:pt x="1110" y="1186"/>
                    <a:pt x="1115" y="1156"/>
                    <a:pt x="1115" y="1156"/>
                  </a:cubicBezTo>
                  <a:cubicBezTo>
                    <a:pt x="1115" y="1156"/>
                    <a:pt x="1120" y="1180"/>
                    <a:pt x="1121" y="1187"/>
                  </a:cubicBezTo>
                  <a:cubicBezTo>
                    <a:pt x="1122" y="1195"/>
                    <a:pt x="1093" y="1209"/>
                    <a:pt x="1093" y="1209"/>
                  </a:cubicBezTo>
                  <a:cubicBezTo>
                    <a:pt x="1083" y="1210"/>
                    <a:pt x="1083" y="1210"/>
                    <a:pt x="1083" y="1210"/>
                  </a:cubicBezTo>
                  <a:cubicBezTo>
                    <a:pt x="1078" y="1217"/>
                    <a:pt x="1078" y="1217"/>
                    <a:pt x="1078" y="1217"/>
                  </a:cubicBezTo>
                  <a:cubicBezTo>
                    <a:pt x="1089" y="1240"/>
                    <a:pt x="1089" y="1240"/>
                    <a:pt x="1089" y="1240"/>
                  </a:cubicBezTo>
                  <a:cubicBezTo>
                    <a:pt x="1089" y="1240"/>
                    <a:pt x="1079" y="1244"/>
                    <a:pt x="1072" y="1248"/>
                  </a:cubicBezTo>
                  <a:cubicBezTo>
                    <a:pt x="1065" y="1253"/>
                    <a:pt x="1047" y="1276"/>
                    <a:pt x="1047" y="1276"/>
                  </a:cubicBezTo>
                  <a:cubicBezTo>
                    <a:pt x="1047" y="1276"/>
                    <a:pt x="1042" y="1295"/>
                    <a:pt x="1035" y="1299"/>
                  </a:cubicBezTo>
                  <a:cubicBezTo>
                    <a:pt x="1028" y="1304"/>
                    <a:pt x="1004" y="1313"/>
                    <a:pt x="1011" y="1319"/>
                  </a:cubicBezTo>
                  <a:cubicBezTo>
                    <a:pt x="1018" y="1326"/>
                    <a:pt x="1045" y="1316"/>
                    <a:pt x="1054" y="1313"/>
                  </a:cubicBezTo>
                  <a:cubicBezTo>
                    <a:pt x="1062" y="1309"/>
                    <a:pt x="1063" y="1296"/>
                    <a:pt x="1069" y="1287"/>
                  </a:cubicBezTo>
                  <a:cubicBezTo>
                    <a:pt x="1076" y="1277"/>
                    <a:pt x="1090" y="1267"/>
                    <a:pt x="1090" y="1267"/>
                  </a:cubicBezTo>
                  <a:cubicBezTo>
                    <a:pt x="1090" y="1267"/>
                    <a:pt x="1093" y="1292"/>
                    <a:pt x="1095" y="1298"/>
                  </a:cubicBezTo>
                  <a:cubicBezTo>
                    <a:pt x="1097" y="1304"/>
                    <a:pt x="1084" y="1315"/>
                    <a:pt x="1075" y="1320"/>
                  </a:cubicBezTo>
                  <a:cubicBezTo>
                    <a:pt x="1067" y="1325"/>
                    <a:pt x="1066" y="1333"/>
                    <a:pt x="1072" y="1339"/>
                  </a:cubicBezTo>
                  <a:cubicBezTo>
                    <a:pt x="1079" y="1344"/>
                    <a:pt x="1110" y="1344"/>
                    <a:pt x="1110" y="1344"/>
                  </a:cubicBezTo>
                  <a:cubicBezTo>
                    <a:pt x="1115" y="1351"/>
                    <a:pt x="1115" y="1351"/>
                    <a:pt x="1115" y="1351"/>
                  </a:cubicBezTo>
                  <a:cubicBezTo>
                    <a:pt x="1100" y="1364"/>
                    <a:pt x="1100" y="1364"/>
                    <a:pt x="1100" y="1364"/>
                  </a:cubicBezTo>
                  <a:cubicBezTo>
                    <a:pt x="1100" y="1364"/>
                    <a:pt x="1116" y="1393"/>
                    <a:pt x="1118" y="1403"/>
                  </a:cubicBezTo>
                  <a:cubicBezTo>
                    <a:pt x="1121" y="1414"/>
                    <a:pt x="1097" y="1430"/>
                    <a:pt x="1088" y="1441"/>
                  </a:cubicBezTo>
                  <a:cubicBezTo>
                    <a:pt x="1078" y="1452"/>
                    <a:pt x="1110" y="1474"/>
                    <a:pt x="1118" y="1477"/>
                  </a:cubicBezTo>
                  <a:cubicBezTo>
                    <a:pt x="1125" y="1480"/>
                    <a:pt x="1139" y="1500"/>
                    <a:pt x="1154" y="1505"/>
                  </a:cubicBezTo>
                  <a:cubicBezTo>
                    <a:pt x="1169" y="1510"/>
                    <a:pt x="1180" y="1501"/>
                    <a:pt x="1194" y="1504"/>
                  </a:cubicBezTo>
                  <a:cubicBezTo>
                    <a:pt x="1207" y="1507"/>
                    <a:pt x="1210" y="1524"/>
                    <a:pt x="1229" y="1527"/>
                  </a:cubicBezTo>
                  <a:cubicBezTo>
                    <a:pt x="1249" y="1531"/>
                    <a:pt x="1297" y="1498"/>
                    <a:pt x="1297" y="1498"/>
                  </a:cubicBezTo>
                  <a:cubicBezTo>
                    <a:pt x="1297" y="1498"/>
                    <a:pt x="1290" y="1484"/>
                    <a:pt x="1305" y="1475"/>
                  </a:cubicBezTo>
                  <a:cubicBezTo>
                    <a:pt x="1320" y="1466"/>
                    <a:pt x="1319" y="1502"/>
                    <a:pt x="1319" y="1502"/>
                  </a:cubicBezTo>
                  <a:cubicBezTo>
                    <a:pt x="1330" y="1501"/>
                    <a:pt x="1330" y="1501"/>
                    <a:pt x="1330" y="1501"/>
                  </a:cubicBezTo>
                  <a:cubicBezTo>
                    <a:pt x="1320" y="1517"/>
                    <a:pt x="1320" y="1517"/>
                    <a:pt x="1320" y="1517"/>
                  </a:cubicBezTo>
                  <a:cubicBezTo>
                    <a:pt x="1333" y="1518"/>
                    <a:pt x="1333" y="1518"/>
                    <a:pt x="1333" y="1518"/>
                  </a:cubicBezTo>
                  <a:cubicBezTo>
                    <a:pt x="1333" y="1518"/>
                    <a:pt x="1334" y="1530"/>
                    <a:pt x="1341" y="1539"/>
                  </a:cubicBezTo>
                  <a:cubicBezTo>
                    <a:pt x="1347" y="1547"/>
                    <a:pt x="1354" y="1543"/>
                    <a:pt x="1354" y="1543"/>
                  </a:cubicBezTo>
                  <a:cubicBezTo>
                    <a:pt x="1360" y="1532"/>
                    <a:pt x="1360" y="1532"/>
                    <a:pt x="1360" y="1532"/>
                  </a:cubicBezTo>
                  <a:cubicBezTo>
                    <a:pt x="1360" y="1532"/>
                    <a:pt x="1378" y="1530"/>
                    <a:pt x="1388" y="1521"/>
                  </a:cubicBezTo>
                  <a:cubicBezTo>
                    <a:pt x="1399" y="1513"/>
                    <a:pt x="1443" y="1482"/>
                    <a:pt x="1443" y="1482"/>
                  </a:cubicBezTo>
                  <a:cubicBezTo>
                    <a:pt x="1438" y="1472"/>
                    <a:pt x="1438" y="1472"/>
                    <a:pt x="1438" y="1472"/>
                  </a:cubicBezTo>
                  <a:cubicBezTo>
                    <a:pt x="1462" y="1468"/>
                    <a:pt x="1462" y="1468"/>
                    <a:pt x="1462" y="1468"/>
                  </a:cubicBezTo>
                  <a:cubicBezTo>
                    <a:pt x="1471" y="1476"/>
                    <a:pt x="1471" y="1476"/>
                    <a:pt x="1471" y="1476"/>
                  </a:cubicBezTo>
                  <a:cubicBezTo>
                    <a:pt x="1471" y="1476"/>
                    <a:pt x="1510" y="1469"/>
                    <a:pt x="1533" y="1461"/>
                  </a:cubicBezTo>
                  <a:cubicBezTo>
                    <a:pt x="1555" y="1452"/>
                    <a:pt x="1557" y="1408"/>
                    <a:pt x="1560" y="1396"/>
                  </a:cubicBezTo>
                  <a:cubicBezTo>
                    <a:pt x="1564" y="1385"/>
                    <a:pt x="1590" y="1370"/>
                    <a:pt x="1590" y="1370"/>
                  </a:cubicBezTo>
                  <a:cubicBezTo>
                    <a:pt x="1590" y="1355"/>
                    <a:pt x="1590" y="1355"/>
                    <a:pt x="1590" y="1355"/>
                  </a:cubicBezTo>
                  <a:cubicBezTo>
                    <a:pt x="1590" y="1355"/>
                    <a:pt x="1605" y="1349"/>
                    <a:pt x="1613" y="1338"/>
                  </a:cubicBezTo>
                  <a:cubicBezTo>
                    <a:pt x="1620" y="1328"/>
                    <a:pt x="1631" y="1314"/>
                    <a:pt x="1631" y="1314"/>
                  </a:cubicBezTo>
                  <a:cubicBezTo>
                    <a:pt x="1631" y="1314"/>
                    <a:pt x="1633" y="1285"/>
                    <a:pt x="1641" y="1275"/>
                  </a:cubicBezTo>
                  <a:cubicBezTo>
                    <a:pt x="1648" y="1266"/>
                    <a:pt x="1682" y="1228"/>
                    <a:pt x="1695" y="1222"/>
                  </a:cubicBezTo>
                  <a:cubicBezTo>
                    <a:pt x="1707" y="1216"/>
                    <a:pt x="1709" y="1185"/>
                    <a:pt x="1709" y="1185"/>
                  </a:cubicBezTo>
                  <a:cubicBezTo>
                    <a:pt x="1709" y="1185"/>
                    <a:pt x="1732" y="1189"/>
                    <a:pt x="1741" y="1179"/>
                  </a:cubicBezTo>
                  <a:cubicBezTo>
                    <a:pt x="1750" y="1170"/>
                    <a:pt x="1797" y="1111"/>
                    <a:pt x="1800" y="1104"/>
                  </a:cubicBezTo>
                  <a:cubicBezTo>
                    <a:pt x="1804" y="1098"/>
                    <a:pt x="1803" y="1067"/>
                    <a:pt x="1813" y="1060"/>
                  </a:cubicBezTo>
                  <a:cubicBezTo>
                    <a:pt x="1822" y="1053"/>
                    <a:pt x="1864" y="971"/>
                    <a:pt x="1874" y="952"/>
                  </a:cubicBezTo>
                  <a:cubicBezTo>
                    <a:pt x="1884" y="933"/>
                    <a:pt x="1872" y="920"/>
                    <a:pt x="1871" y="907"/>
                  </a:cubicBezTo>
                  <a:cubicBezTo>
                    <a:pt x="1870" y="894"/>
                    <a:pt x="1880" y="873"/>
                    <a:pt x="1889" y="859"/>
                  </a:cubicBezTo>
                  <a:cubicBezTo>
                    <a:pt x="1898" y="845"/>
                    <a:pt x="1888" y="783"/>
                    <a:pt x="1888" y="783"/>
                  </a:cubicBezTo>
                  <a:lnTo>
                    <a:pt x="1869" y="774"/>
                  </a:lnTo>
                  <a:close/>
                  <a:moveTo>
                    <a:pt x="1347" y="1624"/>
                  </a:moveTo>
                  <a:cubicBezTo>
                    <a:pt x="1349" y="1631"/>
                    <a:pt x="1373" y="1619"/>
                    <a:pt x="1364" y="1612"/>
                  </a:cubicBezTo>
                  <a:cubicBezTo>
                    <a:pt x="1355" y="1605"/>
                    <a:pt x="1347" y="1624"/>
                    <a:pt x="1347" y="1624"/>
                  </a:cubicBezTo>
                  <a:close/>
                  <a:moveTo>
                    <a:pt x="1332" y="1632"/>
                  </a:moveTo>
                  <a:cubicBezTo>
                    <a:pt x="1323" y="1626"/>
                    <a:pt x="1312" y="1646"/>
                    <a:pt x="1312" y="1646"/>
                  </a:cubicBezTo>
                  <a:cubicBezTo>
                    <a:pt x="1312" y="1646"/>
                    <a:pt x="1308" y="1640"/>
                    <a:pt x="1304" y="1640"/>
                  </a:cubicBezTo>
                  <a:cubicBezTo>
                    <a:pt x="1300" y="1639"/>
                    <a:pt x="1277" y="1643"/>
                    <a:pt x="1277" y="1643"/>
                  </a:cubicBezTo>
                  <a:cubicBezTo>
                    <a:pt x="1274" y="1651"/>
                    <a:pt x="1274" y="1651"/>
                    <a:pt x="1274" y="1651"/>
                  </a:cubicBezTo>
                  <a:cubicBezTo>
                    <a:pt x="1261" y="1640"/>
                    <a:pt x="1261" y="1640"/>
                    <a:pt x="1261" y="1640"/>
                  </a:cubicBezTo>
                  <a:cubicBezTo>
                    <a:pt x="1236" y="1638"/>
                    <a:pt x="1236" y="1638"/>
                    <a:pt x="1236" y="1638"/>
                  </a:cubicBezTo>
                  <a:cubicBezTo>
                    <a:pt x="1221" y="1620"/>
                    <a:pt x="1221" y="1620"/>
                    <a:pt x="1221" y="1620"/>
                  </a:cubicBezTo>
                  <a:cubicBezTo>
                    <a:pt x="1221" y="1620"/>
                    <a:pt x="1216" y="1623"/>
                    <a:pt x="1210" y="1624"/>
                  </a:cubicBezTo>
                  <a:cubicBezTo>
                    <a:pt x="1205" y="1625"/>
                    <a:pt x="1188" y="1605"/>
                    <a:pt x="1188" y="1605"/>
                  </a:cubicBezTo>
                  <a:cubicBezTo>
                    <a:pt x="1184" y="1616"/>
                    <a:pt x="1184" y="1616"/>
                    <a:pt x="1184" y="1616"/>
                  </a:cubicBezTo>
                  <a:cubicBezTo>
                    <a:pt x="1188" y="1629"/>
                    <a:pt x="1188" y="1629"/>
                    <a:pt x="1188" y="1629"/>
                  </a:cubicBezTo>
                  <a:cubicBezTo>
                    <a:pt x="1188" y="1629"/>
                    <a:pt x="1189" y="1645"/>
                    <a:pt x="1187" y="1650"/>
                  </a:cubicBezTo>
                  <a:cubicBezTo>
                    <a:pt x="1185" y="1655"/>
                    <a:pt x="1179" y="1663"/>
                    <a:pt x="1185" y="1674"/>
                  </a:cubicBezTo>
                  <a:cubicBezTo>
                    <a:pt x="1191" y="1685"/>
                    <a:pt x="1184" y="1691"/>
                    <a:pt x="1176" y="1694"/>
                  </a:cubicBezTo>
                  <a:cubicBezTo>
                    <a:pt x="1167" y="1696"/>
                    <a:pt x="1160" y="1686"/>
                    <a:pt x="1160" y="1686"/>
                  </a:cubicBezTo>
                  <a:cubicBezTo>
                    <a:pt x="1160" y="1686"/>
                    <a:pt x="1156" y="1700"/>
                    <a:pt x="1155" y="1713"/>
                  </a:cubicBezTo>
                  <a:cubicBezTo>
                    <a:pt x="1154" y="1727"/>
                    <a:pt x="1166" y="1748"/>
                    <a:pt x="1166" y="1748"/>
                  </a:cubicBezTo>
                  <a:cubicBezTo>
                    <a:pt x="1181" y="1750"/>
                    <a:pt x="1181" y="1750"/>
                    <a:pt x="1181" y="1750"/>
                  </a:cubicBezTo>
                  <a:cubicBezTo>
                    <a:pt x="1168" y="1757"/>
                    <a:pt x="1168" y="1757"/>
                    <a:pt x="1168" y="1757"/>
                  </a:cubicBezTo>
                  <a:cubicBezTo>
                    <a:pt x="1173" y="1774"/>
                    <a:pt x="1173" y="1774"/>
                    <a:pt x="1173" y="1774"/>
                  </a:cubicBezTo>
                  <a:cubicBezTo>
                    <a:pt x="1173" y="1774"/>
                    <a:pt x="1185" y="1769"/>
                    <a:pt x="1191" y="1766"/>
                  </a:cubicBezTo>
                  <a:cubicBezTo>
                    <a:pt x="1198" y="1763"/>
                    <a:pt x="1203" y="1773"/>
                    <a:pt x="1214" y="1769"/>
                  </a:cubicBezTo>
                  <a:cubicBezTo>
                    <a:pt x="1225" y="1764"/>
                    <a:pt x="1232" y="1748"/>
                    <a:pt x="1239" y="1752"/>
                  </a:cubicBezTo>
                  <a:cubicBezTo>
                    <a:pt x="1247" y="1757"/>
                    <a:pt x="1236" y="1768"/>
                    <a:pt x="1236" y="1768"/>
                  </a:cubicBezTo>
                  <a:cubicBezTo>
                    <a:pt x="1247" y="1772"/>
                    <a:pt x="1247" y="1772"/>
                    <a:pt x="1247" y="1772"/>
                  </a:cubicBezTo>
                  <a:cubicBezTo>
                    <a:pt x="1247" y="1772"/>
                    <a:pt x="1268" y="1744"/>
                    <a:pt x="1277" y="1738"/>
                  </a:cubicBezTo>
                  <a:cubicBezTo>
                    <a:pt x="1285" y="1733"/>
                    <a:pt x="1268" y="1726"/>
                    <a:pt x="1268" y="1726"/>
                  </a:cubicBezTo>
                  <a:cubicBezTo>
                    <a:pt x="1282" y="1706"/>
                    <a:pt x="1282" y="1706"/>
                    <a:pt x="1282" y="1706"/>
                  </a:cubicBezTo>
                  <a:cubicBezTo>
                    <a:pt x="1282" y="1706"/>
                    <a:pt x="1292" y="1710"/>
                    <a:pt x="1303" y="1704"/>
                  </a:cubicBezTo>
                  <a:cubicBezTo>
                    <a:pt x="1314" y="1699"/>
                    <a:pt x="1305" y="1678"/>
                    <a:pt x="1315" y="1667"/>
                  </a:cubicBezTo>
                  <a:cubicBezTo>
                    <a:pt x="1326" y="1656"/>
                    <a:pt x="1340" y="1638"/>
                    <a:pt x="1332" y="1632"/>
                  </a:cubicBezTo>
                  <a:close/>
                  <a:moveTo>
                    <a:pt x="1269" y="162"/>
                  </a:moveTo>
                  <a:cubicBezTo>
                    <a:pt x="1263" y="162"/>
                    <a:pt x="1259" y="193"/>
                    <a:pt x="1259" y="193"/>
                  </a:cubicBezTo>
                  <a:cubicBezTo>
                    <a:pt x="1269" y="207"/>
                    <a:pt x="1290" y="195"/>
                    <a:pt x="1290" y="195"/>
                  </a:cubicBezTo>
                  <a:cubicBezTo>
                    <a:pt x="1286" y="186"/>
                    <a:pt x="1286" y="186"/>
                    <a:pt x="1286" y="186"/>
                  </a:cubicBezTo>
                  <a:cubicBezTo>
                    <a:pt x="1290" y="167"/>
                    <a:pt x="1290" y="167"/>
                    <a:pt x="1290" y="167"/>
                  </a:cubicBezTo>
                  <a:cubicBezTo>
                    <a:pt x="1290" y="167"/>
                    <a:pt x="1274" y="162"/>
                    <a:pt x="1269" y="162"/>
                  </a:cubicBezTo>
                  <a:close/>
                  <a:moveTo>
                    <a:pt x="1182" y="1554"/>
                  </a:moveTo>
                  <a:cubicBezTo>
                    <a:pt x="1175" y="1581"/>
                    <a:pt x="1175" y="1581"/>
                    <a:pt x="1175" y="1581"/>
                  </a:cubicBezTo>
                  <a:cubicBezTo>
                    <a:pt x="1209" y="1549"/>
                    <a:pt x="1209" y="1549"/>
                    <a:pt x="1209" y="1549"/>
                  </a:cubicBezTo>
                  <a:lnTo>
                    <a:pt x="1182" y="1554"/>
                  </a:lnTo>
                  <a:close/>
                  <a:moveTo>
                    <a:pt x="1357" y="1597"/>
                  </a:moveTo>
                  <a:cubicBezTo>
                    <a:pt x="1345" y="1572"/>
                    <a:pt x="1345" y="1572"/>
                    <a:pt x="1345" y="1572"/>
                  </a:cubicBezTo>
                  <a:cubicBezTo>
                    <a:pt x="1345" y="1572"/>
                    <a:pt x="1333" y="1579"/>
                    <a:pt x="1332" y="1587"/>
                  </a:cubicBezTo>
                  <a:cubicBezTo>
                    <a:pt x="1332" y="1594"/>
                    <a:pt x="1334" y="1597"/>
                    <a:pt x="1343" y="1600"/>
                  </a:cubicBezTo>
                  <a:cubicBezTo>
                    <a:pt x="1352" y="1603"/>
                    <a:pt x="1357" y="1597"/>
                    <a:pt x="1357" y="1597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41" name="Freeform 157"/>
            <p:cNvSpPr>
              <a:spLocks/>
            </p:cNvSpPr>
            <p:nvPr/>
          </p:nvSpPr>
          <p:spPr bwMode="auto">
            <a:xfrm>
              <a:off x="1331" y="1884"/>
              <a:ext cx="8" cy="9"/>
            </a:xfrm>
            <a:custGeom>
              <a:avLst/>
              <a:gdLst>
                <a:gd name="T0" fmla="*/ 0 w 22"/>
                <a:gd name="T1" fmla="*/ 0 h 25"/>
                <a:gd name="T2" fmla="*/ 0 w 22"/>
                <a:gd name="T3" fmla="*/ 0 h 25"/>
                <a:gd name="T4" fmla="*/ 0 w 22"/>
                <a:gd name="T5" fmla="*/ 0 h 25"/>
                <a:gd name="T6" fmla="*/ 0 w 22"/>
                <a:gd name="T7" fmla="*/ 0 h 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2"/>
                <a:gd name="T13" fmla="*/ 0 h 25"/>
                <a:gd name="T14" fmla="*/ 22 w 22"/>
                <a:gd name="T15" fmla="*/ 25 h 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2" h="25">
                  <a:moveTo>
                    <a:pt x="0" y="15"/>
                  </a:moveTo>
                  <a:cubicBezTo>
                    <a:pt x="0" y="15"/>
                    <a:pt x="2" y="25"/>
                    <a:pt x="12" y="22"/>
                  </a:cubicBezTo>
                  <a:cubicBezTo>
                    <a:pt x="22" y="19"/>
                    <a:pt x="18" y="18"/>
                    <a:pt x="15" y="9"/>
                  </a:cubicBezTo>
                  <a:cubicBezTo>
                    <a:pt x="12" y="0"/>
                    <a:pt x="0" y="4"/>
                    <a:pt x="0" y="15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42" name="Freeform 158"/>
            <p:cNvSpPr>
              <a:spLocks noEditPoints="1"/>
            </p:cNvSpPr>
            <p:nvPr/>
          </p:nvSpPr>
          <p:spPr bwMode="auto">
            <a:xfrm>
              <a:off x="676" y="1168"/>
              <a:ext cx="1410" cy="731"/>
            </a:xfrm>
            <a:custGeom>
              <a:avLst/>
              <a:gdLst>
                <a:gd name="T0" fmla="*/ 0 w 3718"/>
                <a:gd name="T1" fmla="*/ 0 h 1928"/>
                <a:gd name="T2" fmla="*/ 0 w 3718"/>
                <a:gd name="T3" fmla="*/ 0 h 1928"/>
                <a:gd name="T4" fmla="*/ 0 w 3718"/>
                <a:gd name="T5" fmla="*/ 0 h 1928"/>
                <a:gd name="T6" fmla="*/ 0 w 3718"/>
                <a:gd name="T7" fmla="*/ 0 h 1928"/>
                <a:gd name="T8" fmla="*/ 0 w 3718"/>
                <a:gd name="T9" fmla="*/ 0 h 1928"/>
                <a:gd name="T10" fmla="*/ 0 w 3718"/>
                <a:gd name="T11" fmla="*/ 0 h 1928"/>
                <a:gd name="T12" fmla="*/ 0 w 3718"/>
                <a:gd name="T13" fmla="*/ 0 h 1928"/>
                <a:gd name="T14" fmla="*/ 0 w 3718"/>
                <a:gd name="T15" fmla="*/ 0 h 1928"/>
                <a:gd name="T16" fmla="*/ 0 w 3718"/>
                <a:gd name="T17" fmla="*/ 0 h 1928"/>
                <a:gd name="T18" fmla="*/ 0 w 3718"/>
                <a:gd name="T19" fmla="*/ 0 h 1928"/>
                <a:gd name="T20" fmla="*/ 0 w 3718"/>
                <a:gd name="T21" fmla="*/ 0 h 1928"/>
                <a:gd name="T22" fmla="*/ 0 w 3718"/>
                <a:gd name="T23" fmla="*/ 0 h 1928"/>
                <a:gd name="T24" fmla="*/ 0 w 3718"/>
                <a:gd name="T25" fmla="*/ 0 h 1928"/>
                <a:gd name="T26" fmla="*/ 0 w 3718"/>
                <a:gd name="T27" fmla="*/ 0 h 1928"/>
                <a:gd name="T28" fmla="*/ 0 w 3718"/>
                <a:gd name="T29" fmla="*/ 0 h 1928"/>
                <a:gd name="T30" fmla="*/ 0 w 3718"/>
                <a:gd name="T31" fmla="*/ 0 h 1928"/>
                <a:gd name="T32" fmla="*/ 0 w 3718"/>
                <a:gd name="T33" fmla="*/ 0 h 1928"/>
                <a:gd name="T34" fmla="*/ 0 w 3718"/>
                <a:gd name="T35" fmla="*/ 0 h 1928"/>
                <a:gd name="T36" fmla="*/ 0 w 3718"/>
                <a:gd name="T37" fmla="*/ 0 h 1928"/>
                <a:gd name="T38" fmla="*/ 0 w 3718"/>
                <a:gd name="T39" fmla="*/ 0 h 1928"/>
                <a:gd name="T40" fmla="*/ 0 w 3718"/>
                <a:gd name="T41" fmla="*/ 0 h 1928"/>
                <a:gd name="T42" fmla="*/ 0 w 3718"/>
                <a:gd name="T43" fmla="*/ 0 h 1928"/>
                <a:gd name="T44" fmla="*/ 0 w 3718"/>
                <a:gd name="T45" fmla="*/ 0 h 1928"/>
                <a:gd name="T46" fmla="*/ 0 w 3718"/>
                <a:gd name="T47" fmla="*/ 0 h 1928"/>
                <a:gd name="T48" fmla="*/ 0 w 3718"/>
                <a:gd name="T49" fmla="*/ 0 h 1928"/>
                <a:gd name="T50" fmla="*/ 0 w 3718"/>
                <a:gd name="T51" fmla="*/ 0 h 1928"/>
                <a:gd name="T52" fmla="*/ 0 w 3718"/>
                <a:gd name="T53" fmla="*/ 0 h 1928"/>
                <a:gd name="T54" fmla="*/ 0 w 3718"/>
                <a:gd name="T55" fmla="*/ 0 h 1928"/>
                <a:gd name="T56" fmla="*/ 0 w 3718"/>
                <a:gd name="T57" fmla="*/ 0 h 1928"/>
                <a:gd name="T58" fmla="*/ 0 w 3718"/>
                <a:gd name="T59" fmla="*/ 0 h 1928"/>
                <a:gd name="T60" fmla="*/ 0 w 3718"/>
                <a:gd name="T61" fmla="*/ 0 h 1928"/>
                <a:gd name="T62" fmla="*/ 0 w 3718"/>
                <a:gd name="T63" fmla="*/ 0 h 1928"/>
                <a:gd name="T64" fmla="*/ 0 w 3718"/>
                <a:gd name="T65" fmla="*/ 0 h 1928"/>
                <a:gd name="T66" fmla="*/ 0 w 3718"/>
                <a:gd name="T67" fmla="*/ 0 h 1928"/>
                <a:gd name="T68" fmla="*/ 0 w 3718"/>
                <a:gd name="T69" fmla="*/ 0 h 1928"/>
                <a:gd name="T70" fmla="*/ 0 w 3718"/>
                <a:gd name="T71" fmla="*/ 0 h 1928"/>
                <a:gd name="T72" fmla="*/ 0 w 3718"/>
                <a:gd name="T73" fmla="*/ 0 h 1928"/>
                <a:gd name="T74" fmla="*/ 0 w 3718"/>
                <a:gd name="T75" fmla="*/ 0 h 1928"/>
                <a:gd name="T76" fmla="*/ 0 w 3718"/>
                <a:gd name="T77" fmla="*/ 0 h 1928"/>
                <a:gd name="T78" fmla="*/ 0 w 3718"/>
                <a:gd name="T79" fmla="*/ 0 h 1928"/>
                <a:gd name="T80" fmla="*/ 0 w 3718"/>
                <a:gd name="T81" fmla="*/ 0 h 1928"/>
                <a:gd name="T82" fmla="*/ 0 w 3718"/>
                <a:gd name="T83" fmla="*/ 0 h 1928"/>
                <a:gd name="T84" fmla="*/ 0 w 3718"/>
                <a:gd name="T85" fmla="*/ 0 h 1928"/>
                <a:gd name="T86" fmla="*/ 0 w 3718"/>
                <a:gd name="T87" fmla="*/ 0 h 1928"/>
                <a:gd name="T88" fmla="*/ 0 w 3718"/>
                <a:gd name="T89" fmla="*/ 0 h 1928"/>
                <a:gd name="T90" fmla="*/ 0 w 3718"/>
                <a:gd name="T91" fmla="*/ 0 h 1928"/>
                <a:gd name="T92" fmla="*/ 0 w 3718"/>
                <a:gd name="T93" fmla="*/ 0 h 1928"/>
                <a:gd name="T94" fmla="*/ 0 w 3718"/>
                <a:gd name="T95" fmla="*/ 0 h 1928"/>
                <a:gd name="T96" fmla="*/ 0 w 3718"/>
                <a:gd name="T97" fmla="*/ 0 h 1928"/>
                <a:gd name="T98" fmla="*/ 0 w 3718"/>
                <a:gd name="T99" fmla="*/ 0 h 1928"/>
                <a:gd name="T100" fmla="*/ 0 w 3718"/>
                <a:gd name="T101" fmla="*/ 0 h 1928"/>
                <a:gd name="T102" fmla="*/ 0 w 3718"/>
                <a:gd name="T103" fmla="*/ 0 h 1928"/>
                <a:gd name="T104" fmla="*/ 0 w 3718"/>
                <a:gd name="T105" fmla="*/ 0 h 1928"/>
                <a:gd name="T106" fmla="*/ 0 w 3718"/>
                <a:gd name="T107" fmla="*/ 0 h 1928"/>
                <a:gd name="T108" fmla="*/ 0 w 3718"/>
                <a:gd name="T109" fmla="*/ 0 h 1928"/>
                <a:gd name="T110" fmla="*/ 0 w 3718"/>
                <a:gd name="T111" fmla="*/ 0 h 1928"/>
                <a:gd name="T112" fmla="*/ 0 w 3718"/>
                <a:gd name="T113" fmla="*/ 0 h 1928"/>
                <a:gd name="T114" fmla="*/ 0 w 3718"/>
                <a:gd name="T115" fmla="*/ 0 h 1928"/>
                <a:gd name="T116" fmla="*/ 0 w 3718"/>
                <a:gd name="T117" fmla="*/ 0 h 1928"/>
                <a:gd name="T118" fmla="*/ 0 w 3718"/>
                <a:gd name="T119" fmla="*/ 0 h 1928"/>
                <a:gd name="T120" fmla="*/ 0 w 3718"/>
                <a:gd name="T121" fmla="*/ 0 h 1928"/>
                <a:gd name="T122" fmla="*/ 0 w 3718"/>
                <a:gd name="T123" fmla="*/ 0 h 192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718"/>
                <a:gd name="T187" fmla="*/ 0 h 1928"/>
                <a:gd name="T188" fmla="*/ 3718 w 3718"/>
                <a:gd name="T189" fmla="*/ 1928 h 192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718" h="1928">
                  <a:moveTo>
                    <a:pt x="2074" y="170"/>
                  </a:moveTo>
                  <a:cubicBezTo>
                    <a:pt x="2084" y="169"/>
                    <a:pt x="2113" y="177"/>
                    <a:pt x="2115" y="169"/>
                  </a:cubicBezTo>
                  <a:cubicBezTo>
                    <a:pt x="2117" y="160"/>
                    <a:pt x="2107" y="154"/>
                    <a:pt x="2091" y="154"/>
                  </a:cubicBezTo>
                  <a:cubicBezTo>
                    <a:pt x="2074" y="154"/>
                    <a:pt x="2009" y="165"/>
                    <a:pt x="2009" y="165"/>
                  </a:cubicBezTo>
                  <a:cubicBezTo>
                    <a:pt x="2009" y="165"/>
                    <a:pt x="2065" y="171"/>
                    <a:pt x="2074" y="170"/>
                  </a:cubicBezTo>
                  <a:close/>
                  <a:moveTo>
                    <a:pt x="1990" y="214"/>
                  </a:moveTo>
                  <a:cubicBezTo>
                    <a:pt x="2052" y="218"/>
                    <a:pt x="2047" y="199"/>
                    <a:pt x="2047" y="199"/>
                  </a:cubicBezTo>
                  <a:cubicBezTo>
                    <a:pt x="2043" y="189"/>
                    <a:pt x="2043" y="189"/>
                    <a:pt x="2043" y="189"/>
                  </a:cubicBezTo>
                  <a:cubicBezTo>
                    <a:pt x="2089" y="184"/>
                    <a:pt x="2089" y="184"/>
                    <a:pt x="2089" y="184"/>
                  </a:cubicBezTo>
                  <a:cubicBezTo>
                    <a:pt x="2078" y="176"/>
                    <a:pt x="2078" y="176"/>
                    <a:pt x="2078" y="176"/>
                  </a:cubicBezTo>
                  <a:cubicBezTo>
                    <a:pt x="2033" y="178"/>
                    <a:pt x="2033" y="178"/>
                    <a:pt x="2033" y="178"/>
                  </a:cubicBezTo>
                  <a:cubicBezTo>
                    <a:pt x="2025" y="186"/>
                    <a:pt x="2025" y="186"/>
                    <a:pt x="2025" y="186"/>
                  </a:cubicBezTo>
                  <a:cubicBezTo>
                    <a:pt x="2025" y="186"/>
                    <a:pt x="1966" y="173"/>
                    <a:pt x="1959" y="189"/>
                  </a:cubicBezTo>
                  <a:cubicBezTo>
                    <a:pt x="1953" y="205"/>
                    <a:pt x="1990" y="214"/>
                    <a:pt x="1990" y="214"/>
                  </a:cubicBezTo>
                  <a:close/>
                  <a:moveTo>
                    <a:pt x="1785" y="257"/>
                  </a:moveTo>
                  <a:cubicBezTo>
                    <a:pt x="1749" y="275"/>
                    <a:pt x="1749" y="275"/>
                    <a:pt x="1749" y="275"/>
                  </a:cubicBezTo>
                  <a:cubicBezTo>
                    <a:pt x="1749" y="275"/>
                    <a:pt x="1784" y="281"/>
                    <a:pt x="1768" y="284"/>
                  </a:cubicBezTo>
                  <a:cubicBezTo>
                    <a:pt x="1752" y="288"/>
                    <a:pt x="1694" y="292"/>
                    <a:pt x="1694" y="292"/>
                  </a:cubicBezTo>
                  <a:cubicBezTo>
                    <a:pt x="1680" y="308"/>
                    <a:pt x="1680" y="308"/>
                    <a:pt x="1680" y="308"/>
                  </a:cubicBezTo>
                  <a:cubicBezTo>
                    <a:pt x="1717" y="303"/>
                    <a:pt x="1717" y="303"/>
                    <a:pt x="1717" y="303"/>
                  </a:cubicBezTo>
                  <a:cubicBezTo>
                    <a:pt x="1717" y="303"/>
                    <a:pt x="1732" y="308"/>
                    <a:pt x="1751" y="311"/>
                  </a:cubicBezTo>
                  <a:cubicBezTo>
                    <a:pt x="1770" y="314"/>
                    <a:pt x="1826" y="295"/>
                    <a:pt x="1826" y="295"/>
                  </a:cubicBezTo>
                  <a:cubicBezTo>
                    <a:pt x="1824" y="304"/>
                    <a:pt x="1824" y="304"/>
                    <a:pt x="1824" y="304"/>
                  </a:cubicBezTo>
                  <a:cubicBezTo>
                    <a:pt x="1824" y="304"/>
                    <a:pt x="1862" y="299"/>
                    <a:pt x="1892" y="297"/>
                  </a:cubicBezTo>
                  <a:cubicBezTo>
                    <a:pt x="1920" y="295"/>
                    <a:pt x="1895" y="302"/>
                    <a:pt x="1885" y="304"/>
                  </a:cubicBezTo>
                  <a:cubicBezTo>
                    <a:pt x="1875" y="305"/>
                    <a:pt x="1841" y="309"/>
                    <a:pt x="1816" y="312"/>
                  </a:cubicBezTo>
                  <a:cubicBezTo>
                    <a:pt x="1791" y="315"/>
                    <a:pt x="1760" y="326"/>
                    <a:pt x="1760" y="326"/>
                  </a:cubicBezTo>
                  <a:cubicBezTo>
                    <a:pt x="1760" y="326"/>
                    <a:pt x="1788" y="331"/>
                    <a:pt x="1838" y="333"/>
                  </a:cubicBezTo>
                  <a:cubicBezTo>
                    <a:pt x="1886" y="334"/>
                    <a:pt x="1920" y="313"/>
                    <a:pt x="1920" y="313"/>
                  </a:cubicBezTo>
                  <a:cubicBezTo>
                    <a:pt x="1970" y="300"/>
                    <a:pt x="1970" y="300"/>
                    <a:pt x="1970" y="300"/>
                  </a:cubicBezTo>
                  <a:cubicBezTo>
                    <a:pt x="1970" y="300"/>
                    <a:pt x="1987" y="306"/>
                    <a:pt x="2035" y="300"/>
                  </a:cubicBezTo>
                  <a:cubicBezTo>
                    <a:pt x="2081" y="294"/>
                    <a:pt x="2084" y="284"/>
                    <a:pt x="2103" y="279"/>
                  </a:cubicBezTo>
                  <a:cubicBezTo>
                    <a:pt x="2121" y="274"/>
                    <a:pt x="2106" y="254"/>
                    <a:pt x="2086" y="254"/>
                  </a:cubicBezTo>
                  <a:cubicBezTo>
                    <a:pt x="2066" y="255"/>
                    <a:pt x="2072" y="268"/>
                    <a:pt x="2072" y="268"/>
                  </a:cubicBezTo>
                  <a:cubicBezTo>
                    <a:pt x="2045" y="267"/>
                    <a:pt x="2045" y="267"/>
                    <a:pt x="2045" y="267"/>
                  </a:cubicBezTo>
                  <a:cubicBezTo>
                    <a:pt x="2045" y="267"/>
                    <a:pt x="2050" y="260"/>
                    <a:pt x="2055" y="252"/>
                  </a:cubicBezTo>
                  <a:cubicBezTo>
                    <a:pt x="2060" y="244"/>
                    <a:pt x="2073" y="229"/>
                    <a:pt x="2061" y="229"/>
                  </a:cubicBezTo>
                  <a:cubicBezTo>
                    <a:pt x="2049" y="228"/>
                    <a:pt x="2024" y="239"/>
                    <a:pt x="1991" y="249"/>
                  </a:cubicBezTo>
                  <a:cubicBezTo>
                    <a:pt x="1957" y="259"/>
                    <a:pt x="2012" y="256"/>
                    <a:pt x="2012" y="256"/>
                  </a:cubicBezTo>
                  <a:cubicBezTo>
                    <a:pt x="2009" y="272"/>
                    <a:pt x="2009" y="272"/>
                    <a:pt x="2009" y="272"/>
                  </a:cubicBezTo>
                  <a:cubicBezTo>
                    <a:pt x="1929" y="282"/>
                    <a:pt x="1929" y="282"/>
                    <a:pt x="1929" y="282"/>
                  </a:cubicBezTo>
                  <a:cubicBezTo>
                    <a:pt x="1929" y="282"/>
                    <a:pt x="1923" y="262"/>
                    <a:pt x="1928" y="253"/>
                  </a:cubicBezTo>
                  <a:cubicBezTo>
                    <a:pt x="1932" y="244"/>
                    <a:pt x="1875" y="240"/>
                    <a:pt x="1875" y="240"/>
                  </a:cubicBezTo>
                  <a:lnTo>
                    <a:pt x="1785" y="257"/>
                  </a:lnTo>
                  <a:close/>
                  <a:moveTo>
                    <a:pt x="1887" y="230"/>
                  </a:moveTo>
                  <a:cubicBezTo>
                    <a:pt x="1905" y="215"/>
                    <a:pt x="1886" y="206"/>
                    <a:pt x="1868" y="216"/>
                  </a:cubicBezTo>
                  <a:cubicBezTo>
                    <a:pt x="1849" y="226"/>
                    <a:pt x="1887" y="230"/>
                    <a:pt x="1887" y="230"/>
                  </a:cubicBezTo>
                  <a:close/>
                  <a:moveTo>
                    <a:pt x="2008" y="377"/>
                  </a:moveTo>
                  <a:cubicBezTo>
                    <a:pt x="1988" y="361"/>
                    <a:pt x="1988" y="361"/>
                    <a:pt x="1988" y="361"/>
                  </a:cubicBezTo>
                  <a:cubicBezTo>
                    <a:pt x="1969" y="363"/>
                    <a:pt x="1969" y="363"/>
                    <a:pt x="1969" y="363"/>
                  </a:cubicBezTo>
                  <a:cubicBezTo>
                    <a:pt x="1969" y="363"/>
                    <a:pt x="1957" y="348"/>
                    <a:pt x="1932" y="357"/>
                  </a:cubicBezTo>
                  <a:cubicBezTo>
                    <a:pt x="1906" y="365"/>
                    <a:pt x="1964" y="389"/>
                    <a:pt x="1964" y="389"/>
                  </a:cubicBezTo>
                  <a:lnTo>
                    <a:pt x="2008" y="377"/>
                  </a:lnTo>
                  <a:close/>
                  <a:moveTo>
                    <a:pt x="1638" y="280"/>
                  </a:moveTo>
                  <a:cubicBezTo>
                    <a:pt x="1598" y="290"/>
                    <a:pt x="1626" y="295"/>
                    <a:pt x="1626" y="295"/>
                  </a:cubicBezTo>
                  <a:cubicBezTo>
                    <a:pt x="1683" y="281"/>
                    <a:pt x="1679" y="269"/>
                    <a:pt x="1638" y="280"/>
                  </a:cubicBezTo>
                  <a:close/>
                  <a:moveTo>
                    <a:pt x="1978" y="572"/>
                  </a:moveTo>
                  <a:cubicBezTo>
                    <a:pt x="1997" y="574"/>
                    <a:pt x="2006" y="580"/>
                    <a:pt x="2022" y="588"/>
                  </a:cubicBezTo>
                  <a:cubicBezTo>
                    <a:pt x="2038" y="596"/>
                    <a:pt x="2092" y="587"/>
                    <a:pt x="2092" y="587"/>
                  </a:cubicBezTo>
                  <a:cubicBezTo>
                    <a:pt x="2078" y="542"/>
                    <a:pt x="2078" y="542"/>
                    <a:pt x="2078" y="542"/>
                  </a:cubicBezTo>
                  <a:cubicBezTo>
                    <a:pt x="2012" y="528"/>
                    <a:pt x="2012" y="528"/>
                    <a:pt x="2012" y="528"/>
                  </a:cubicBezTo>
                  <a:cubicBezTo>
                    <a:pt x="1990" y="553"/>
                    <a:pt x="1990" y="553"/>
                    <a:pt x="1990" y="553"/>
                  </a:cubicBezTo>
                  <a:cubicBezTo>
                    <a:pt x="1968" y="555"/>
                    <a:pt x="1968" y="555"/>
                    <a:pt x="1968" y="555"/>
                  </a:cubicBezTo>
                  <a:cubicBezTo>
                    <a:pt x="1968" y="555"/>
                    <a:pt x="1959" y="571"/>
                    <a:pt x="1978" y="572"/>
                  </a:cubicBezTo>
                  <a:close/>
                  <a:moveTo>
                    <a:pt x="109" y="1360"/>
                  </a:moveTo>
                  <a:cubicBezTo>
                    <a:pt x="109" y="1369"/>
                    <a:pt x="126" y="1366"/>
                    <a:pt x="126" y="1366"/>
                  </a:cubicBezTo>
                  <a:cubicBezTo>
                    <a:pt x="124" y="1383"/>
                    <a:pt x="124" y="1383"/>
                    <a:pt x="124" y="1383"/>
                  </a:cubicBezTo>
                  <a:cubicBezTo>
                    <a:pt x="143" y="1371"/>
                    <a:pt x="143" y="1371"/>
                    <a:pt x="143" y="1371"/>
                  </a:cubicBezTo>
                  <a:cubicBezTo>
                    <a:pt x="141" y="1354"/>
                    <a:pt x="141" y="1354"/>
                    <a:pt x="141" y="1354"/>
                  </a:cubicBezTo>
                  <a:cubicBezTo>
                    <a:pt x="141" y="1354"/>
                    <a:pt x="109" y="1351"/>
                    <a:pt x="109" y="1360"/>
                  </a:cubicBezTo>
                  <a:close/>
                  <a:moveTo>
                    <a:pt x="166" y="1535"/>
                  </a:moveTo>
                  <a:cubicBezTo>
                    <a:pt x="166" y="1535"/>
                    <a:pt x="163" y="1521"/>
                    <a:pt x="164" y="1514"/>
                  </a:cubicBezTo>
                  <a:cubicBezTo>
                    <a:pt x="165" y="1507"/>
                    <a:pt x="170" y="1495"/>
                    <a:pt x="162" y="1485"/>
                  </a:cubicBezTo>
                  <a:cubicBezTo>
                    <a:pt x="162" y="1485"/>
                    <a:pt x="136" y="1481"/>
                    <a:pt x="127" y="1479"/>
                  </a:cubicBezTo>
                  <a:cubicBezTo>
                    <a:pt x="118" y="1477"/>
                    <a:pt x="103" y="1453"/>
                    <a:pt x="91" y="1452"/>
                  </a:cubicBezTo>
                  <a:cubicBezTo>
                    <a:pt x="79" y="1451"/>
                    <a:pt x="59" y="1463"/>
                    <a:pt x="64" y="1471"/>
                  </a:cubicBezTo>
                  <a:cubicBezTo>
                    <a:pt x="69" y="1479"/>
                    <a:pt x="78" y="1477"/>
                    <a:pt x="78" y="1477"/>
                  </a:cubicBezTo>
                  <a:cubicBezTo>
                    <a:pt x="87" y="1471"/>
                    <a:pt x="87" y="1471"/>
                    <a:pt x="87" y="1471"/>
                  </a:cubicBezTo>
                  <a:cubicBezTo>
                    <a:pt x="94" y="1476"/>
                    <a:pt x="94" y="1476"/>
                    <a:pt x="94" y="1476"/>
                  </a:cubicBezTo>
                  <a:cubicBezTo>
                    <a:pt x="88" y="1483"/>
                    <a:pt x="88" y="1483"/>
                    <a:pt x="88" y="1483"/>
                  </a:cubicBezTo>
                  <a:cubicBezTo>
                    <a:pt x="88" y="1483"/>
                    <a:pt x="59" y="1488"/>
                    <a:pt x="67" y="1497"/>
                  </a:cubicBezTo>
                  <a:cubicBezTo>
                    <a:pt x="75" y="1506"/>
                    <a:pt x="90" y="1497"/>
                    <a:pt x="90" y="1497"/>
                  </a:cubicBezTo>
                  <a:cubicBezTo>
                    <a:pt x="85" y="1512"/>
                    <a:pt x="85" y="1512"/>
                    <a:pt x="85" y="1512"/>
                  </a:cubicBezTo>
                  <a:cubicBezTo>
                    <a:pt x="100" y="1511"/>
                    <a:pt x="100" y="1511"/>
                    <a:pt x="100" y="1511"/>
                  </a:cubicBezTo>
                  <a:cubicBezTo>
                    <a:pt x="86" y="1522"/>
                    <a:pt x="86" y="1522"/>
                    <a:pt x="86" y="1522"/>
                  </a:cubicBezTo>
                  <a:cubicBezTo>
                    <a:pt x="112" y="1520"/>
                    <a:pt x="112" y="1520"/>
                    <a:pt x="112" y="1520"/>
                  </a:cubicBezTo>
                  <a:cubicBezTo>
                    <a:pt x="112" y="1520"/>
                    <a:pt x="85" y="1531"/>
                    <a:pt x="91" y="1536"/>
                  </a:cubicBezTo>
                  <a:cubicBezTo>
                    <a:pt x="97" y="1541"/>
                    <a:pt x="109" y="1520"/>
                    <a:pt x="115" y="1531"/>
                  </a:cubicBezTo>
                  <a:cubicBezTo>
                    <a:pt x="121" y="1542"/>
                    <a:pt x="99" y="1546"/>
                    <a:pt x="105" y="1553"/>
                  </a:cubicBezTo>
                  <a:cubicBezTo>
                    <a:pt x="111" y="1560"/>
                    <a:pt x="137" y="1555"/>
                    <a:pt x="137" y="1555"/>
                  </a:cubicBezTo>
                  <a:cubicBezTo>
                    <a:pt x="150" y="1547"/>
                    <a:pt x="150" y="1547"/>
                    <a:pt x="150" y="1547"/>
                  </a:cubicBezTo>
                  <a:cubicBezTo>
                    <a:pt x="138" y="1561"/>
                    <a:pt x="138" y="1561"/>
                    <a:pt x="138" y="1561"/>
                  </a:cubicBezTo>
                  <a:cubicBezTo>
                    <a:pt x="138" y="1561"/>
                    <a:pt x="113" y="1561"/>
                    <a:pt x="124" y="1570"/>
                  </a:cubicBezTo>
                  <a:cubicBezTo>
                    <a:pt x="135" y="1579"/>
                    <a:pt x="144" y="1579"/>
                    <a:pt x="144" y="1579"/>
                  </a:cubicBezTo>
                  <a:cubicBezTo>
                    <a:pt x="144" y="1579"/>
                    <a:pt x="168" y="1596"/>
                    <a:pt x="180" y="1586"/>
                  </a:cubicBezTo>
                  <a:cubicBezTo>
                    <a:pt x="192" y="1576"/>
                    <a:pt x="201" y="1568"/>
                    <a:pt x="192" y="1557"/>
                  </a:cubicBezTo>
                  <a:cubicBezTo>
                    <a:pt x="183" y="1546"/>
                    <a:pt x="166" y="1535"/>
                    <a:pt x="166" y="1535"/>
                  </a:cubicBezTo>
                  <a:close/>
                  <a:moveTo>
                    <a:pt x="1536" y="249"/>
                  </a:moveTo>
                  <a:cubicBezTo>
                    <a:pt x="1536" y="249"/>
                    <a:pt x="1574" y="242"/>
                    <a:pt x="1583" y="248"/>
                  </a:cubicBezTo>
                  <a:cubicBezTo>
                    <a:pt x="1593" y="254"/>
                    <a:pt x="1587" y="264"/>
                    <a:pt x="1599" y="264"/>
                  </a:cubicBezTo>
                  <a:cubicBezTo>
                    <a:pt x="1612" y="264"/>
                    <a:pt x="1634" y="259"/>
                    <a:pt x="1634" y="259"/>
                  </a:cubicBezTo>
                  <a:cubicBezTo>
                    <a:pt x="1634" y="259"/>
                    <a:pt x="1650" y="268"/>
                    <a:pt x="1665" y="261"/>
                  </a:cubicBezTo>
                  <a:cubicBezTo>
                    <a:pt x="1681" y="255"/>
                    <a:pt x="1678" y="238"/>
                    <a:pt x="1678" y="238"/>
                  </a:cubicBezTo>
                  <a:cubicBezTo>
                    <a:pt x="1700" y="238"/>
                    <a:pt x="1700" y="238"/>
                    <a:pt x="1700" y="238"/>
                  </a:cubicBezTo>
                  <a:cubicBezTo>
                    <a:pt x="1744" y="224"/>
                    <a:pt x="1744" y="224"/>
                    <a:pt x="1744" y="224"/>
                  </a:cubicBezTo>
                  <a:cubicBezTo>
                    <a:pt x="1719" y="247"/>
                    <a:pt x="1719" y="247"/>
                    <a:pt x="1719" y="247"/>
                  </a:cubicBezTo>
                  <a:cubicBezTo>
                    <a:pt x="1754" y="253"/>
                    <a:pt x="1754" y="253"/>
                    <a:pt x="1754" y="253"/>
                  </a:cubicBezTo>
                  <a:cubicBezTo>
                    <a:pt x="1791" y="238"/>
                    <a:pt x="1791" y="238"/>
                    <a:pt x="1791" y="238"/>
                  </a:cubicBezTo>
                  <a:cubicBezTo>
                    <a:pt x="1854" y="209"/>
                    <a:pt x="1854" y="209"/>
                    <a:pt x="1854" y="209"/>
                  </a:cubicBezTo>
                  <a:cubicBezTo>
                    <a:pt x="1854" y="209"/>
                    <a:pt x="1806" y="194"/>
                    <a:pt x="1797" y="194"/>
                  </a:cubicBezTo>
                  <a:cubicBezTo>
                    <a:pt x="1787" y="194"/>
                    <a:pt x="1734" y="190"/>
                    <a:pt x="1734" y="190"/>
                  </a:cubicBezTo>
                  <a:cubicBezTo>
                    <a:pt x="1683" y="198"/>
                    <a:pt x="1683" y="198"/>
                    <a:pt x="1683" y="198"/>
                  </a:cubicBezTo>
                  <a:cubicBezTo>
                    <a:pt x="1680" y="212"/>
                    <a:pt x="1680" y="212"/>
                    <a:pt x="1680" y="212"/>
                  </a:cubicBezTo>
                  <a:cubicBezTo>
                    <a:pt x="1602" y="218"/>
                    <a:pt x="1602" y="218"/>
                    <a:pt x="1602" y="218"/>
                  </a:cubicBezTo>
                  <a:cubicBezTo>
                    <a:pt x="1602" y="218"/>
                    <a:pt x="1576" y="209"/>
                    <a:pt x="1554" y="213"/>
                  </a:cubicBezTo>
                  <a:cubicBezTo>
                    <a:pt x="1532" y="216"/>
                    <a:pt x="1535" y="224"/>
                    <a:pt x="1535" y="224"/>
                  </a:cubicBezTo>
                  <a:cubicBezTo>
                    <a:pt x="1535" y="229"/>
                    <a:pt x="1536" y="249"/>
                    <a:pt x="1536" y="249"/>
                  </a:cubicBezTo>
                  <a:close/>
                  <a:moveTo>
                    <a:pt x="100" y="1323"/>
                  </a:moveTo>
                  <a:cubicBezTo>
                    <a:pt x="102" y="1338"/>
                    <a:pt x="113" y="1344"/>
                    <a:pt x="113" y="1344"/>
                  </a:cubicBezTo>
                  <a:cubicBezTo>
                    <a:pt x="121" y="1323"/>
                    <a:pt x="121" y="1323"/>
                    <a:pt x="121" y="1323"/>
                  </a:cubicBezTo>
                  <a:cubicBezTo>
                    <a:pt x="121" y="1323"/>
                    <a:pt x="98" y="1308"/>
                    <a:pt x="100" y="1323"/>
                  </a:cubicBezTo>
                  <a:close/>
                  <a:moveTo>
                    <a:pt x="82" y="1291"/>
                  </a:moveTo>
                  <a:cubicBezTo>
                    <a:pt x="78" y="1290"/>
                    <a:pt x="62" y="1294"/>
                    <a:pt x="56" y="1297"/>
                  </a:cubicBezTo>
                  <a:cubicBezTo>
                    <a:pt x="50" y="1300"/>
                    <a:pt x="45" y="1315"/>
                    <a:pt x="35" y="1315"/>
                  </a:cubicBezTo>
                  <a:cubicBezTo>
                    <a:pt x="25" y="1315"/>
                    <a:pt x="24" y="1307"/>
                    <a:pt x="34" y="1307"/>
                  </a:cubicBezTo>
                  <a:cubicBezTo>
                    <a:pt x="44" y="1307"/>
                    <a:pt x="62" y="1294"/>
                    <a:pt x="48" y="1295"/>
                  </a:cubicBezTo>
                  <a:cubicBezTo>
                    <a:pt x="34" y="1296"/>
                    <a:pt x="32" y="1299"/>
                    <a:pt x="32" y="1299"/>
                  </a:cubicBezTo>
                  <a:cubicBezTo>
                    <a:pt x="32" y="1299"/>
                    <a:pt x="35" y="1285"/>
                    <a:pt x="24" y="1289"/>
                  </a:cubicBezTo>
                  <a:cubicBezTo>
                    <a:pt x="13" y="1293"/>
                    <a:pt x="11" y="1306"/>
                    <a:pt x="11" y="1306"/>
                  </a:cubicBezTo>
                  <a:cubicBezTo>
                    <a:pt x="3" y="1324"/>
                    <a:pt x="3" y="1324"/>
                    <a:pt x="3" y="1324"/>
                  </a:cubicBezTo>
                  <a:cubicBezTo>
                    <a:pt x="3" y="1324"/>
                    <a:pt x="0" y="1336"/>
                    <a:pt x="3" y="1337"/>
                  </a:cubicBezTo>
                  <a:cubicBezTo>
                    <a:pt x="6" y="1338"/>
                    <a:pt x="9" y="1347"/>
                    <a:pt x="9" y="1347"/>
                  </a:cubicBezTo>
                  <a:cubicBezTo>
                    <a:pt x="0" y="1351"/>
                    <a:pt x="0" y="1351"/>
                    <a:pt x="0" y="1351"/>
                  </a:cubicBezTo>
                  <a:cubicBezTo>
                    <a:pt x="5" y="1386"/>
                    <a:pt x="5" y="1386"/>
                    <a:pt x="5" y="1386"/>
                  </a:cubicBezTo>
                  <a:cubicBezTo>
                    <a:pt x="5" y="1386"/>
                    <a:pt x="0" y="1398"/>
                    <a:pt x="16" y="1397"/>
                  </a:cubicBezTo>
                  <a:cubicBezTo>
                    <a:pt x="27" y="1396"/>
                    <a:pt x="16" y="1379"/>
                    <a:pt x="13" y="1372"/>
                  </a:cubicBezTo>
                  <a:cubicBezTo>
                    <a:pt x="10" y="1365"/>
                    <a:pt x="18" y="1359"/>
                    <a:pt x="23" y="1356"/>
                  </a:cubicBezTo>
                  <a:cubicBezTo>
                    <a:pt x="28" y="1353"/>
                    <a:pt x="36" y="1344"/>
                    <a:pt x="34" y="1340"/>
                  </a:cubicBezTo>
                  <a:cubicBezTo>
                    <a:pt x="34" y="1340"/>
                    <a:pt x="32" y="1329"/>
                    <a:pt x="38" y="1324"/>
                  </a:cubicBezTo>
                  <a:cubicBezTo>
                    <a:pt x="44" y="1319"/>
                    <a:pt x="55" y="1308"/>
                    <a:pt x="64" y="1303"/>
                  </a:cubicBezTo>
                  <a:cubicBezTo>
                    <a:pt x="73" y="1298"/>
                    <a:pt x="86" y="1292"/>
                    <a:pt x="82" y="1291"/>
                  </a:cubicBezTo>
                  <a:close/>
                  <a:moveTo>
                    <a:pt x="1263" y="454"/>
                  </a:moveTo>
                  <a:cubicBezTo>
                    <a:pt x="1268" y="466"/>
                    <a:pt x="1238" y="482"/>
                    <a:pt x="1266" y="478"/>
                  </a:cubicBezTo>
                  <a:cubicBezTo>
                    <a:pt x="1294" y="474"/>
                    <a:pt x="1328" y="462"/>
                    <a:pt x="1328" y="462"/>
                  </a:cubicBezTo>
                  <a:cubicBezTo>
                    <a:pt x="1354" y="468"/>
                    <a:pt x="1354" y="468"/>
                    <a:pt x="1354" y="468"/>
                  </a:cubicBezTo>
                  <a:cubicBezTo>
                    <a:pt x="1405" y="430"/>
                    <a:pt x="1405" y="430"/>
                    <a:pt x="1405" y="430"/>
                  </a:cubicBezTo>
                  <a:cubicBezTo>
                    <a:pt x="1493" y="402"/>
                    <a:pt x="1493" y="402"/>
                    <a:pt x="1493" y="402"/>
                  </a:cubicBezTo>
                  <a:cubicBezTo>
                    <a:pt x="1576" y="379"/>
                    <a:pt x="1576" y="379"/>
                    <a:pt x="1576" y="379"/>
                  </a:cubicBezTo>
                  <a:cubicBezTo>
                    <a:pt x="1642" y="366"/>
                    <a:pt x="1642" y="366"/>
                    <a:pt x="1642" y="366"/>
                  </a:cubicBezTo>
                  <a:cubicBezTo>
                    <a:pt x="1642" y="366"/>
                    <a:pt x="1603" y="334"/>
                    <a:pt x="1600" y="330"/>
                  </a:cubicBezTo>
                  <a:cubicBezTo>
                    <a:pt x="1596" y="327"/>
                    <a:pt x="1549" y="333"/>
                    <a:pt x="1549" y="333"/>
                  </a:cubicBezTo>
                  <a:cubicBezTo>
                    <a:pt x="1505" y="339"/>
                    <a:pt x="1505" y="339"/>
                    <a:pt x="1505" y="339"/>
                  </a:cubicBezTo>
                  <a:cubicBezTo>
                    <a:pt x="1481" y="321"/>
                    <a:pt x="1481" y="321"/>
                    <a:pt x="1481" y="321"/>
                  </a:cubicBezTo>
                  <a:cubicBezTo>
                    <a:pt x="1427" y="328"/>
                    <a:pt x="1427" y="328"/>
                    <a:pt x="1427" y="328"/>
                  </a:cubicBezTo>
                  <a:cubicBezTo>
                    <a:pt x="1393" y="338"/>
                    <a:pt x="1393" y="338"/>
                    <a:pt x="1393" y="338"/>
                  </a:cubicBezTo>
                  <a:cubicBezTo>
                    <a:pt x="1383" y="351"/>
                    <a:pt x="1383" y="351"/>
                    <a:pt x="1383" y="351"/>
                  </a:cubicBezTo>
                  <a:cubicBezTo>
                    <a:pt x="1372" y="371"/>
                    <a:pt x="1372" y="371"/>
                    <a:pt x="1372" y="371"/>
                  </a:cubicBezTo>
                  <a:cubicBezTo>
                    <a:pt x="1340" y="380"/>
                    <a:pt x="1340" y="380"/>
                    <a:pt x="1340" y="380"/>
                  </a:cubicBezTo>
                  <a:cubicBezTo>
                    <a:pt x="1294" y="393"/>
                    <a:pt x="1294" y="393"/>
                    <a:pt x="1294" y="393"/>
                  </a:cubicBezTo>
                  <a:cubicBezTo>
                    <a:pt x="1307" y="401"/>
                    <a:pt x="1307" y="401"/>
                    <a:pt x="1307" y="401"/>
                  </a:cubicBezTo>
                  <a:cubicBezTo>
                    <a:pt x="1227" y="437"/>
                    <a:pt x="1227" y="437"/>
                    <a:pt x="1227" y="437"/>
                  </a:cubicBezTo>
                  <a:cubicBezTo>
                    <a:pt x="1227" y="437"/>
                    <a:pt x="1259" y="442"/>
                    <a:pt x="1263" y="454"/>
                  </a:cubicBezTo>
                  <a:close/>
                  <a:moveTo>
                    <a:pt x="132" y="1313"/>
                  </a:moveTo>
                  <a:cubicBezTo>
                    <a:pt x="125" y="1331"/>
                    <a:pt x="125" y="1331"/>
                    <a:pt x="125" y="1331"/>
                  </a:cubicBezTo>
                  <a:cubicBezTo>
                    <a:pt x="127" y="1343"/>
                    <a:pt x="127" y="1343"/>
                    <a:pt x="127" y="1343"/>
                  </a:cubicBezTo>
                  <a:cubicBezTo>
                    <a:pt x="143" y="1333"/>
                    <a:pt x="143" y="1333"/>
                    <a:pt x="143" y="1333"/>
                  </a:cubicBezTo>
                  <a:lnTo>
                    <a:pt x="132" y="1313"/>
                  </a:lnTo>
                  <a:close/>
                  <a:moveTo>
                    <a:pt x="2786" y="403"/>
                  </a:moveTo>
                  <a:cubicBezTo>
                    <a:pt x="2802" y="409"/>
                    <a:pt x="2824" y="395"/>
                    <a:pt x="2824" y="395"/>
                  </a:cubicBezTo>
                  <a:cubicBezTo>
                    <a:pt x="2865" y="394"/>
                    <a:pt x="2865" y="394"/>
                    <a:pt x="2865" y="394"/>
                  </a:cubicBezTo>
                  <a:cubicBezTo>
                    <a:pt x="2865" y="394"/>
                    <a:pt x="2891" y="404"/>
                    <a:pt x="2899" y="398"/>
                  </a:cubicBezTo>
                  <a:cubicBezTo>
                    <a:pt x="2906" y="393"/>
                    <a:pt x="2900" y="370"/>
                    <a:pt x="2883" y="366"/>
                  </a:cubicBezTo>
                  <a:cubicBezTo>
                    <a:pt x="2865" y="362"/>
                    <a:pt x="2849" y="367"/>
                    <a:pt x="2849" y="367"/>
                  </a:cubicBezTo>
                  <a:cubicBezTo>
                    <a:pt x="2823" y="367"/>
                    <a:pt x="2823" y="367"/>
                    <a:pt x="2823" y="367"/>
                  </a:cubicBezTo>
                  <a:cubicBezTo>
                    <a:pt x="2823" y="367"/>
                    <a:pt x="2793" y="355"/>
                    <a:pt x="2782" y="364"/>
                  </a:cubicBezTo>
                  <a:cubicBezTo>
                    <a:pt x="2772" y="372"/>
                    <a:pt x="2768" y="378"/>
                    <a:pt x="2768" y="378"/>
                  </a:cubicBezTo>
                  <a:cubicBezTo>
                    <a:pt x="2781" y="385"/>
                    <a:pt x="2781" y="385"/>
                    <a:pt x="2781" y="385"/>
                  </a:cubicBezTo>
                  <a:cubicBezTo>
                    <a:pt x="2781" y="385"/>
                    <a:pt x="2772" y="397"/>
                    <a:pt x="2786" y="403"/>
                  </a:cubicBezTo>
                  <a:close/>
                  <a:moveTo>
                    <a:pt x="2471" y="347"/>
                  </a:moveTo>
                  <a:cubicBezTo>
                    <a:pt x="2457" y="346"/>
                    <a:pt x="2380" y="337"/>
                    <a:pt x="2339" y="339"/>
                  </a:cubicBezTo>
                  <a:cubicBezTo>
                    <a:pt x="2300" y="340"/>
                    <a:pt x="2311" y="339"/>
                    <a:pt x="2310" y="347"/>
                  </a:cubicBezTo>
                  <a:cubicBezTo>
                    <a:pt x="2308" y="356"/>
                    <a:pt x="2294" y="359"/>
                    <a:pt x="2260" y="367"/>
                  </a:cubicBezTo>
                  <a:cubicBezTo>
                    <a:pt x="2227" y="374"/>
                    <a:pt x="2259" y="375"/>
                    <a:pt x="2257" y="397"/>
                  </a:cubicBezTo>
                  <a:cubicBezTo>
                    <a:pt x="2245" y="414"/>
                    <a:pt x="2245" y="414"/>
                    <a:pt x="2245" y="414"/>
                  </a:cubicBezTo>
                  <a:cubicBezTo>
                    <a:pt x="2265" y="426"/>
                    <a:pt x="2265" y="426"/>
                    <a:pt x="2265" y="426"/>
                  </a:cubicBezTo>
                  <a:cubicBezTo>
                    <a:pt x="2318" y="404"/>
                    <a:pt x="2318" y="404"/>
                    <a:pt x="2318" y="404"/>
                  </a:cubicBezTo>
                  <a:cubicBezTo>
                    <a:pt x="2318" y="404"/>
                    <a:pt x="2299" y="397"/>
                    <a:pt x="2323" y="390"/>
                  </a:cubicBezTo>
                  <a:cubicBezTo>
                    <a:pt x="2348" y="383"/>
                    <a:pt x="2365" y="403"/>
                    <a:pt x="2365" y="403"/>
                  </a:cubicBezTo>
                  <a:cubicBezTo>
                    <a:pt x="2403" y="398"/>
                    <a:pt x="2403" y="398"/>
                    <a:pt x="2403" y="398"/>
                  </a:cubicBezTo>
                  <a:cubicBezTo>
                    <a:pt x="2398" y="383"/>
                    <a:pt x="2398" y="383"/>
                    <a:pt x="2398" y="383"/>
                  </a:cubicBezTo>
                  <a:cubicBezTo>
                    <a:pt x="2398" y="383"/>
                    <a:pt x="2447" y="381"/>
                    <a:pt x="2457" y="369"/>
                  </a:cubicBezTo>
                  <a:cubicBezTo>
                    <a:pt x="2467" y="358"/>
                    <a:pt x="2484" y="347"/>
                    <a:pt x="2471" y="347"/>
                  </a:cubicBezTo>
                  <a:close/>
                  <a:moveTo>
                    <a:pt x="2526" y="101"/>
                  </a:moveTo>
                  <a:cubicBezTo>
                    <a:pt x="2489" y="105"/>
                    <a:pt x="2489" y="105"/>
                    <a:pt x="2489" y="105"/>
                  </a:cubicBezTo>
                  <a:cubicBezTo>
                    <a:pt x="2503" y="123"/>
                    <a:pt x="2503" y="123"/>
                    <a:pt x="2503" y="123"/>
                  </a:cubicBezTo>
                  <a:lnTo>
                    <a:pt x="2526" y="101"/>
                  </a:lnTo>
                  <a:close/>
                  <a:moveTo>
                    <a:pt x="2406" y="324"/>
                  </a:moveTo>
                  <a:cubicBezTo>
                    <a:pt x="2417" y="317"/>
                    <a:pt x="2442" y="298"/>
                    <a:pt x="2438" y="290"/>
                  </a:cubicBezTo>
                  <a:cubicBezTo>
                    <a:pt x="2434" y="281"/>
                    <a:pt x="2400" y="283"/>
                    <a:pt x="2389" y="284"/>
                  </a:cubicBezTo>
                  <a:cubicBezTo>
                    <a:pt x="2366" y="286"/>
                    <a:pt x="2322" y="301"/>
                    <a:pt x="2334" y="309"/>
                  </a:cubicBezTo>
                  <a:cubicBezTo>
                    <a:pt x="2346" y="316"/>
                    <a:pt x="2406" y="324"/>
                    <a:pt x="2406" y="324"/>
                  </a:cubicBezTo>
                  <a:close/>
                  <a:moveTo>
                    <a:pt x="2634" y="123"/>
                  </a:moveTo>
                  <a:cubicBezTo>
                    <a:pt x="2598" y="131"/>
                    <a:pt x="2598" y="131"/>
                    <a:pt x="2598" y="131"/>
                  </a:cubicBezTo>
                  <a:cubicBezTo>
                    <a:pt x="2623" y="142"/>
                    <a:pt x="2623" y="142"/>
                    <a:pt x="2623" y="142"/>
                  </a:cubicBezTo>
                  <a:cubicBezTo>
                    <a:pt x="2623" y="142"/>
                    <a:pt x="2609" y="146"/>
                    <a:pt x="2611" y="156"/>
                  </a:cubicBezTo>
                  <a:cubicBezTo>
                    <a:pt x="2613" y="165"/>
                    <a:pt x="2640" y="162"/>
                    <a:pt x="2640" y="162"/>
                  </a:cubicBezTo>
                  <a:cubicBezTo>
                    <a:pt x="2627" y="171"/>
                    <a:pt x="2627" y="171"/>
                    <a:pt x="2627" y="171"/>
                  </a:cubicBezTo>
                  <a:cubicBezTo>
                    <a:pt x="2627" y="171"/>
                    <a:pt x="2645" y="175"/>
                    <a:pt x="2659" y="184"/>
                  </a:cubicBezTo>
                  <a:cubicBezTo>
                    <a:pt x="2673" y="192"/>
                    <a:pt x="2698" y="172"/>
                    <a:pt x="2698" y="172"/>
                  </a:cubicBezTo>
                  <a:cubicBezTo>
                    <a:pt x="2714" y="164"/>
                    <a:pt x="2714" y="164"/>
                    <a:pt x="2714" y="164"/>
                  </a:cubicBezTo>
                  <a:cubicBezTo>
                    <a:pt x="2714" y="164"/>
                    <a:pt x="2719" y="170"/>
                    <a:pt x="2725" y="181"/>
                  </a:cubicBezTo>
                  <a:cubicBezTo>
                    <a:pt x="2732" y="191"/>
                    <a:pt x="2756" y="173"/>
                    <a:pt x="2765" y="171"/>
                  </a:cubicBezTo>
                  <a:cubicBezTo>
                    <a:pt x="2774" y="169"/>
                    <a:pt x="2787" y="155"/>
                    <a:pt x="2787" y="155"/>
                  </a:cubicBezTo>
                  <a:cubicBezTo>
                    <a:pt x="2795" y="164"/>
                    <a:pt x="2795" y="164"/>
                    <a:pt x="2795" y="164"/>
                  </a:cubicBezTo>
                  <a:cubicBezTo>
                    <a:pt x="2795" y="164"/>
                    <a:pt x="2808" y="151"/>
                    <a:pt x="2810" y="146"/>
                  </a:cubicBezTo>
                  <a:cubicBezTo>
                    <a:pt x="2812" y="141"/>
                    <a:pt x="2865" y="143"/>
                    <a:pt x="2877" y="143"/>
                  </a:cubicBezTo>
                  <a:cubicBezTo>
                    <a:pt x="2889" y="143"/>
                    <a:pt x="2886" y="129"/>
                    <a:pt x="2886" y="129"/>
                  </a:cubicBezTo>
                  <a:cubicBezTo>
                    <a:pt x="2844" y="128"/>
                    <a:pt x="2844" y="128"/>
                    <a:pt x="2844" y="128"/>
                  </a:cubicBezTo>
                  <a:cubicBezTo>
                    <a:pt x="2864" y="117"/>
                    <a:pt x="2864" y="117"/>
                    <a:pt x="2864" y="117"/>
                  </a:cubicBezTo>
                  <a:cubicBezTo>
                    <a:pt x="2864" y="117"/>
                    <a:pt x="2872" y="97"/>
                    <a:pt x="2867" y="90"/>
                  </a:cubicBezTo>
                  <a:cubicBezTo>
                    <a:pt x="2863" y="84"/>
                    <a:pt x="2829" y="102"/>
                    <a:pt x="2829" y="102"/>
                  </a:cubicBezTo>
                  <a:cubicBezTo>
                    <a:pt x="2826" y="85"/>
                    <a:pt x="2826" y="85"/>
                    <a:pt x="2826" y="85"/>
                  </a:cubicBezTo>
                  <a:cubicBezTo>
                    <a:pt x="2794" y="91"/>
                    <a:pt x="2794" y="91"/>
                    <a:pt x="2794" y="91"/>
                  </a:cubicBezTo>
                  <a:cubicBezTo>
                    <a:pt x="2794" y="91"/>
                    <a:pt x="2791" y="71"/>
                    <a:pt x="2781" y="60"/>
                  </a:cubicBezTo>
                  <a:cubicBezTo>
                    <a:pt x="2772" y="49"/>
                    <a:pt x="2730" y="72"/>
                    <a:pt x="2730" y="72"/>
                  </a:cubicBezTo>
                  <a:cubicBezTo>
                    <a:pt x="2678" y="75"/>
                    <a:pt x="2678" y="75"/>
                    <a:pt x="2678" y="75"/>
                  </a:cubicBezTo>
                  <a:cubicBezTo>
                    <a:pt x="2695" y="88"/>
                    <a:pt x="2695" y="88"/>
                    <a:pt x="2695" y="88"/>
                  </a:cubicBezTo>
                  <a:cubicBezTo>
                    <a:pt x="2695" y="88"/>
                    <a:pt x="2658" y="85"/>
                    <a:pt x="2645" y="89"/>
                  </a:cubicBezTo>
                  <a:cubicBezTo>
                    <a:pt x="2633" y="93"/>
                    <a:pt x="2653" y="106"/>
                    <a:pt x="2653" y="106"/>
                  </a:cubicBezTo>
                  <a:cubicBezTo>
                    <a:pt x="2653" y="106"/>
                    <a:pt x="2596" y="100"/>
                    <a:pt x="2592" y="114"/>
                  </a:cubicBezTo>
                  <a:cubicBezTo>
                    <a:pt x="2587" y="128"/>
                    <a:pt x="2634" y="123"/>
                    <a:pt x="2634" y="123"/>
                  </a:cubicBezTo>
                  <a:close/>
                  <a:moveTo>
                    <a:pt x="2644" y="199"/>
                  </a:moveTo>
                  <a:cubicBezTo>
                    <a:pt x="2622" y="203"/>
                    <a:pt x="2622" y="213"/>
                    <a:pt x="2622" y="213"/>
                  </a:cubicBezTo>
                  <a:cubicBezTo>
                    <a:pt x="2640" y="216"/>
                    <a:pt x="2640" y="216"/>
                    <a:pt x="2640" y="216"/>
                  </a:cubicBezTo>
                  <a:cubicBezTo>
                    <a:pt x="2655" y="216"/>
                    <a:pt x="2667" y="195"/>
                    <a:pt x="2644" y="199"/>
                  </a:cubicBezTo>
                  <a:close/>
                  <a:moveTo>
                    <a:pt x="2488" y="226"/>
                  </a:moveTo>
                  <a:cubicBezTo>
                    <a:pt x="2484" y="226"/>
                    <a:pt x="2476" y="222"/>
                    <a:pt x="2476" y="222"/>
                  </a:cubicBezTo>
                  <a:cubicBezTo>
                    <a:pt x="2476" y="222"/>
                    <a:pt x="2416" y="222"/>
                    <a:pt x="2416" y="230"/>
                  </a:cubicBezTo>
                  <a:cubicBezTo>
                    <a:pt x="2416" y="239"/>
                    <a:pt x="2435" y="241"/>
                    <a:pt x="2435" y="241"/>
                  </a:cubicBezTo>
                  <a:cubicBezTo>
                    <a:pt x="2436" y="253"/>
                    <a:pt x="2436" y="253"/>
                    <a:pt x="2436" y="253"/>
                  </a:cubicBezTo>
                  <a:cubicBezTo>
                    <a:pt x="2436" y="253"/>
                    <a:pt x="2486" y="258"/>
                    <a:pt x="2490" y="256"/>
                  </a:cubicBezTo>
                  <a:cubicBezTo>
                    <a:pt x="2494" y="254"/>
                    <a:pt x="2506" y="255"/>
                    <a:pt x="2512" y="255"/>
                  </a:cubicBezTo>
                  <a:cubicBezTo>
                    <a:pt x="2510" y="263"/>
                    <a:pt x="2508" y="274"/>
                    <a:pt x="2508" y="274"/>
                  </a:cubicBezTo>
                  <a:cubicBezTo>
                    <a:pt x="2471" y="301"/>
                    <a:pt x="2471" y="301"/>
                    <a:pt x="2471" y="301"/>
                  </a:cubicBezTo>
                  <a:cubicBezTo>
                    <a:pt x="2485" y="307"/>
                    <a:pt x="2485" y="307"/>
                    <a:pt x="2485" y="307"/>
                  </a:cubicBezTo>
                  <a:cubicBezTo>
                    <a:pt x="2485" y="307"/>
                    <a:pt x="2461" y="322"/>
                    <a:pt x="2473" y="322"/>
                  </a:cubicBezTo>
                  <a:cubicBezTo>
                    <a:pt x="2485" y="322"/>
                    <a:pt x="2503" y="312"/>
                    <a:pt x="2503" y="312"/>
                  </a:cubicBezTo>
                  <a:cubicBezTo>
                    <a:pt x="2503" y="312"/>
                    <a:pt x="2494" y="325"/>
                    <a:pt x="2513" y="324"/>
                  </a:cubicBezTo>
                  <a:cubicBezTo>
                    <a:pt x="2532" y="323"/>
                    <a:pt x="2568" y="311"/>
                    <a:pt x="2568" y="311"/>
                  </a:cubicBezTo>
                  <a:cubicBezTo>
                    <a:pt x="2569" y="325"/>
                    <a:pt x="2569" y="325"/>
                    <a:pt x="2569" y="325"/>
                  </a:cubicBezTo>
                  <a:cubicBezTo>
                    <a:pt x="2614" y="322"/>
                    <a:pt x="2614" y="322"/>
                    <a:pt x="2614" y="322"/>
                  </a:cubicBezTo>
                  <a:cubicBezTo>
                    <a:pt x="2667" y="332"/>
                    <a:pt x="2667" y="332"/>
                    <a:pt x="2667" y="332"/>
                  </a:cubicBezTo>
                  <a:cubicBezTo>
                    <a:pt x="2731" y="327"/>
                    <a:pt x="2731" y="327"/>
                    <a:pt x="2731" y="327"/>
                  </a:cubicBezTo>
                  <a:cubicBezTo>
                    <a:pt x="2749" y="312"/>
                    <a:pt x="2749" y="312"/>
                    <a:pt x="2749" y="312"/>
                  </a:cubicBezTo>
                  <a:cubicBezTo>
                    <a:pt x="2749" y="312"/>
                    <a:pt x="2738" y="326"/>
                    <a:pt x="2751" y="327"/>
                  </a:cubicBezTo>
                  <a:cubicBezTo>
                    <a:pt x="2764" y="328"/>
                    <a:pt x="2839" y="326"/>
                    <a:pt x="2839" y="326"/>
                  </a:cubicBezTo>
                  <a:cubicBezTo>
                    <a:pt x="2846" y="312"/>
                    <a:pt x="2846" y="312"/>
                    <a:pt x="2846" y="312"/>
                  </a:cubicBezTo>
                  <a:cubicBezTo>
                    <a:pt x="2890" y="294"/>
                    <a:pt x="2890" y="294"/>
                    <a:pt x="2890" y="294"/>
                  </a:cubicBezTo>
                  <a:cubicBezTo>
                    <a:pt x="2879" y="290"/>
                    <a:pt x="2879" y="290"/>
                    <a:pt x="2879" y="290"/>
                  </a:cubicBezTo>
                  <a:cubicBezTo>
                    <a:pt x="2879" y="281"/>
                    <a:pt x="2879" y="281"/>
                    <a:pt x="2879" y="281"/>
                  </a:cubicBezTo>
                  <a:cubicBezTo>
                    <a:pt x="2879" y="281"/>
                    <a:pt x="2834" y="270"/>
                    <a:pt x="2818" y="270"/>
                  </a:cubicBezTo>
                  <a:cubicBezTo>
                    <a:pt x="2802" y="270"/>
                    <a:pt x="2681" y="294"/>
                    <a:pt x="2681" y="294"/>
                  </a:cubicBezTo>
                  <a:cubicBezTo>
                    <a:pt x="2681" y="294"/>
                    <a:pt x="2666" y="283"/>
                    <a:pt x="2658" y="282"/>
                  </a:cubicBezTo>
                  <a:cubicBezTo>
                    <a:pt x="2651" y="281"/>
                    <a:pt x="2621" y="294"/>
                    <a:pt x="2621" y="294"/>
                  </a:cubicBezTo>
                  <a:cubicBezTo>
                    <a:pt x="2608" y="280"/>
                    <a:pt x="2608" y="280"/>
                    <a:pt x="2608" y="280"/>
                  </a:cubicBezTo>
                  <a:cubicBezTo>
                    <a:pt x="2596" y="286"/>
                    <a:pt x="2596" y="286"/>
                    <a:pt x="2596" y="286"/>
                  </a:cubicBezTo>
                  <a:cubicBezTo>
                    <a:pt x="2574" y="282"/>
                    <a:pt x="2574" y="282"/>
                    <a:pt x="2574" y="282"/>
                  </a:cubicBezTo>
                  <a:cubicBezTo>
                    <a:pt x="2596" y="274"/>
                    <a:pt x="2596" y="274"/>
                    <a:pt x="2596" y="274"/>
                  </a:cubicBezTo>
                  <a:cubicBezTo>
                    <a:pt x="2583" y="268"/>
                    <a:pt x="2583" y="268"/>
                    <a:pt x="2583" y="268"/>
                  </a:cubicBezTo>
                  <a:cubicBezTo>
                    <a:pt x="2546" y="272"/>
                    <a:pt x="2546" y="272"/>
                    <a:pt x="2546" y="272"/>
                  </a:cubicBezTo>
                  <a:cubicBezTo>
                    <a:pt x="2570" y="265"/>
                    <a:pt x="2570" y="265"/>
                    <a:pt x="2570" y="265"/>
                  </a:cubicBezTo>
                  <a:cubicBezTo>
                    <a:pt x="2569" y="260"/>
                    <a:pt x="2569" y="260"/>
                    <a:pt x="2569" y="260"/>
                  </a:cubicBezTo>
                  <a:cubicBezTo>
                    <a:pt x="2615" y="259"/>
                    <a:pt x="2615" y="259"/>
                    <a:pt x="2615" y="259"/>
                  </a:cubicBezTo>
                  <a:cubicBezTo>
                    <a:pt x="2592" y="251"/>
                    <a:pt x="2592" y="251"/>
                    <a:pt x="2592" y="251"/>
                  </a:cubicBezTo>
                  <a:cubicBezTo>
                    <a:pt x="2576" y="251"/>
                    <a:pt x="2576" y="251"/>
                    <a:pt x="2576" y="251"/>
                  </a:cubicBezTo>
                  <a:cubicBezTo>
                    <a:pt x="2576" y="251"/>
                    <a:pt x="2588" y="241"/>
                    <a:pt x="2578" y="240"/>
                  </a:cubicBezTo>
                  <a:cubicBezTo>
                    <a:pt x="2570" y="239"/>
                    <a:pt x="2539" y="241"/>
                    <a:pt x="2523" y="244"/>
                  </a:cubicBezTo>
                  <a:cubicBezTo>
                    <a:pt x="2521" y="237"/>
                    <a:pt x="2492" y="226"/>
                    <a:pt x="2488" y="226"/>
                  </a:cubicBezTo>
                  <a:close/>
                  <a:moveTo>
                    <a:pt x="2173" y="281"/>
                  </a:moveTo>
                  <a:cubicBezTo>
                    <a:pt x="2182" y="281"/>
                    <a:pt x="2226" y="288"/>
                    <a:pt x="2226" y="288"/>
                  </a:cubicBezTo>
                  <a:cubicBezTo>
                    <a:pt x="2226" y="288"/>
                    <a:pt x="2202" y="308"/>
                    <a:pt x="2217" y="308"/>
                  </a:cubicBezTo>
                  <a:cubicBezTo>
                    <a:pt x="2232" y="308"/>
                    <a:pt x="2270" y="308"/>
                    <a:pt x="2270" y="308"/>
                  </a:cubicBezTo>
                  <a:cubicBezTo>
                    <a:pt x="2284" y="308"/>
                    <a:pt x="2309" y="302"/>
                    <a:pt x="2305" y="294"/>
                  </a:cubicBezTo>
                  <a:cubicBezTo>
                    <a:pt x="2301" y="285"/>
                    <a:pt x="2341" y="282"/>
                    <a:pt x="2339" y="273"/>
                  </a:cubicBezTo>
                  <a:cubicBezTo>
                    <a:pt x="2338" y="265"/>
                    <a:pt x="2376" y="259"/>
                    <a:pt x="2362" y="247"/>
                  </a:cubicBezTo>
                  <a:cubicBezTo>
                    <a:pt x="2348" y="236"/>
                    <a:pt x="2329" y="244"/>
                    <a:pt x="2329" y="244"/>
                  </a:cubicBezTo>
                  <a:cubicBezTo>
                    <a:pt x="2329" y="244"/>
                    <a:pt x="2282" y="229"/>
                    <a:pt x="2279" y="238"/>
                  </a:cubicBezTo>
                  <a:cubicBezTo>
                    <a:pt x="2276" y="246"/>
                    <a:pt x="2276" y="267"/>
                    <a:pt x="2276" y="267"/>
                  </a:cubicBezTo>
                  <a:cubicBezTo>
                    <a:pt x="2276" y="267"/>
                    <a:pt x="2255" y="242"/>
                    <a:pt x="2244" y="251"/>
                  </a:cubicBezTo>
                  <a:cubicBezTo>
                    <a:pt x="2232" y="259"/>
                    <a:pt x="2222" y="283"/>
                    <a:pt x="2213" y="276"/>
                  </a:cubicBezTo>
                  <a:cubicBezTo>
                    <a:pt x="2205" y="270"/>
                    <a:pt x="2200" y="245"/>
                    <a:pt x="2191" y="243"/>
                  </a:cubicBezTo>
                  <a:cubicBezTo>
                    <a:pt x="2181" y="241"/>
                    <a:pt x="2155" y="243"/>
                    <a:pt x="2156" y="256"/>
                  </a:cubicBezTo>
                  <a:cubicBezTo>
                    <a:pt x="2157" y="269"/>
                    <a:pt x="2165" y="281"/>
                    <a:pt x="2173" y="281"/>
                  </a:cubicBezTo>
                  <a:close/>
                  <a:moveTo>
                    <a:pt x="2477" y="192"/>
                  </a:moveTo>
                  <a:cubicBezTo>
                    <a:pt x="2487" y="195"/>
                    <a:pt x="2490" y="205"/>
                    <a:pt x="2490" y="205"/>
                  </a:cubicBezTo>
                  <a:cubicBezTo>
                    <a:pt x="2490" y="205"/>
                    <a:pt x="2532" y="202"/>
                    <a:pt x="2552" y="201"/>
                  </a:cubicBezTo>
                  <a:cubicBezTo>
                    <a:pt x="2571" y="200"/>
                    <a:pt x="2528" y="189"/>
                    <a:pt x="2528" y="189"/>
                  </a:cubicBezTo>
                  <a:cubicBezTo>
                    <a:pt x="2528" y="189"/>
                    <a:pt x="2537" y="179"/>
                    <a:pt x="2547" y="177"/>
                  </a:cubicBezTo>
                  <a:cubicBezTo>
                    <a:pt x="2558" y="175"/>
                    <a:pt x="2518" y="162"/>
                    <a:pt x="2488" y="156"/>
                  </a:cubicBezTo>
                  <a:cubicBezTo>
                    <a:pt x="2488" y="156"/>
                    <a:pt x="2464" y="160"/>
                    <a:pt x="2460" y="164"/>
                  </a:cubicBezTo>
                  <a:cubicBezTo>
                    <a:pt x="2456" y="169"/>
                    <a:pt x="2468" y="190"/>
                    <a:pt x="2477" y="192"/>
                  </a:cubicBezTo>
                  <a:close/>
                  <a:moveTo>
                    <a:pt x="2188" y="339"/>
                  </a:moveTo>
                  <a:cubicBezTo>
                    <a:pt x="2188" y="339"/>
                    <a:pt x="2127" y="341"/>
                    <a:pt x="2093" y="352"/>
                  </a:cubicBezTo>
                  <a:cubicBezTo>
                    <a:pt x="2060" y="363"/>
                    <a:pt x="2112" y="372"/>
                    <a:pt x="2101" y="385"/>
                  </a:cubicBezTo>
                  <a:cubicBezTo>
                    <a:pt x="2090" y="399"/>
                    <a:pt x="2068" y="364"/>
                    <a:pt x="2030" y="380"/>
                  </a:cubicBezTo>
                  <a:cubicBezTo>
                    <a:pt x="2042" y="405"/>
                    <a:pt x="2042" y="405"/>
                    <a:pt x="2042" y="405"/>
                  </a:cubicBezTo>
                  <a:cubicBezTo>
                    <a:pt x="2042" y="405"/>
                    <a:pt x="2048" y="415"/>
                    <a:pt x="2065" y="418"/>
                  </a:cubicBezTo>
                  <a:cubicBezTo>
                    <a:pt x="2083" y="421"/>
                    <a:pt x="2082" y="456"/>
                    <a:pt x="2082" y="456"/>
                  </a:cubicBezTo>
                  <a:cubicBezTo>
                    <a:pt x="2082" y="456"/>
                    <a:pt x="2152" y="447"/>
                    <a:pt x="2174" y="442"/>
                  </a:cubicBezTo>
                  <a:cubicBezTo>
                    <a:pt x="2196" y="436"/>
                    <a:pt x="2196" y="395"/>
                    <a:pt x="2196" y="395"/>
                  </a:cubicBezTo>
                  <a:cubicBezTo>
                    <a:pt x="2152" y="385"/>
                    <a:pt x="2152" y="385"/>
                    <a:pt x="2152" y="385"/>
                  </a:cubicBezTo>
                  <a:cubicBezTo>
                    <a:pt x="2152" y="385"/>
                    <a:pt x="2205" y="367"/>
                    <a:pt x="2232" y="358"/>
                  </a:cubicBezTo>
                  <a:cubicBezTo>
                    <a:pt x="2258" y="348"/>
                    <a:pt x="2188" y="339"/>
                    <a:pt x="2188" y="339"/>
                  </a:cubicBezTo>
                  <a:close/>
                  <a:moveTo>
                    <a:pt x="1929" y="499"/>
                  </a:moveTo>
                  <a:cubicBezTo>
                    <a:pt x="1927" y="493"/>
                    <a:pt x="1862" y="494"/>
                    <a:pt x="1862" y="494"/>
                  </a:cubicBezTo>
                  <a:cubicBezTo>
                    <a:pt x="1915" y="466"/>
                    <a:pt x="1915" y="466"/>
                    <a:pt x="1915" y="466"/>
                  </a:cubicBezTo>
                  <a:cubicBezTo>
                    <a:pt x="1915" y="466"/>
                    <a:pt x="1947" y="392"/>
                    <a:pt x="1918" y="383"/>
                  </a:cubicBezTo>
                  <a:cubicBezTo>
                    <a:pt x="1891" y="375"/>
                    <a:pt x="1852" y="393"/>
                    <a:pt x="1852" y="393"/>
                  </a:cubicBezTo>
                  <a:cubicBezTo>
                    <a:pt x="1852" y="393"/>
                    <a:pt x="1826" y="447"/>
                    <a:pt x="1802" y="450"/>
                  </a:cubicBezTo>
                  <a:cubicBezTo>
                    <a:pt x="1778" y="453"/>
                    <a:pt x="1818" y="413"/>
                    <a:pt x="1816" y="403"/>
                  </a:cubicBezTo>
                  <a:cubicBezTo>
                    <a:pt x="1814" y="393"/>
                    <a:pt x="1750" y="392"/>
                    <a:pt x="1750" y="392"/>
                  </a:cubicBezTo>
                  <a:cubicBezTo>
                    <a:pt x="1744" y="405"/>
                    <a:pt x="1744" y="405"/>
                    <a:pt x="1744" y="405"/>
                  </a:cubicBezTo>
                  <a:cubicBezTo>
                    <a:pt x="1744" y="405"/>
                    <a:pt x="1708" y="420"/>
                    <a:pt x="1671" y="423"/>
                  </a:cubicBezTo>
                  <a:cubicBezTo>
                    <a:pt x="1635" y="425"/>
                    <a:pt x="1687" y="412"/>
                    <a:pt x="1723" y="400"/>
                  </a:cubicBezTo>
                  <a:cubicBezTo>
                    <a:pt x="1761" y="388"/>
                    <a:pt x="1704" y="386"/>
                    <a:pt x="1704" y="386"/>
                  </a:cubicBezTo>
                  <a:cubicBezTo>
                    <a:pt x="1664" y="398"/>
                    <a:pt x="1664" y="398"/>
                    <a:pt x="1664" y="398"/>
                  </a:cubicBezTo>
                  <a:cubicBezTo>
                    <a:pt x="1636" y="401"/>
                    <a:pt x="1636" y="401"/>
                    <a:pt x="1636" y="401"/>
                  </a:cubicBezTo>
                  <a:cubicBezTo>
                    <a:pt x="1636" y="401"/>
                    <a:pt x="1651" y="391"/>
                    <a:pt x="1667" y="380"/>
                  </a:cubicBezTo>
                  <a:cubicBezTo>
                    <a:pt x="1682" y="369"/>
                    <a:pt x="1663" y="371"/>
                    <a:pt x="1663" y="371"/>
                  </a:cubicBezTo>
                  <a:cubicBezTo>
                    <a:pt x="1564" y="402"/>
                    <a:pt x="1564" y="402"/>
                    <a:pt x="1564" y="402"/>
                  </a:cubicBezTo>
                  <a:cubicBezTo>
                    <a:pt x="1550" y="403"/>
                    <a:pt x="1550" y="403"/>
                    <a:pt x="1550" y="403"/>
                  </a:cubicBezTo>
                  <a:cubicBezTo>
                    <a:pt x="1494" y="420"/>
                    <a:pt x="1494" y="420"/>
                    <a:pt x="1494" y="420"/>
                  </a:cubicBezTo>
                  <a:cubicBezTo>
                    <a:pt x="1496" y="428"/>
                    <a:pt x="1496" y="428"/>
                    <a:pt x="1496" y="428"/>
                  </a:cubicBezTo>
                  <a:cubicBezTo>
                    <a:pt x="1456" y="443"/>
                    <a:pt x="1456" y="443"/>
                    <a:pt x="1456" y="443"/>
                  </a:cubicBezTo>
                  <a:cubicBezTo>
                    <a:pt x="1447" y="453"/>
                    <a:pt x="1447" y="453"/>
                    <a:pt x="1447" y="453"/>
                  </a:cubicBezTo>
                  <a:cubicBezTo>
                    <a:pt x="1465" y="461"/>
                    <a:pt x="1465" y="461"/>
                    <a:pt x="1465" y="461"/>
                  </a:cubicBezTo>
                  <a:cubicBezTo>
                    <a:pt x="1465" y="461"/>
                    <a:pt x="1487" y="446"/>
                    <a:pt x="1492" y="458"/>
                  </a:cubicBezTo>
                  <a:cubicBezTo>
                    <a:pt x="1497" y="470"/>
                    <a:pt x="1451" y="464"/>
                    <a:pt x="1440" y="483"/>
                  </a:cubicBezTo>
                  <a:cubicBezTo>
                    <a:pt x="1428" y="503"/>
                    <a:pt x="1587" y="484"/>
                    <a:pt x="1565" y="502"/>
                  </a:cubicBezTo>
                  <a:cubicBezTo>
                    <a:pt x="1544" y="519"/>
                    <a:pt x="1417" y="508"/>
                    <a:pt x="1406" y="525"/>
                  </a:cubicBezTo>
                  <a:cubicBezTo>
                    <a:pt x="1395" y="542"/>
                    <a:pt x="1427" y="540"/>
                    <a:pt x="1450" y="552"/>
                  </a:cubicBezTo>
                  <a:cubicBezTo>
                    <a:pt x="1473" y="564"/>
                    <a:pt x="1438" y="557"/>
                    <a:pt x="1434" y="574"/>
                  </a:cubicBezTo>
                  <a:cubicBezTo>
                    <a:pt x="1430" y="590"/>
                    <a:pt x="1533" y="582"/>
                    <a:pt x="1533" y="582"/>
                  </a:cubicBezTo>
                  <a:cubicBezTo>
                    <a:pt x="1533" y="582"/>
                    <a:pt x="1702" y="566"/>
                    <a:pt x="1741" y="554"/>
                  </a:cubicBezTo>
                  <a:cubicBezTo>
                    <a:pt x="1768" y="545"/>
                    <a:pt x="1819" y="583"/>
                    <a:pt x="1851" y="586"/>
                  </a:cubicBezTo>
                  <a:cubicBezTo>
                    <a:pt x="1884" y="588"/>
                    <a:pt x="1895" y="551"/>
                    <a:pt x="1895" y="551"/>
                  </a:cubicBezTo>
                  <a:cubicBezTo>
                    <a:pt x="1843" y="550"/>
                    <a:pt x="1843" y="550"/>
                    <a:pt x="1843" y="550"/>
                  </a:cubicBezTo>
                  <a:cubicBezTo>
                    <a:pt x="1865" y="533"/>
                    <a:pt x="1865" y="533"/>
                    <a:pt x="1865" y="533"/>
                  </a:cubicBezTo>
                  <a:cubicBezTo>
                    <a:pt x="1865" y="533"/>
                    <a:pt x="1897" y="539"/>
                    <a:pt x="1929" y="532"/>
                  </a:cubicBezTo>
                  <a:cubicBezTo>
                    <a:pt x="1962" y="525"/>
                    <a:pt x="1931" y="506"/>
                    <a:pt x="1929" y="499"/>
                  </a:cubicBezTo>
                  <a:close/>
                  <a:moveTo>
                    <a:pt x="1909" y="590"/>
                  </a:moveTo>
                  <a:cubicBezTo>
                    <a:pt x="1941" y="591"/>
                    <a:pt x="1947" y="573"/>
                    <a:pt x="1925" y="574"/>
                  </a:cubicBezTo>
                  <a:cubicBezTo>
                    <a:pt x="1903" y="574"/>
                    <a:pt x="1909" y="590"/>
                    <a:pt x="1909" y="590"/>
                  </a:cubicBezTo>
                  <a:close/>
                  <a:moveTo>
                    <a:pt x="2183" y="224"/>
                  </a:moveTo>
                  <a:cubicBezTo>
                    <a:pt x="2201" y="221"/>
                    <a:pt x="2202" y="193"/>
                    <a:pt x="2187" y="193"/>
                  </a:cubicBezTo>
                  <a:cubicBezTo>
                    <a:pt x="2173" y="193"/>
                    <a:pt x="2166" y="226"/>
                    <a:pt x="2183" y="224"/>
                  </a:cubicBezTo>
                  <a:close/>
                  <a:moveTo>
                    <a:pt x="2307" y="155"/>
                  </a:moveTo>
                  <a:cubicBezTo>
                    <a:pt x="2307" y="155"/>
                    <a:pt x="2289" y="172"/>
                    <a:pt x="2303" y="173"/>
                  </a:cubicBezTo>
                  <a:cubicBezTo>
                    <a:pt x="2317" y="174"/>
                    <a:pt x="2349" y="175"/>
                    <a:pt x="2349" y="175"/>
                  </a:cubicBezTo>
                  <a:cubicBezTo>
                    <a:pt x="2349" y="175"/>
                    <a:pt x="2363" y="191"/>
                    <a:pt x="2380" y="191"/>
                  </a:cubicBezTo>
                  <a:cubicBezTo>
                    <a:pt x="2398" y="191"/>
                    <a:pt x="2411" y="177"/>
                    <a:pt x="2411" y="177"/>
                  </a:cubicBezTo>
                  <a:cubicBezTo>
                    <a:pt x="2402" y="169"/>
                    <a:pt x="2402" y="169"/>
                    <a:pt x="2402" y="169"/>
                  </a:cubicBezTo>
                  <a:cubicBezTo>
                    <a:pt x="2423" y="165"/>
                    <a:pt x="2423" y="165"/>
                    <a:pt x="2423" y="165"/>
                  </a:cubicBezTo>
                  <a:cubicBezTo>
                    <a:pt x="2393" y="143"/>
                    <a:pt x="2393" y="143"/>
                    <a:pt x="2393" y="143"/>
                  </a:cubicBezTo>
                  <a:cubicBezTo>
                    <a:pt x="2365" y="147"/>
                    <a:pt x="2365" y="147"/>
                    <a:pt x="2365" y="147"/>
                  </a:cubicBezTo>
                  <a:cubicBezTo>
                    <a:pt x="2355" y="132"/>
                    <a:pt x="2355" y="132"/>
                    <a:pt x="2355" y="132"/>
                  </a:cubicBezTo>
                  <a:cubicBezTo>
                    <a:pt x="2336" y="132"/>
                    <a:pt x="2336" y="132"/>
                    <a:pt x="2336" y="132"/>
                  </a:cubicBezTo>
                  <a:cubicBezTo>
                    <a:pt x="2314" y="132"/>
                    <a:pt x="2279" y="132"/>
                    <a:pt x="2278" y="144"/>
                  </a:cubicBezTo>
                  <a:cubicBezTo>
                    <a:pt x="2277" y="156"/>
                    <a:pt x="2307" y="155"/>
                    <a:pt x="2307" y="155"/>
                  </a:cubicBezTo>
                  <a:close/>
                  <a:moveTo>
                    <a:pt x="2285" y="872"/>
                  </a:moveTo>
                  <a:cubicBezTo>
                    <a:pt x="2230" y="922"/>
                    <a:pt x="2320" y="886"/>
                    <a:pt x="2320" y="886"/>
                  </a:cubicBezTo>
                  <a:cubicBezTo>
                    <a:pt x="2366" y="843"/>
                    <a:pt x="2339" y="821"/>
                    <a:pt x="2285" y="872"/>
                  </a:cubicBezTo>
                  <a:close/>
                  <a:moveTo>
                    <a:pt x="2943" y="929"/>
                  </a:moveTo>
                  <a:cubicBezTo>
                    <a:pt x="2953" y="921"/>
                    <a:pt x="2946" y="918"/>
                    <a:pt x="2946" y="918"/>
                  </a:cubicBezTo>
                  <a:cubicBezTo>
                    <a:pt x="2946" y="918"/>
                    <a:pt x="2924" y="913"/>
                    <a:pt x="2921" y="922"/>
                  </a:cubicBezTo>
                  <a:cubicBezTo>
                    <a:pt x="2921" y="922"/>
                    <a:pt x="2932" y="936"/>
                    <a:pt x="2943" y="929"/>
                  </a:cubicBezTo>
                  <a:close/>
                  <a:moveTo>
                    <a:pt x="2077" y="1360"/>
                  </a:moveTo>
                  <a:cubicBezTo>
                    <a:pt x="2105" y="1356"/>
                    <a:pt x="2070" y="1342"/>
                    <a:pt x="2070" y="1342"/>
                  </a:cubicBezTo>
                  <a:cubicBezTo>
                    <a:pt x="2026" y="1351"/>
                    <a:pt x="2048" y="1363"/>
                    <a:pt x="2077" y="1360"/>
                  </a:cubicBezTo>
                  <a:close/>
                  <a:moveTo>
                    <a:pt x="3172" y="665"/>
                  </a:moveTo>
                  <a:cubicBezTo>
                    <a:pt x="3167" y="669"/>
                    <a:pt x="3155" y="660"/>
                    <a:pt x="3155" y="660"/>
                  </a:cubicBezTo>
                  <a:cubicBezTo>
                    <a:pt x="3133" y="673"/>
                    <a:pt x="3133" y="673"/>
                    <a:pt x="3133" y="673"/>
                  </a:cubicBezTo>
                  <a:cubicBezTo>
                    <a:pt x="3135" y="656"/>
                    <a:pt x="3135" y="656"/>
                    <a:pt x="3135" y="656"/>
                  </a:cubicBezTo>
                  <a:cubicBezTo>
                    <a:pt x="3107" y="656"/>
                    <a:pt x="3107" y="656"/>
                    <a:pt x="3107" y="656"/>
                  </a:cubicBezTo>
                  <a:cubicBezTo>
                    <a:pt x="3107" y="656"/>
                    <a:pt x="3139" y="646"/>
                    <a:pt x="3133" y="636"/>
                  </a:cubicBezTo>
                  <a:cubicBezTo>
                    <a:pt x="3128" y="625"/>
                    <a:pt x="3079" y="624"/>
                    <a:pt x="3079" y="624"/>
                  </a:cubicBezTo>
                  <a:cubicBezTo>
                    <a:pt x="3073" y="613"/>
                    <a:pt x="3073" y="613"/>
                    <a:pt x="3073" y="613"/>
                  </a:cubicBezTo>
                  <a:cubicBezTo>
                    <a:pt x="3041" y="612"/>
                    <a:pt x="3041" y="612"/>
                    <a:pt x="3041" y="612"/>
                  </a:cubicBezTo>
                  <a:cubicBezTo>
                    <a:pt x="2997" y="581"/>
                    <a:pt x="2997" y="581"/>
                    <a:pt x="2997" y="581"/>
                  </a:cubicBezTo>
                  <a:cubicBezTo>
                    <a:pt x="3044" y="578"/>
                    <a:pt x="3044" y="578"/>
                    <a:pt x="3044" y="578"/>
                  </a:cubicBezTo>
                  <a:cubicBezTo>
                    <a:pt x="3024" y="564"/>
                    <a:pt x="3024" y="564"/>
                    <a:pt x="3024" y="564"/>
                  </a:cubicBezTo>
                  <a:cubicBezTo>
                    <a:pt x="3024" y="564"/>
                    <a:pt x="3037" y="560"/>
                    <a:pt x="3041" y="560"/>
                  </a:cubicBezTo>
                  <a:cubicBezTo>
                    <a:pt x="3045" y="560"/>
                    <a:pt x="3097" y="572"/>
                    <a:pt x="3091" y="558"/>
                  </a:cubicBezTo>
                  <a:cubicBezTo>
                    <a:pt x="3084" y="545"/>
                    <a:pt x="3029" y="548"/>
                    <a:pt x="3029" y="548"/>
                  </a:cubicBezTo>
                  <a:cubicBezTo>
                    <a:pt x="3011" y="546"/>
                    <a:pt x="3011" y="546"/>
                    <a:pt x="3011" y="546"/>
                  </a:cubicBezTo>
                  <a:cubicBezTo>
                    <a:pt x="3011" y="546"/>
                    <a:pt x="3088" y="544"/>
                    <a:pt x="3091" y="534"/>
                  </a:cubicBezTo>
                  <a:cubicBezTo>
                    <a:pt x="3093" y="525"/>
                    <a:pt x="3069" y="525"/>
                    <a:pt x="3069" y="525"/>
                  </a:cubicBezTo>
                  <a:cubicBezTo>
                    <a:pt x="3000" y="536"/>
                    <a:pt x="3000" y="536"/>
                    <a:pt x="3000" y="536"/>
                  </a:cubicBezTo>
                  <a:cubicBezTo>
                    <a:pt x="3040" y="512"/>
                    <a:pt x="3040" y="512"/>
                    <a:pt x="3040" y="512"/>
                  </a:cubicBezTo>
                  <a:cubicBezTo>
                    <a:pt x="3040" y="512"/>
                    <a:pt x="3093" y="518"/>
                    <a:pt x="3077" y="504"/>
                  </a:cubicBezTo>
                  <a:cubicBezTo>
                    <a:pt x="3061" y="489"/>
                    <a:pt x="3035" y="489"/>
                    <a:pt x="3035" y="489"/>
                  </a:cubicBezTo>
                  <a:cubicBezTo>
                    <a:pt x="3009" y="504"/>
                    <a:pt x="3009" y="504"/>
                    <a:pt x="3009" y="504"/>
                  </a:cubicBezTo>
                  <a:cubicBezTo>
                    <a:pt x="2999" y="500"/>
                    <a:pt x="2999" y="500"/>
                    <a:pt x="2999" y="500"/>
                  </a:cubicBezTo>
                  <a:cubicBezTo>
                    <a:pt x="2971" y="520"/>
                    <a:pt x="2971" y="520"/>
                    <a:pt x="2971" y="520"/>
                  </a:cubicBezTo>
                  <a:cubicBezTo>
                    <a:pt x="2973" y="505"/>
                    <a:pt x="2973" y="505"/>
                    <a:pt x="2973" y="505"/>
                  </a:cubicBezTo>
                  <a:cubicBezTo>
                    <a:pt x="2959" y="517"/>
                    <a:pt x="2959" y="517"/>
                    <a:pt x="2959" y="517"/>
                  </a:cubicBezTo>
                  <a:cubicBezTo>
                    <a:pt x="2973" y="497"/>
                    <a:pt x="2973" y="497"/>
                    <a:pt x="2973" y="497"/>
                  </a:cubicBezTo>
                  <a:cubicBezTo>
                    <a:pt x="2973" y="497"/>
                    <a:pt x="2993" y="502"/>
                    <a:pt x="3003" y="493"/>
                  </a:cubicBezTo>
                  <a:cubicBezTo>
                    <a:pt x="3012" y="484"/>
                    <a:pt x="3012" y="470"/>
                    <a:pt x="3005" y="472"/>
                  </a:cubicBezTo>
                  <a:cubicBezTo>
                    <a:pt x="2999" y="473"/>
                    <a:pt x="2991" y="485"/>
                    <a:pt x="2991" y="485"/>
                  </a:cubicBezTo>
                  <a:cubicBezTo>
                    <a:pt x="2967" y="486"/>
                    <a:pt x="2967" y="486"/>
                    <a:pt x="2967" y="486"/>
                  </a:cubicBezTo>
                  <a:cubicBezTo>
                    <a:pt x="2952" y="493"/>
                    <a:pt x="2952" y="493"/>
                    <a:pt x="2952" y="493"/>
                  </a:cubicBezTo>
                  <a:cubicBezTo>
                    <a:pt x="2968" y="474"/>
                    <a:pt x="2968" y="474"/>
                    <a:pt x="2968" y="474"/>
                  </a:cubicBezTo>
                  <a:cubicBezTo>
                    <a:pt x="2988" y="474"/>
                    <a:pt x="2988" y="474"/>
                    <a:pt x="2988" y="474"/>
                  </a:cubicBezTo>
                  <a:cubicBezTo>
                    <a:pt x="2988" y="474"/>
                    <a:pt x="3012" y="465"/>
                    <a:pt x="2999" y="457"/>
                  </a:cubicBezTo>
                  <a:cubicBezTo>
                    <a:pt x="2985" y="449"/>
                    <a:pt x="2941" y="469"/>
                    <a:pt x="2941" y="469"/>
                  </a:cubicBezTo>
                  <a:cubicBezTo>
                    <a:pt x="2933" y="460"/>
                    <a:pt x="2933" y="460"/>
                    <a:pt x="2933" y="460"/>
                  </a:cubicBezTo>
                  <a:cubicBezTo>
                    <a:pt x="2917" y="472"/>
                    <a:pt x="2917" y="472"/>
                    <a:pt x="2917" y="472"/>
                  </a:cubicBezTo>
                  <a:cubicBezTo>
                    <a:pt x="2932" y="452"/>
                    <a:pt x="2932" y="452"/>
                    <a:pt x="2932" y="452"/>
                  </a:cubicBezTo>
                  <a:cubicBezTo>
                    <a:pt x="2895" y="465"/>
                    <a:pt x="2895" y="465"/>
                    <a:pt x="2895" y="465"/>
                  </a:cubicBezTo>
                  <a:cubicBezTo>
                    <a:pt x="2895" y="450"/>
                    <a:pt x="2895" y="450"/>
                    <a:pt x="2895" y="450"/>
                  </a:cubicBezTo>
                  <a:cubicBezTo>
                    <a:pt x="2895" y="450"/>
                    <a:pt x="2931" y="441"/>
                    <a:pt x="2931" y="437"/>
                  </a:cubicBezTo>
                  <a:cubicBezTo>
                    <a:pt x="2931" y="433"/>
                    <a:pt x="2881" y="442"/>
                    <a:pt x="2881" y="442"/>
                  </a:cubicBezTo>
                  <a:cubicBezTo>
                    <a:pt x="2880" y="434"/>
                    <a:pt x="2880" y="434"/>
                    <a:pt x="2880" y="434"/>
                  </a:cubicBezTo>
                  <a:cubicBezTo>
                    <a:pt x="2880" y="434"/>
                    <a:pt x="2928" y="424"/>
                    <a:pt x="2923" y="417"/>
                  </a:cubicBezTo>
                  <a:cubicBezTo>
                    <a:pt x="2917" y="410"/>
                    <a:pt x="2852" y="409"/>
                    <a:pt x="2844" y="406"/>
                  </a:cubicBezTo>
                  <a:cubicBezTo>
                    <a:pt x="2836" y="404"/>
                    <a:pt x="2820" y="406"/>
                    <a:pt x="2819" y="410"/>
                  </a:cubicBezTo>
                  <a:cubicBezTo>
                    <a:pt x="2817" y="414"/>
                    <a:pt x="2828" y="428"/>
                    <a:pt x="2828" y="428"/>
                  </a:cubicBezTo>
                  <a:cubicBezTo>
                    <a:pt x="2804" y="424"/>
                    <a:pt x="2804" y="424"/>
                    <a:pt x="2804" y="424"/>
                  </a:cubicBezTo>
                  <a:cubicBezTo>
                    <a:pt x="2807" y="442"/>
                    <a:pt x="2807" y="442"/>
                    <a:pt x="2807" y="442"/>
                  </a:cubicBezTo>
                  <a:cubicBezTo>
                    <a:pt x="2793" y="425"/>
                    <a:pt x="2793" y="425"/>
                    <a:pt x="2793" y="425"/>
                  </a:cubicBezTo>
                  <a:cubicBezTo>
                    <a:pt x="2768" y="441"/>
                    <a:pt x="2768" y="441"/>
                    <a:pt x="2768" y="441"/>
                  </a:cubicBezTo>
                  <a:cubicBezTo>
                    <a:pt x="2768" y="441"/>
                    <a:pt x="2773" y="426"/>
                    <a:pt x="2768" y="422"/>
                  </a:cubicBezTo>
                  <a:cubicBezTo>
                    <a:pt x="2763" y="418"/>
                    <a:pt x="2715" y="438"/>
                    <a:pt x="2715" y="438"/>
                  </a:cubicBezTo>
                  <a:cubicBezTo>
                    <a:pt x="2727" y="413"/>
                    <a:pt x="2727" y="413"/>
                    <a:pt x="2727" y="413"/>
                  </a:cubicBezTo>
                  <a:cubicBezTo>
                    <a:pt x="2727" y="413"/>
                    <a:pt x="2767" y="412"/>
                    <a:pt x="2767" y="402"/>
                  </a:cubicBezTo>
                  <a:cubicBezTo>
                    <a:pt x="2767" y="393"/>
                    <a:pt x="2753" y="381"/>
                    <a:pt x="2753" y="381"/>
                  </a:cubicBezTo>
                  <a:cubicBezTo>
                    <a:pt x="2753" y="381"/>
                    <a:pt x="2777" y="364"/>
                    <a:pt x="2761" y="361"/>
                  </a:cubicBezTo>
                  <a:cubicBezTo>
                    <a:pt x="2745" y="358"/>
                    <a:pt x="2699" y="362"/>
                    <a:pt x="2699" y="362"/>
                  </a:cubicBezTo>
                  <a:cubicBezTo>
                    <a:pt x="2684" y="373"/>
                    <a:pt x="2684" y="373"/>
                    <a:pt x="2684" y="373"/>
                  </a:cubicBezTo>
                  <a:cubicBezTo>
                    <a:pt x="2625" y="374"/>
                    <a:pt x="2625" y="374"/>
                    <a:pt x="2625" y="374"/>
                  </a:cubicBezTo>
                  <a:cubicBezTo>
                    <a:pt x="2632" y="385"/>
                    <a:pt x="2632" y="385"/>
                    <a:pt x="2632" y="385"/>
                  </a:cubicBezTo>
                  <a:cubicBezTo>
                    <a:pt x="2652" y="393"/>
                    <a:pt x="2652" y="393"/>
                    <a:pt x="2652" y="393"/>
                  </a:cubicBezTo>
                  <a:cubicBezTo>
                    <a:pt x="2623" y="385"/>
                    <a:pt x="2623" y="385"/>
                    <a:pt x="2623" y="385"/>
                  </a:cubicBezTo>
                  <a:cubicBezTo>
                    <a:pt x="2629" y="401"/>
                    <a:pt x="2629" y="401"/>
                    <a:pt x="2629" y="401"/>
                  </a:cubicBezTo>
                  <a:cubicBezTo>
                    <a:pt x="2629" y="401"/>
                    <a:pt x="2597" y="388"/>
                    <a:pt x="2588" y="400"/>
                  </a:cubicBezTo>
                  <a:cubicBezTo>
                    <a:pt x="2579" y="412"/>
                    <a:pt x="2596" y="424"/>
                    <a:pt x="2596" y="424"/>
                  </a:cubicBezTo>
                  <a:cubicBezTo>
                    <a:pt x="2599" y="441"/>
                    <a:pt x="2599" y="441"/>
                    <a:pt x="2599" y="441"/>
                  </a:cubicBezTo>
                  <a:cubicBezTo>
                    <a:pt x="2599" y="441"/>
                    <a:pt x="2579" y="429"/>
                    <a:pt x="2568" y="432"/>
                  </a:cubicBezTo>
                  <a:cubicBezTo>
                    <a:pt x="2557" y="434"/>
                    <a:pt x="2543" y="453"/>
                    <a:pt x="2555" y="454"/>
                  </a:cubicBezTo>
                  <a:cubicBezTo>
                    <a:pt x="2567" y="456"/>
                    <a:pt x="2571" y="462"/>
                    <a:pt x="2571" y="462"/>
                  </a:cubicBezTo>
                  <a:cubicBezTo>
                    <a:pt x="2540" y="477"/>
                    <a:pt x="2540" y="477"/>
                    <a:pt x="2540" y="477"/>
                  </a:cubicBezTo>
                  <a:cubicBezTo>
                    <a:pt x="2500" y="481"/>
                    <a:pt x="2500" y="481"/>
                    <a:pt x="2500" y="481"/>
                  </a:cubicBezTo>
                  <a:cubicBezTo>
                    <a:pt x="2500" y="481"/>
                    <a:pt x="2539" y="473"/>
                    <a:pt x="2539" y="464"/>
                  </a:cubicBezTo>
                  <a:cubicBezTo>
                    <a:pt x="2539" y="454"/>
                    <a:pt x="2515" y="453"/>
                    <a:pt x="2525" y="440"/>
                  </a:cubicBezTo>
                  <a:cubicBezTo>
                    <a:pt x="2536" y="426"/>
                    <a:pt x="2549" y="425"/>
                    <a:pt x="2549" y="425"/>
                  </a:cubicBezTo>
                  <a:cubicBezTo>
                    <a:pt x="2549" y="406"/>
                    <a:pt x="2549" y="406"/>
                    <a:pt x="2549" y="406"/>
                  </a:cubicBezTo>
                  <a:cubicBezTo>
                    <a:pt x="2549" y="406"/>
                    <a:pt x="2584" y="384"/>
                    <a:pt x="2596" y="378"/>
                  </a:cubicBezTo>
                  <a:cubicBezTo>
                    <a:pt x="2608" y="373"/>
                    <a:pt x="2653" y="366"/>
                    <a:pt x="2645" y="362"/>
                  </a:cubicBezTo>
                  <a:cubicBezTo>
                    <a:pt x="2637" y="358"/>
                    <a:pt x="2591" y="357"/>
                    <a:pt x="2565" y="358"/>
                  </a:cubicBezTo>
                  <a:cubicBezTo>
                    <a:pt x="2540" y="360"/>
                    <a:pt x="2472" y="401"/>
                    <a:pt x="2472" y="401"/>
                  </a:cubicBezTo>
                  <a:cubicBezTo>
                    <a:pt x="2472" y="401"/>
                    <a:pt x="2443" y="414"/>
                    <a:pt x="2433" y="416"/>
                  </a:cubicBezTo>
                  <a:cubicBezTo>
                    <a:pt x="2424" y="417"/>
                    <a:pt x="2420" y="428"/>
                    <a:pt x="2420" y="428"/>
                  </a:cubicBezTo>
                  <a:cubicBezTo>
                    <a:pt x="2420" y="428"/>
                    <a:pt x="2373" y="454"/>
                    <a:pt x="2391" y="461"/>
                  </a:cubicBezTo>
                  <a:cubicBezTo>
                    <a:pt x="2408" y="468"/>
                    <a:pt x="2460" y="464"/>
                    <a:pt x="2453" y="473"/>
                  </a:cubicBezTo>
                  <a:cubicBezTo>
                    <a:pt x="2447" y="482"/>
                    <a:pt x="2360" y="481"/>
                    <a:pt x="2381" y="496"/>
                  </a:cubicBezTo>
                  <a:cubicBezTo>
                    <a:pt x="2403" y="510"/>
                    <a:pt x="2429" y="513"/>
                    <a:pt x="2429" y="513"/>
                  </a:cubicBezTo>
                  <a:cubicBezTo>
                    <a:pt x="2460" y="501"/>
                    <a:pt x="2460" y="501"/>
                    <a:pt x="2460" y="501"/>
                  </a:cubicBezTo>
                  <a:cubicBezTo>
                    <a:pt x="2460" y="501"/>
                    <a:pt x="2451" y="517"/>
                    <a:pt x="2473" y="517"/>
                  </a:cubicBezTo>
                  <a:cubicBezTo>
                    <a:pt x="2496" y="517"/>
                    <a:pt x="2584" y="536"/>
                    <a:pt x="2595" y="530"/>
                  </a:cubicBezTo>
                  <a:cubicBezTo>
                    <a:pt x="2605" y="525"/>
                    <a:pt x="2581" y="513"/>
                    <a:pt x="2581" y="513"/>
                  </a:cubicBezTo>
                  <a:cubicBezTo>
                    <a:pt x="2581" y="513"/>
                    <a:pt x="2648" y="520"/>
                    <a:pt x="2659" y="521"/>
                  </a:cubicBezTo>
                  <a:cubicBezTo>
                    <a:pt x="2669" y="522"/>
                    <a:pt x="2696" y="533"/>
                    <a:pt x="2705" y="528"/>
                  </a:cubicBezTo>
                  <a:cubicBezTo>
                    <a:pt x="2715" y="522"/>
                    <a:pt x="2696" y="502"/>
                    <a:pt x="2696" y="502"/>
                  </a:cubicBezTo>
                  <a:cubicBezTo>
                    <a:pt x="2727" y="496"/>
                    <a:pt x="2727" y="496"/>
                    <a:pt x="2727" y="496"/>
                  </a:cubicBezTo>
                  <a:cubicBezTo>
                    <a:pt x="2727" y="496"/>
                    <a:pt x="2735" y="518"/>
                    <a:pt x="2739" y="517"/>
                  </a:cubicBezTo>
                  <a:cubicBezTo>
                    <a:pt x="2743" y="516"/>
                    <a:pt x="2757" y="532"/>
                    <a:pt x="2757" y="532"/>
                  </a:cubicBezTo>
                  <a:cubicBezTo>
                    <a:pt x="2777" y="525"/>
                    <a:pt x="2777" y="525"/>
                    <a:pt x="2777" y="525"/>
                  </a:cubicBezTo>
                  <a:cubicBezTo>
                    <a:pt x="2777" y="525"/>
                    <a:pt x="2769" y="545"/>
                    <a:pt x="2773" y="546"/>
                  </a:cubicBezTo>
                  <a:cubicBezTo>
                    <a:pt x="2777" y="548"/>
                    <a:pt x="2807" y="554"/>
                    <a:pt x="2807" y="554"/>
                  </a:cubicBezTo>
                  <a:cubicBezTo>
                    <a:pt x="2807" y="554"/>
                    <a:pt x="2785" y="573"/>
                    <a:pt x="2793" y="573"/>
                  </a:cubicBezTo>
                  <a:cubicBezTo>
                    <a:pt x="2801" y="573"/>
                    <a:pt x="2820" y="573"/>
                    <a:pt x="2820" y="573"/>
                  </a:cubicBezTo>
                  <a:cubicBezTo>
                    <a:pt x="2816" y="590"/>
                    <a:pt x="2816" y="590"/>
                    <a:pt x="2816" y="590"/>
                  </a:cubicBezTo>
                  <a:cubicBezTo>
                    <a:pt x="2816" y="590"/>
                    <a:pt x="2849" y="594"/>
                    <a:pt x="2849" y="610"/>
                  </a:cubicBezTo>
                  <a:cubicBezTo>
                    <a:pt x="2849" y="626"/>
                    <a:pt x="2827" y="660"/>
                    <a:pt x="2821" y="661"/>
                  </a:cubicBezTo>
                  <a:cubicBezTo>
                    <a:pt x="2816" y="662"/>
                    <a:pt x="2728" y="701"/>
                    <a:pt x="2728" y="701"/>
                  </a:cubicBezTo>
                  <a:cubicBezTo>
                    <a:pt x="2728" y="701"/>
                    <a:pt x="2756" y="720"/>
                    <a:pt x="2741" y="726"/>
                  </a:cubicBezTo>
                  <a:cubicBezTo>
                    <a:pt x="2727" y="733"/>
                    <a:pt x="2707" y="734"/>
                    <a:pt x="2707" y="734"/>
                  </a:cubicBezTo>
                  <a:cubicBezTo>
                    <a:pt x="2655" y="741"/>
                    <a:pt x="2655" y="741"/>
                    <a:pt x="2655" y="741"/>
                  </a:cubicBezTo>
                  <a:cubicBezTo>
                    <a:pt x="2649" y="756"/>
                    <a:pt x="2649" y="756"/>
                    <a:pt x="2649" y="756"/>
                  </a:cubicBezTo>
                  <a:cubicBezTo>
                    <a:pt x="2640" y="742"/>
                    <a:pt x="2640" y="742"/>
                    <a:pt x="2640" y="742"/>
                  </a:cubicBezTo>
                  <a:cubicBezTo>
                    <a:pt x="2640" y="742"/>
                    <a:pt x="2613" y="733"/>
                    <a:pt x="2600" y="736"/>
                  </a:cubicBezTo>
                  <a:cubicBezTo>
                    <a:pt x="2587" y="738"/>
                    <a:pt x="2588" y="750"/>
                    <a:pt x="2588" y="750"/>
                  </a:cubicBezTo>
                  <a:cubicBezTo>
                    <a:pt x="2588" y="750"/>
                    <a:pt x="2543" y="760"/>
                    <a:pt x="2543" y="776"/>
                  </a:cubicBezTo>
                  <a:cubicBezTo>
                    <a:pt x="2543" y="800"/>
                    <a:pt x="2577" y="794"/>
                    <a:pt x="2604" y="785"/>
                  </a:cubicBezTo>
                  <a:cubicBezTo>
                    <a:pt x="2631" y="776"/>
                    <a:pt x="2637" y="777"/>
                    <a:pt x="2637" y="777"/>
                  </a:cubicBezTo>
                  <a:cubicBezTo>
                    <a:pt x="2637" y="777"/>
                    <a:pt x="2656" y="790"/>
                    <a:pt x="2663" y="785"/>
                  </a:cubicBezTo>
                  <a:cubicBezTo>
                    <a:pt x="2669" y="780"/>
                    <a:pt x="2665" y="769"/>
                    <a:pt x="2665" y="769"/>
                  </a:cubicBezTo>
                  <a:cubicBezTo>
                    <a:pt x="2681" y="754"/>
                    <a:pt x="2681" y="754"/>
                    <a:pt x="2681" y="754"/>
                  </a:cubicBezTo>
                  <a:cubicBezTo>
                    <a:pt x="2681" y="754"/>
                    <a:pt x="2668" y="766"/>
                    <a:pt x="2677" y="769"/>
                  </a:cubicBezTo>
                  <a:cubicBezTo>
                    <a:pt x="2687" y="772"/>
                    <a:pt x="2721" y="772"/>
                    <a:pt x="2721" y="772"/>
                  </a:cubicBezTo>
                  <a:cubicBezTo>
                    <a:pt x="2721" y="772"/>
                    <a:pt x="2707" y="778"/>
                    <a:pt x="2708" y="785"/>
                  </a:cubicBezTo>
                  <a:cubicBezTo>
                    <a:pt x="2709" y="792"/>
                    <a:pt x="2731" y="796"/>
                    <a:pt x="2731" y="796"/>
                  </a:cubicBezTo>
                  <a:cubicBezTo>
                    <a:pt x="2731" y="796"/>
                    <a:pt x="2717" y="805"/>
                    <a:pt x="2728" y="812"/>
                  </a:cubicBezTo>
                  <a:cubicBezTo>
                    <a:pt x="2739" y="818"/>
                    <a:pt x="2763" y="818"/>
                    <a:pt x="2763" y="818"/>
                  </a:cubicBezTo>
                  <a:cubicBezTo>
                    <a:pt x="2732" y="829"/>
                    <a:pt x="2732" y="829"/>
                    <a:pt x="2732" y="829"/>
                  </a:cubicBezTo>
                  <a:cubicBezTo>
                    <a:pt x="2732" y="829"/>
                    <a:pt x="2737" y="850"/>
                    <a:pt x="2743" y="849"/>
                  </a:cubicBezTo>
                  <a:cubicBezTo>
                    <a:pt x="2748" y="848"/>
                    <a:pt x="2759" y="841"/>
                    <a:pt x="2759" y="841"/>
                  </a:cubicBezTo>
                  <a:cubicBezTo>
                    <a:pt x="2759" y="841"/>
                    <a:pt x="2761" y="856"/>
                    <a:pt x="2771" y="857"/>
                  </a:cubicBezTo>
                  <a:cubicBezTo>
                    <a:pt x="2780" y="858"/>
                    <a:pt x="2801" y="861"/>
                    <a:pt x="2801" y="861"/>
                  </a:cubicBezTo>
                  <a:cubicBezTo>
                    <a:pt x="2801" y="861"/>
                    <a:pt x="2800" y="878"/>
                    <a:pt x="2816" y="882"/>
                  </a:cubicBezTo>
                  <a:cubicBezTo>
                    <a:pt x="2832" y="886"/>
                    <a:pt x="2843" y="878"/>
                    <a:pt x="2857" y="886"/>
                  </a:cubicBezTo>
                  <a:cubicBezTo>
                    <a:pt x="2872" y="894"/>
                    <a:pt x="2908" y="909"/>
                    <a:pt x="2908" y="909"/>
                  </a:cubicBezTo>
                  <a:cubicBezTo>
                    <a:pt x="2908" y="909"/>
                    <a:pt x="2919" y="889"/>
                    <a:pt x="2907" y="876"/>
                  </a:cubicBezTo>
                  <a:cubicBezTo>
                    <a:pt x="2895" y="862"/>
                    <a:pt x="2875" y="850"/>
                    <a:pt x="2875" y="850"/>
                  </a:cubicBezTo>
                  <a:cubicBezTo>
                    <a:pt x="2875" y="850"/>
                    <a:pt x="2855" y="825"/>
                    <a:pt x="2860" y="817"/>
                  </a:cubicBezTo>
                  <a:cubicBezTo>
                    <a:pt x="2865" y="809"/>
                    <a:pt x="2888" y="832"/>
                    <a:pt x="2888" y="832"/>
                  </a:cubicBezTo>
                  <a:cubicBezTo>
                    <a:pt x="2888" y="812"/>
                    <a:pt x="2888" y="812"/>
                    <a:pt x="2888" y="812"/>
                  </a:cubicBezTo>
                  <a:cubicBezTo>
                    <a:pt x="2888" y="812"/>
                    <a:pt x="2897" y="837"/>
                    <a:pt x="2907" y="837"/>
                  </a:cubicBezTo>
                  <a:cubicBezTo>
                    <a:pt x="2916" y="837"/>
                    <a:pt x="2931" y="833"/>
                    <a:pt x="2931" y="833"/>
                  </a:cubicBezTo>
                  <a:cubicBezTo>
                    <a:pt x="2931" y="833"/>
                    <a:pt x="2927" y="854"/>
                    <a:pt x="2937" y="853"/>
                  </a:cubicBezTo>
                  <a:cubicBezTo>
                    <a:pt x="2948" y="852"/>
                    <a:pt x="2952" y="864"/>
                    <a:pt x="2952" y="864"/>
                  </a:cubicBezTo>
                  <a:cubicBezTo>
                    <a:pt x="2965" y="849"/>
                    <a:pt x="2965" y="849"/>
                    <a:pt x="2965" y="849"/>
                  </a:cubicBezTo>
                  <a:cubicBezTo>
                    <a:pt x="2965" y="849"/>
                    <a:pt x="2975" y="861"/>
                    <a:pt x="2980" y="858"/>
                  </a:cubicBezTo>
                  <a:cubicBezTo>
                    <a:pt x="2985" y="856"/>
                    <a:pt x="2979" y="840"/>
                    <a:pt x="2979" y="840"/>
                  </a:cubicBezTo>
                  <a:cubicBezTo>
                    <a:pt x="2989" y="809"/>
                    <a:pt x="2989" y="809"/>
                    <a:pt x="2989" y="809"/>
                  </a:cubicBezTo>
                  <a:cubicBezTo>
                    <a:pt x="2989" y="809"/>
                    <a:pt x="2989" y="836"/>
                    <a:pt x="2997" y="836"/>
                  </a:cubicBezTo>
                  <a:cubicBezTo>
                    <a:pt x="3005" y="836"/>
                    <a:pt x="3009" y="808"/>
                    <a:pt x="3009" y="808"/>
                  </a:cubicBezTo>
                  <a:cubicBezTo>
                    <a:pt x="2995" y="792"/>
                    <a:pt x="2995" y="792"/>
                    <a:pt x="2995" y="792"/>
                  </a:cubicBezTo>
                  <a:cubicBezTo>
                    <a:pt x="3009" y="788"/>
                    <a:pt x="3009" y="788"/>
                    <a:pt x="3009" y="788"/>
                  </a:cubicBezTo>
                  <a:cubicBezTo>
                    <a:pt x="2997" y="778"/>
                    <a:pt x="2997" y="778"/>
                    <a:pt x="2997" y="778"/>
                  </a:cubicBezTo>
                  <a:cubicBezTo>
                    <a:pt x="2999" y="765"/>
                    <a:pt x="2999" y="765"/>
                    <a:pt x="2999" y="765"/>
                  </a:cubicBezTo>
                  <a:cubicBezTo>
                    <a:pt x="2979" y="768"/>
                    <a:pt x="2979" y="768"/>
                    <a:pt x="2979" y="768"/>
                  </a:cubicBezTo>
                  <a:cubicBezTo>
                    <a:pt x="2979" y="757"/>
                    <a:pt x="2979" y="757"/>
                    <a:pt x="2979" y="757"/>
                  </a:cubicBezTo>
                  <a:cubicBezTo>
                    <a:pt x="2964" y="757"/>
                    <a:pt x="2964" y="757"/>
                    <a:pt x="2964" y="757"/>
                  </a:cubicBezTo>
                  <a:cubicBezTo>
                    <a:pt x="2963" y="724"/>
                    <a:pt x="2963" y="724"/>
                    <a:pt x="2963" y="724"/>
                  </a:cubicBezTo>
                  <a:cubicBezTo>
                    <a:pt x="2941" y="725"/>
                    <a:pt x="2941" y="725"/>
                    <a:pt x="2941" y="725"/>
                  </a:cubicBezTo>
                  <a:cubicBezTo>
                    <a:pt x="2941" y="725"/>
                    <a:pt x="2929" y="705"/>
                    <a:pt x="2941" y="702"/>
                  </a:cubicBezTo>
                  <a:cubicBezTo>
                    <a:pt x="2953" y="700"/>
                    <a:pt x="2961" y="717"/>
                    <a:pt x="2969" y="714"/>
                  </a:cubicBezTo>
                  <a:cubicBezTo>
                    <a:pt x="2977" y="712"/>
                    <a:pt x="2976" y="686"/>
                    <a:pt x="2976" y="686"/>
                  </a:cubicBezTo>
                  <a:cubicBezTo>
                    <a:pt x="2991" y="690"/>
                    <a:pt x="2991" y="690"/>
                    <a:pt x="2991" y="690"/>
                  </a:cubicBezTo>
                  <a:cubicBezTo>
                    <a:pt x="3016" y="678"/>
                    <a:pt x="3016" y="678"/>
                    <a:pt x="3016" y="678"/>
                  </a:cubicBezTo>
                  <a:cubicBezTo>
                    <a:pt x="3016" y="678"/>
                    <a:pt x="3017" y="710"/>
                    <a:pt x="3024" y="704"/>
                  </a:cubicBezTo>
                  <a:cubicBezTo>
                    <a:pt x="3031" y="697"/>
                    <a:pt x="3044" y="697"/>
                    <a:pt x="3044" y="697"/>
                  </a:cubicBezTo>
                  <a:cubicBezTo>
                    <a:pt x="3036" y="709"/>
                    <a:pt x="3036" y="709"/>
                    <a:pt x="3036" y="709"/>
                  </a:cubicBezTo>
                  <a:cubicBezTo>
                    <a:pt x="3051" y="710"/>
                    <a:pt x="3051" y="710"/>
                    <a:pt x="3051" y="710"/>
                  </a:cubicBezTo>
                  <a:cubicBezTo>
                    <a:pt x="3044" y="729"/>
                    <a:pt x="3044" y="729"/>
                    <a:pt x="3044" y="729"/>
                  </a:cubicBezTo>
                  <a:cubicBezTo>
                    <a:pt x="3044" y="729"/>
                    <a:pt x="3067" y="770"/>
                    <a:pt x="3083" y="760"/>
                  </a:cubicBezTo>
                  <a:cubicBezTo>
                    <a:pt x="3099" y="749"/>
                    <a:pt x="3101" y="724"/>
                    <a:pt x="3101" y="724"/>
                  </a:cubicBezTo>
                  <a:cubicBezTo>
                    <a:pt x="3108" y="714"/>
                    <a:pt x="3108" y="714"/>
                    <a:pt x="3108" y="714"/>
                  </a:cubicBezTo>
                  <a:cubicBezTo>
                    <a:pt x="3108" y="714"/>
                    <a:pt x="3127" y="730"/>
                    <a:pt x="3140" y="721"/>
                  </a:cubicBezTo>
                  <a:cubicBezTo>
                    <a:pt x="3153" y="712"/>
                    <a:pt x="3152" y="694"/>
                    <a:pt x="3152" y="694"/>
                  </a:cubicBezTo>
                  <a:cubicBezTo>
                    <a:pt x="3152" y="694"/>
                    <a:pt x="3187" y="704"/>
                    <a:pt x="3201" y="688"/>
                  </a:cubicBezTo>
                  <a:cubicBezTo>
                    <a:pt x="3216" y="672"/>
                    <a:pt x="3177" y="661"/>
                    <a:pt x="3172" y="665"/>
                  </a:cubicBezTo>
                  <a:close/>
                  <a:moveTo>
                    <a:pt x="2983" y="872"/>
                  </a:moveTo>
                  <a:cubicBezTo>
                    <a:pt x="2963" y="876"/>
                    <a:pt x="2963" y="876"/>
                    <a:pt x="2963" y="876"/>
                  </a:cubicBezTo>
                  <a:cubicBezTo>
                    <a:pt x="2960" y="885"/>
                    <a:pt x="2960" y="885"/>
                    <a:pt x="2960" y="885"/>
                  </a:cubicBezTo>
                  <a:cubicBezTo>
                    <a:pt x="2983" y="882"/>
                    <a:pt x="2983" y="882"/>
                    <a:pt x="2983" y="882"/>
                  </a:cubicBezTo>
                  <a:lnTo>
                    <a:pt x="2983" y="872"/>
                  </a:lnTo>
                  <a:close/>
                  <a:moveTo>
                    <a:pt x="2758" y="861"/>
                  </a:moveTo>
                  <a:cubicBezTo>
                    <a:pt x="2746" y="862"/>
                    <a:pt x="2747" y="878"/>
                    <a:pt x="2761" y="878"/>
                  </a:cubicBezTo>
                  <a:cubicBezTo>
                    <a:pt x="2785" y="878"/>
                    <a:pt x="2771" y="859"/>
                    <a:pt x="2758" y="861"/>
                  </a:cubicBezTo>
                  <a:close/>
                  <a:moveTo>
                    <a:pt x="2555" y="832"/>
                  </a:moveTo>
                  <a:cubicBezTo>
                    <a:pt x="2565" y="822"/>
                    <a:pt x="2540" y="818"/>
                    <a:pt x="2540" y="818"/>
                  </a:cubicBezTo>
                  <a:cubicBezTo>
                    <a:pt x="2540" y="818"/>
                    <a:pt x="2540" y="847"/>
                    <a:pt x="2555" y="832"/>
                  </a:cubicBezTo>
                  <a:close/>
                  <a:moveTo>
                    <a:pt x="2800" y="969"/>
                  </a:moveTo>
                  <a:cubicBezTo>
                    <a:pt x="2777" y="971"/>
                    <a:pt x="2777" y="971"/>
                    <a:pt x="2777" y="971"/>
                  </a:cubicBezTo>
                  <a:cubicBezTo>
                    <a:pt x="2801" y="987"/>
                    <a:pt x="2801" y="987"/>
                    <a:pt x="2801" y="987"/>
                  </a:cubicBezTo>
                  <a:cubicBezTo>
                    <a:pt x="2820" y="978"/>
                    <a:pt x="2800" y="969"/>
                    <a:pt x="2800" y="969"/>
                  </a:cubicBezTo>
                  <a:close/>
                  <a:moveTo>
                    <a:pt x="2779" y="582"/>
                  </a:moveTo>
                  <a:cubicBezTo>
                    <a:pt x="2752" y="576"/>
                    <a:pt x="2779" y="594"/>
                    <a:pt x="2779" y="594"/>
                  </a:cubicBezTo>
                  <a:cubicBezTo>
                    <a:pt x="2795" y="592"/>
                    <a:pt x="2807" y="588"/>
                    <a:pt x="2779" y="582"/>
                  </a:cubicBezTo>
                  <a:close/>
                  <a:moveTo>
                    <a:pt x="2779" y="626"/>
                  </a:moveTo>
                  <a:cubicBezTo>
                    <a:pt x="2821" y="624"/>
                    <a:pt x="2821" y="624"/>
                    <a:pt x="2821" y="624"/>
                  </a:cubicBezTo>
                  <a:cubicBezTo>
                    <a:pt x="2821" y="613"/>
                    <a:pt x="2821" y="613"/>
                    <a:pt x="2821" y="613"/>
                  </a:cubicBezTo>
                  <a:cubicBezTo>
                    <a:pt x="2791" y="615"/>
                    <a:pt x="2791" y="615"/>
                    <a:pt x="2791" y="615"/>
                  </a:cubicBezTo>
                  <a:lnTo>
                    <a:pt x="2779" y="626"/>
                  </a:lnTo>
                  <a:close/>
                  <a:moveTo>
                    <a:pt x="3715" y="26"/>
                  </a:moveTo>
                  <a:cubicBezTo>
                    <a:pt x="3713" y="23"/>
                    <a:pt x="3658" y="28"/>
                    <a:pt x="3658" y="28"/>
                  </a:cubicBezTo>
                  <a:cubicBezTo>
                    <a:pt x="3660" y="18"/>
                    <a:pt x="3660" y="18"/>
                    <a:pt x="3660" y="18"/>
                  </a:cubicBezTo>
                  <a:cubicBezTo>
                    <a:pt x="3660" y="18"/>
                    <a:pt x="3625" y="10"/>
                    <a:pt x="3612" y="10"/>
                  </a:cubicBezTo>
                  <a:cubicBezTo>
                    <a:pt x="3599" y="10"/>
                    <a:pt x="3527" y="25"/>
                    <a:pt x="3527" y="25"/>
                  </a:cubicBezTo>
                  <a:cubicBezTo>
                    <a:pt x="3560" y="10"/>
                    <a:pt x="3560" y="10"/>
                    <a:pt x="3560" y="10"/>
                  </a:cubicBezTo>
                  <a:cubicBezTo>
                    <a:pt x="3515" y="12"/>
                    <a:pt x="3515" y="12"/>
                    <a:pt x="3515" y="12"/>
                  </a:cubicBezTo>
                  <a:cubicBezTo>
                    <a:pt x="3515" y="12"/>
                    <a:pt x="3479" y="0"/>
                    <a:pt x="3469" y="2"/>
                  </a:cubicBezTo>
                  <a:cubicBezTo>
                    <a:pt x="3458" y="4"/>
                    <a:pt x="3453" y="15"/>
                    <a:pt x="3453" y="15"/>
                  </a:cubicBezTo>
                  <a:cubicBezTo>
                    <a:pt x="3453" y="15"/>
                    <a:pt x="3427" y="3"/>
                    <a:pt x="3418" y="3"/>
                  </a:cubicBezTo>
                  <a:cubicBezTo>
                    <a:pt x="3409" y="3"/>
                    <a:pt x="3389" y="18"/>
                    <a:pt x="3389" y="18"/>
                  </a:cubicBezTo>
                  <a:cubicBezTo>
                    <a:pt x="3363" y="10"/>
                    <a:pt x="3363" y="10"/>
                    <a:pt x="3363" y="10"/>
                  </a:cubicBezTo>
                  <a:cubicBezTo>
                    <a:pt x="3290" y="7"/>
                    <a:pt x="3290" y="7"/>
                    <a:pt x="3290" y="7"/>
                  </a:cubicBezTo>
                  <a:cubicBezTo>
                    <a:pt x="3308" y="25"/>
                    <a:pt x="3308" y="25"/>
                    <a:pt x="3308" y="25"/>
                  </a:cubicBezTo>
                  <a:cubicBezTo>
                    <a:pt x="3266" y="11"/>
                    <a:pt x="3266" y="11"/>
                    <a:pt x="3266" y="11"/>
                  </a:cubicBezTo>
                  <a:cubicBezTo>
                    <a:pt x="3225" y="18"/>
                    <a:pt x="3225" y="18"/>
                    <a:pt x="3225" y="18"/>
                  </a:cubicBezTo>
                  <a:cubicBezTo>
                    <a:pt x="3225" y="18"/>
                    <a:pt x="3195" y="12"/>
                    <a:pt x="3179" y="12"/>
                  </a:cubicBezTo>
                  <a:cubicBezTo>
                    <a:pt x="3163" y="12"/>
                    <a:pt x="3114" y="24"/>
                    <a:pt x="3114" y="24"/>
                  </a:cubicBezTo>
                  <a:cubicBezTo>
                    <a:pt x="3172" y="42"/>
                    <a:pt x="3172" y="42"/>
                    <a:pt x="3172" y="42"/>
                  </a:cubicBezTo>
                  <a:cubicBezTo>
                    <a:pt x="3114" y="34"/>
                    <a:pt x="3114" y="34"/>
                    <a:pt x="3114" y="34"/>
                  </a:cubicBezTo>
                  <a:cubicBezTo>
                    <a:pt x="3114" y="34"/>
                    <a:pt x="3059" y="23"/>
                    <a:pt x="3034" y="25"/>
                  </a:cubicBezTo>
                  <a:cubicBezTo>
                    <a:pt x="3010" y="28"/>
                    <a:pt x="3018" y="42"/>
                    <a:pt x="3018" y="42"/>
                  </a:cubicBezTo>
                  <a:cubicBezTo>
                    <a:pt x="3018" y="42"/>
                    <a:pt x="2956" y="36"/>
                    <a:pt x="2943" y="36"/>
                  </a:cubicBezTo>
                  <a:cubicBezTo>
                    <a:pt x="2930" y="36"/>
                    <a:pt x="2830" y="46"/>
                    <a:pt x="2826" y="48"/>
                  </a:cubicBezTo>
                  <a:cubicBezTo>
                    <a:pt x="2823" y="50"/>
                    <a:pt x="2849" y="56"/>
                    <a:pt x="2849" y="56"/>
                  </a:cubicBezTo>
                  <a:cubicBezTo>
                    <a:pt x="2905" y="59"/>
                    <a:pt x="2905" y="59"/>
                    <a:pt x="2905" y="59"/>
                  </a:cubicBezTo>
                  <a:cubicBezTo>
                    <a:pt x="2850" y="67"/>
                    <a:pt x="2850" y="67"/>
                    <a:pt x="2850" y="67"/>
                  </a:cubicBezTo>
                  <a:cubicBezTo>
                    <a:pt x="2850" y="67"/>
                    <a:pt x="2870" y="76"/>
                    <a:pt x="2884" y="76"/>
                  </a:cubicBezTo>
                  <a:cubicBezTo>
                    <a:pt x="2898" y="76"/>
                    <a:pt x="2935" y="70"/>
                    <a:pt x="2935" y="70"/>
                  </a:cubicBezTo>
                  <a:cubicBezTo>
                    <a:pt x="2935" y="70"/>
                    <a:pt x="2960" y="62"/>
                    <a:pt x="2978" y="62"/>
                  </a:cubicBezTo>
                  <a:cubicBezTo>
                    <a:pt x="2997" y="62"/>
                    <a:pt x="3040" y="71"/>
                    <a:pt x="3040" y="71"/>
                  </a:cubicBezTo>
                  <a:cubicBezTo>
                    <a:pt x="3040" y="71"/>
                    <a:pt x="2989" y="72"/>
                    <a:pt x="2977" y="73"/>
                  </a:cubicBezTo>
                  <a:cubicBezTo>
                    <a:pt x="2965" y="74"/>
                    <a:pt x="2930" y="87"/>
                    <a:pt x="2930" y="87"/>
                  </a:cubicBezTo>
                  <a:cubicBezTo>
                    <a:pt x="2930" y="87"/>
                    <a:pt x="2958" y="87"/>
                    <a:pt x="2979" y="89"/>
                  </a:cubicBezTo>
                  <a:cubicBezTo>
                    <a:pt x="3001" y="91"/>
                    <a:pt x="3006" y="83"/>
                    <a:pt x="3006" y="83"/>
                  </a:cubicBezTo>
                  <a:cubicBezTo>
                    <a:pt x="3050" y="83"/>
                    <a:pt x="3050" y="83"/>
                    <a:pt x="3050" y="83"/>
                  </a:cubicBezTo>
                  <a:cubicBezTo>
                    <a:pt x="3050" y="83"/>
                    <a:pt x="3064" y="84"/>
                    <a:pt x="3081" y="84"/>
                  </a:cubicBezTo>
                  <a:cubicBezTo>
                    <a:pt x="3098" y="84"/>
                    <a:pt x="3138" y="73"/>
                    <a:pt x="3142" y="70"/>
                  </a:cubicBezTo>
                  <a:cubicBezTo>
                    <a:pt x="3147" y="66"/>
                    <a:pt x="3173" y="63"/>
                    <a:pt x="3186" y="59"/>
                  </a:cubicBezTo>
                  <a:cubicBezTo>
                    <a:pt x="3199" y="54"/>
                    <a:pt x="3220" y="59"/>
                    <a:pt x="3220" y="59"/>
                  </a:cubicBezTo>
                  <a:cubicBezTo>
                    <a:pt x="3162" y="76"/>
                    <a:pt x="3162" y="76"/>
                    <a:pt x="3162" y="76"/>
                  </a:cubicBezTo>
                  <a:cubicBezTo>
                    <a:pt x="3185" y="77"/>
                    <a:pt x="3185" y="77"/>
                    <a:pt x="3185" y="77"/>
                  </a:cubicBezTo>
                  <a:cubicBezTo>
                    <a:pt x="3153" y="87"/>
                    <a:pt x="3153" y="87"/>
                    <a:pt x="3153" y="87"/>
                  </a:cubicBezTo>
                  <a:cubicBezTo>
                    <a:pt x="3153" y="87"/>
                    <a:pt x="3040" y="92"/>
                    <a:pt x="3027" y="92"/>
                  </a:cubicBezTo>
                  <a:cubicBezTo>
                    <a:pt x="3014" y="92"/>
                    <a:pt x="3014" y="104"/>
                    <a:pt x="3014" y="104"/>
                  </a:cubicBezTo>
                  <a:cubicBezTo>
                    <a:pt x="3065" y="119"/>
                    <a:pt x="3065" y="119"/>
                    <a:pt x="3065" y="119"/>
                  </a:cubicBezTo>
                  <a:cubicBezTo>
                    <a:pt x="3065" y="119"/>
                    <a:pt x="3045" y="125"/>
                    <a:pt x="3033" y="125"/>
                  </a:cubicBezTo>
                  <a:cubicBezTo>
                    <a:pt x="3022" y="125"/>
                    <a:pt x="2974" y="99"/>
                    <a:pt x="2974" y="99"/>
                  </a:cubicBezTo>
                  <a:cubicBezTo>
                    <a:pt x="2974" y="99"/>
                    <a:pt x="2925" y="100"/>
                    <a:pt x="2912" y="100"/>
                  </a:cubicBezTo>
                  <a:cubicBezTo>
                    <a:pt x="2899" y="100"/>
                    <a:pt x="2891" y="115"/>
                    <a:pt x="2891" y="115"/>
                  </a:cubicBezTo>
                  <a:cubicBezTo>
                    <a:pt x="2912" y="126"/>
                    <a:pt x="2912" y="126"/>
                    <a:pt x="2912" y="126"/>
                  </a:cubicBezTo>
                  <a:cubicBezTo>
                    <a:pt x="2912" y="126"/>
                    <a:pt x="2923" y="142"/>
                    <a:pt x="2940" y="145"/>
                  </a:cubicBezTo>
                  <a:cubicBezTo>
                    <a:pt x="2956" y="148"/>
                    <a:pt x="2989" y="144"/>
                    <a:pt x="2989" y="144"/>
                  </a:cubicBezTo>
                  <a:cubicBezTo>
                    <a:pt x="2989" y="144"/>
                    <a:pt x="2981" y="153"/>
                    <a:pt x="2964" y="155"/>
                  </a:cubicBezTo>
                  <a:cubicBezTo>
                    <a:pt x="2948" y="157"/>
                    <a:pt x="2917" y="151"/>
                    <a:pt x="2909" y="149"/>
                  </a:cubicBezTo>
                  <a:cubicBezTo>
                    <a:pt x="2902" y="147"/>
                    <a:pt x="2846" y="157"/>
                    <a:pt x="2828" y="157"/>
                  </a:cubicBezTo>
                  <a:cubicBezTo>
                    <a:pt x="2809" y="157"/>
                    <a:pt x="2774" y="182"/>
                    <a:pt x="2774" y="182"/>
                  </a:cubicBezTo>
                  <a:cubicBezTo>
                    <a:pt x="2823" y="174"/>
                    <a:pt x="2823" y="174"/>
                    <a:pt x="2823" y="174"/>
                  </a:cubicBezTo>
                  <a:cubicBezTo>
                    <a:pt x="2821" y="186"/>
                    <a:pt x="2821" y="186"/>
                    <a:pt x="2821" y="186"/>
                  </a:cubicBezTo>
                  <a:cubicBezTo>
                    <a:pt x="2863" y="174"/>
                    <a:pt x="2863" y="174"/>
                    <a:pt x="2863" y="174"/>
                  </a:cubicBezTo>
                  <a:cubicBezTo>
                    <a:pt x="2816" y="192"/>
                    <a:pt x="2816" y="192"/>
                    <a:pt x="2816" y="192"/>
                  </a:cubicBezTo>
                  <a:cubicBezTo>
                    <a:pt x="2816" y="192"/>
                    <a:pt x="2824" y="203"/>
                    <a:pt x="2840" y="203"/>
                  </a:cubicBezTo>
                  <a:cubicBezTo>
                    <a:pt x="2857" y="203"/>
                    <a:pt x="2902" y="186"/>
                    <a:pt x="2902" y="186"/>
                  </a:cubicBezTo>
                  <a:cubicBezTo>
                    <a:pt x="2834" y="212"/>
                    <a:pt x="2834" y="212"/>
                    <a:pt x="2834" y="212"/>
                  </a:cubicBezTo>
                  <a:cubicBezTo>
                    <a:pt x="2789" y="209"/>
                    <a:pt x="2789" y="209"/>
                    <a:pt x="2789" y="209"/>
                  </a:cubicBezTo>
                  <a:cubicBezTo>
                    <a:pt x="2780" y="192"/>
                    <a:pt x="2780" y="192"/>
                    <a:pt x="2780" y="192"/>
                  </a:cubicBezTo>
                  <a:cubicBezTo>
                    <a:pt x="2780" y="192"/>
                    <a:pt x="2747" y="189"/>
                    <a:pt x="2737" y="191"/>
                  </a:cubicBezTo>
                  <a:cubicBezTo>
                    <a:pt x="2727" y="193"/>
                    <a:pt x="2741" y="218"/>
                    <a:pt x="2741" y="218"/>
                  </a:cubicBezTo>
                  <a:cubicBezTo>
                    <a:pt x="2741" y="218"/>
                    <a:pt x="2697" y="222"/>
                    <a:pt x="2691" y="222"/>
                  </a:cubicBezTo>
                  <a:cubicBezTo>
                    <a:pt x="2684" y="222"/>
                    <a:pt x="2654" y="237"/>
                    <a:pt x="2634" y="239"/>
                  </a:cubicBezTo>
                  <a:cubicBezTo>
                    <a:pt x="2622" y="240"/>
                    <a:pt x="2613" y="241"/>
                    <a:pt x="2610" y="241"/>
                  </a:cubicBezTo>
                  <a:cubicBezTo>
                    <a:pt x="2607" y="241"/>
                    <a:pt x="2626" y="247"/>
                    <a:pt x="2641" y="247"/>
                  </a:cubicBezTo>
                  <a:cubicBezTo>
                    <a:pt x="2656" y="247"/>
                    <a:pt x="2663" y="240"/>
                    <a:pt x="2663" y="240"/>
                  </a:cubicBezTo>
                  <a:cubicBezTo>
                    <a:pt x="2655" y="252"/>
                    <a:pt x="2655" y="252"/>
                    <a:pt x="2655" y="252"/>
                  </a:cubicBezTo>
                  <a:cubicBezTo>
                    <a:pt x="2680" y="247"/>
                    <a:pt x="2680" y="247"/>
                    <a:pt x="2680" y="247"/>
                  </a:cubicBezTo>
                  <a:cubicBezTo>
                    <a:pt x="2695" y="240"/>
                    <a:pt x="2695" y="240"/>
                    <a:pt x="2695" y="240"/>
                  </a:cubicBezTo>
                  <a:cubicBezTo>
                    <a:pt x="2695" y="248"/>
                    <a:pt x="2695" y="248"/>
                    <a:pt x="2695" y="248"/>
                  </a:cubicBezTo>
                  <a:cubicBezTo>
                    <a:pt x="2712" y="246"/>
                    <a:pt x="2712" y="246"/>
                    <a:pt x="2712" y="246"/>
                  </a:cubicBezTo>
                  <a:cubicBezTo>
                    <a:pt x="2728" y="244"/>
                    <a:pt x="2728" y="244"/>
                    <a:pt x="2728" y="244"/>
                  </a:cubicBezTo>
                  <a:cubicBezTo>
                    <a:pt x="2728" y="244"/>
                    <a:pt x="2729" y="253"/>
                    <a:pt x="2740" y="254"/>
                  </a:cubicBezTo>
                  <a:cubicBezTo>
                    <a:pt x="2751" y="255"/>
                    <a:pt x="2773" y="241"/>
                    <a:pt x="2773" y="241"/>
                  </a:cubicBezTo>
                  <a:cubicBezTo>
                    <a:pt x="2778" y="250"/>
                    <a:pt x="2778" y="250"/>
                    <a:pt x="2778" y="250"/>
                  </a:cubicBezTo>
                  <a:cubicBezTo>
                    <a:pt x="2796" y="240"/>
                    <a:pt x="2796" y="240"/>
                    <a:pt x="2796" y="240"/>
                  </a:cubicBezTo>
                  <a:cubicBezTo>
                    <a:pt x="2796" y="240"/>
                    <a:pt x="2802" y="248"/>
                    <a:pt x="2810" y="251"/>
                  </a:cubicBezTo>
                  <a:cubicBezTo>
                    <a:pt x="2819" y="253"/>
                    <a:pt x="2828" y="242"/>
                    <a:pt x="2828" y="242"/>
                  </a:cubicBezTo>
                  <a:cubicBezTo>
                    <a:pt x="2828" y="242"/>
                    <a:pt x="2837" y="250"/>
                    <a:pt x="2850" y="250"/>
                  </a:cubicBezTo>
                  <a:cubicBezTo>
                    <a:pt x="2863" y="250"/>
                    <a:pt x="2853" y="238"/>
                    <a:pt x="2853" y="238"/>
                  </a:cubicBezTo>
                  <a:cubicBezTo>
                    <a:pt x="2891" y="252"/>
                    <a:pt x="2891" y="252"/>
                    <a:pt x="2891" y="252"/>
                  </a:cubicBezTo>
                  <a:cubicBezTo>
                    <a:pt x="2891" y="252"/>
                    <a:pt x="2898" y="261"/>
                    <a:pt x="2902" y="261"/>
                  </a:cubicBezTo>
                  <a:cubicBezTo>
                    <a:pt x="2906" y="261"/>
                    <a:pt x="2964" y="248"/>
                    <a:pt x="2975" y="248"/>
                  </a:cubicBezTo>
                  <a:cubicBezTo>
                    <a:pt x="2986" y="248"/>
                    <a:pt x="3011" y="238"/>
                    <a:pt x="3015" y="231"/>
                  </a:cubicBezTo>
                  <a:cubicBezTo>
                    <a:pt x="3019" y="225"/>
                    <a:pt x="2973" y="230"/>
                    <a:pt x="2973" y="230"/>
                  </a:cubicBezTo>
                  <a:cubicBezTo>
                    <a:pt x="2973" y="230"/>
                    <a:pt x="2982" y="223"/>
                    <a:pt x="2975" y="220"/>
                  </a:cubicBezTo>
                  <a:cubicBezTo>
                    <a:pt x="2969" y="218"/>
                    <a:pt x="2943" y="220"/>
                    <a:pt x="2943" y="220"/>
                  </a:cubicBezTo>
                  <a:cubicBezTo>
                    <a:pt x="2905" y="214"/>
                    <a:pt x="2905" y="214"/>
                    <a:pt x="2905" y="214"/>
                  </a:cubicBezTo>
                  <a:cubicBezTo>
                    <a:pt x="2917" y="201"/>
                    <a:pt x="2917" y="201"/>
                    <a:pt x="2917" y="201"/>
                  </a:cubicBezTo>
                  <a:cubicBezTo>
                    <a:pt x="2959" y="215"/>
                    <a:pt x="2959" y="215"/>
                    <a:pt x="2959" y="215"/>
                  </a:cubicBezTo>
                  <a:cubicBezTo>
                    <a:pt x="2959" y="215"/>
                    <a:pt x="3014" y="212"/>
                    <a:pt x="3034" y="211"/>
                  </a:cubicBezTo>
                  <a:cubicBezTo>
                    <a:pt x="3055" y="210"/>
                    <a:pt x="3050" y="192"/>
                    <a:pt x="3050" y="192"/>
                  </a:cubicBezTo>
                  <a:cubicBezTo>
                    <a:pt x="3050" y="192"/>
                    <a:pt x="3075" y="187"/>
                    <a:pt x="3094" y="187"/>
                  </a:cubicBezTo>
                  <a:cubicBezTo>
                    <a:pt x="3112" y="187"/>
                    <a:pt x="3150" y="178"/>
                    <a:pt x="3150" y="178"/>
                  </a:cubicBezTo>
                  <a:cubicBezTo>
                    <a:pt x="3132" y="167"/>
                    <a:pt x="3132" y="167"/>
                    <a:pt x="3132" y="167"/>
                  </a:cubicBezTo>
                  <a:cubicBezTo>
                    <a:pt x="3132" y="167"/>
                    <a:pt x="3155" y="167"/>
                    <a:pt x="3180" y="161"/>
                  </a:cubicBezTo>
                  <a:cubicBezTo>
                    <a:pt x="3205" y="156"/>
                    <a:pt x="3147" y="146"/>
                    <a:pt x="3147" y="146"/>
                  </a:cubicBezTo>
                  <a:cubicBezTo>
                    <a:pt x="3147" y="146"/>
                    <a:pt x="3115" y="147"/>
                    <a:pt x="3104" y="143"/>
                  </a:cubicBezTo>
                  <a:cubicBezTo>
                    <a:pt x="3094" y="139"/>
                    <a:pt x="3152" y="125"/>
                    <a:pt x="3155" y="126"/>
                  </a:cubicBezTo>
                  <a:cubicBezTo>
                    <a:pt x="3158" y="127"/>
                    <a:pt x="3200" y="131"/>
                    <a:pt x="3200" y="131"/>
                  </a:cubicBezTo>
                  <a:cubicBezTo>
                    <a:pt x="3200" y="131"/>
                    <a:pt x="3248" y="129"/>
                    <a:pt x="3263" y="126"/>
                  </a:cubicBezTo>
                  <a:cubicBezTo>
                    <a:pt x="3278" y="122"/>
                    <a:pt x="3229" y="120"/>
                    <a:pt x="3247" y="113"/>
                  </a:cubicBezTo>
                  <a:cubicBezTo>
                    <a:pt x="3264" y="105"/>
                    <a:pt x="3296" y="119"/>
                    <a:pt x="3316" y="119"/>
                  </a:cubicBezTo>
                  <a:cubicBezTo>
                    <a:pt x="3335" y="119"/>
                    <a:pt x="3328" y="102"/>
                    <a:pt x="3328" y="102"/>
                  </a:cubicBezTo>
                  <a:cubicBezTo>
                    <a:pt x="3376" y="105"/>
                    <a:pt x="3376" y="105"/>
                    <a:pt x="3376" y="105"/>
                  </a:cubicBezTo>
                  <a:cubicBezTo>
                    <a:pt x="3379" y="91"/>
                    <a:pt x="3379" y="91"/>
                    <a:pt x="3379" y="91"/>
                  </a:cubicBezTo>
                  <a:cubicBezTo>
                    <a:pt x="3379" y="91"/>
                    <a:pt x="3392" y="95"/>
                    <a:pt x="3401" y="95"/>
                  </a:cubicBezTo>
                  <a:cubicBezTo>
                    <a:pt x="3409" y="95"/>
                    <a:pt x="3440" y="83"/>
                    <a:pt x="3440" y="83"/>
                  </a:cubicBezTo>
                  <a:cubicBezTo>
                    <a:pt x="3440" y="83"/>
                    <a:pt x="3499" y="73"/>
                    <a:pt x="3531" y="67"/>
                  </a:cubicBezTo>
                  <a:cubicBezTo>
                    <a:pt x="3564" y="62"/>
                    <a:pt x="3567" y="57"/>
                    <a:pt x="3562" y="57"/>
                  </a:cubicBezTo>
                  <a:cubicBezTo>
                    <a:pt x="3558" y="57"/>
                    <a:pt x="3491" y="60"/>
                    <a:pt x="3491" y="60"/>
                  </a:cubicBezTo>
                  <a:cubicBezTo>
                    <a:pt x="3474" y="67"/>
                    <a:pt x="3474" y="67"/>
                    <a:pt x="3474" y="67"/>
                  </a:cubicBezTo>
                  <a:cubicBezTo>
                    <a:pt x="3428" y="64"/>
                    <a:pt x="3428" y="64"/>
                    <a:pt x="3428" y="64"/>
                  </a:cubicBezTo>
                  <a:cubicBezTo>
                    <a:pt x="3481" y="61"/>
                    <a:pt x="3481" y="61"/>
                    <a:pt x="3481" y="61"/>
                  </a:cubicBezTo>
                  <a:cubicBezTo>
                    <a:pt x="3479" y="52"/>
                    <a:pt x="3479" y="52"/>
                    <a:pt x="3479" y="52"/>
                  </a:cubicBezTo>
                  <a:cubicBezTo>
                    <a:pt x="3512" y="57"/>
                    <a:pt x="3512" y="57"/>
                    <a:pt x="3512" y="57"/>
                  </a:cubicBezTo>
                  <a:cubicBezTo>
                    <a:pt x="3512" y="57"/>
                    <a:pt x="3517" y="49"/>
                    <a:pt x="3526" y="49"/>
                  </a:cubicBezTo>
                  <a:cubicBezTo>
                    <a:pt x="3534" y="49"/>
                    <a:pt x="3635" y="45"/>
                    <a:pt x="3653" y="44"/>
                  </a:cubicBezTo>
                  <a:cubicBezTo>
                    <a:pt x="3671" y="43"/>
                    <a:pt x="3718" y="30"/>
                    <a:pt x="3715" y="26"/>
                  </a:cubicBezTo>
                  <a:close/>
                  <a:moveTo>
                    <a:pt x="2687" y="644"/>
                  </a:moveTo>
                  <a:cubicBezTo>
                    <a:pt x="2722" y="650"/>
                    <a:pt x="2732" y="643"/>
                    <a:pt x="2747" y="633"/>
                  </a:cubicBezTo>
                  <a:cubicBezTo>
                    <a:pt x="2763" y="624"/>
                    <a:pt x="2759" y="608"/>
                    <a:pt x="2745" y="604"/>
                  </a:cubicBezTo>
                  <a:cubicBezTo>
                    <a:pt x="2731" y="601"/>
                    <a:pt x="2698" y="610"/>
                    <a:pt x="2698" y="610"/>
                  </a:cubicBezTo>
                  <a:cubicBezTo>
                    <a:pt x="2660" y="634"/>
                    <a:pt x="2652" y="639"/>
                    <a:pt x="2687" y="644"/>
                  </a:cubicBezTo>
                  <a:close/>
                  <a:moveTo>
                    <a:pt x="2674" y="560"/>
                  </a:moveTo>
                  <a:cubicBezTo>
                    <a:pt x="2658" y="565"/>
                    <a:pt x="2633" y="576"/>
                    <a:pt x="2657" y="571"/>
                  </a:cubicBezTo>
                  <a:cubicBezTo>
                    <a:pt x="2680" y="566"/>
                    <a:pt x="2700" y="558"/>
                    <a:pt x="2700" y="558"/>
                  </a:cubicBezTo>
                  <a:cubicBezTo>
                    <a:pt x="2724" y="540"/>
                    <a:pt x="2690" y="555"/>
                    <a:pt x="2674" y="560"/>
                  </a:cubicBezTo>
                  <a:close/>
                  <a:moveTo>
                    <a:pt x="2747" y="549"/>
                  </a:moveTo>
                  <a:cubicBezTo>
                    <a:pt x="2733" y="543"/>
                    <a:pt x="2722" y="562"/>
                    <a:pt x="2735" y="566"/>
                  </a:cubicBezTo>
                  <a:cubicBezTo>
                    <a:pt x="2735" y="566"/>
                    <a:pt x="2761" y="555"/>
                    <a:pt x="2747" y="549"/>
                  </a:cubicBezTo>
                  <a:close/>
                  <a:moveTo>
                    <a:pt x="2349" y="710"/>
                  </a:moveTo>
                  <a:cubicBezTo>
                    <a:pt x="2337" y="712"/>
                    <a:pt x="2327" y="729"/>
                    <a:pt x="2346" y="729"/>
                  </a:cubicBezTo>
                  <a:cubicBezTo>
                    <a:pt x="2357" y="729"/>
                    <a:pt x="2362" y="708"/>
                    <a:pt x="2349" y="710"/>
                  </a:cubicBezTo>
                  <a:close/>
                  <a:moveTo>
                    <a:pt x="2390" y="712"/>
                  </a:moveTo>
                  <a:cubicBezTo>
                    <a:pt x="2374" y="710"/>
                    <a:pt x="2385" y="727"/>
                    <a:pt x="2385" y="727"/>
                  </a:cubicBezTo>
                  <a:cubicBezTo>
                    <a:pt x="2396" y="726"/>
                    <a:pt x="2405" y="713"/>
                    <a:pt x="2390" y="712"/>
                  </a:cubicBezTo>
                  <a:close/>
                  <a:moveTo>
                    <a:pt x="2500" y="829"/>
                  </a:moveTo>
                  <a:cubicBezTo>
                    <a:pt x="2477" y="841"/>
                    <a:pt x="2509" y="849"/>
                    <a:pt x="2509" y="849"/>
                  </a:cubicBezTo>
                  <a:cubicBezTo>
                    <a:pt x="2532" y="836"/>
                    <a:pt x="2524" y="816"/>
                    <a:pt x="2500" y="829"/>
                  </a:cubicBezTo>
                  <a:close/>
                  <a:moveTo>
                    <a:pt x="2653" y="1691"/>
                  </a:moveTo>
                  <a:cubicBezTo>
                    <a:pt x="2633" y="1687"/>
                    <a:pt x="2622" y="1678"/>
                    <a:pt x="2622" y="1678"/>
                  </a:cubicBezTo>
                  <a:cubicBezTo>
                    <a:pt x="2612" y="1687"/>
                    <a:pt x="2612" y="1687"/>
                    <a:pt x="2612" y="1687"/>
                  </a:cubicBezTo>
                  <a:cubicBezTo>
                    <a:pt x="2612" y="1687"/>
                    <a:pt x="2629" y="1696"/>
                    <a:pt x="2633" y="1699"/>
                  </a:cubicBezTo>
                  <a:cubicBezTo>
                    <a:pt x="2637" y="1702"/>
                    <a:pt x="2656" y="1701"/>
                    <a:pt x="2656" y="1701"/>
                  </a:cubicBezTo>
                  <a:cubicBezTo>
                    <a:pt x="2656" y="1701"/>
                    <a:pt x="2666" y="1706"/>
                    <a:pt x="2676" y="1705"/>
                  </a:cubicBezTo>
                  <a:cubicBezTo>
                    <a:pt x="2687" y="1704"/>
                    <a:pt x="2691" y="1693"/>
                    <a:pt x="2691" y="1693"/>
                  </a:cubicBezTo>
                  <a:cubicBezTo>
                    <a:pt x="2691" y="1693"/>
                    <a:pt x="2674" y="1695"/>
                    <a:pt x="2653" y="1691"/>
                  </a:cubicBezTo>
                  <a:close/>
                  <a:moveTo>
                    <a:pt x="2731" y="1524"/>
                  </a:moveTo>
                  <a:cubicBezTo>
                    <a:pt x="2731" y="1524"/>
                    <a:pt x="2698" y="1516"/>
                    <a:pt x="2671" y="1515"/>
                  </a:cubicBezTo>
                  <a:cubicBezTo>
                    <a:pt x="2644" y="1514"/>
                    <a:pt x="2686" y="1526"/>
                    <a:pt x="2686" y="1526"/>
                  </a:cubicBezTo>
                  <a:cubicBezTo>
                    <a:pt x="2686" y="1536"/>
                    <a:pt x="2686" y="1536"/>
                    <a:pt x="2686" y="1536"/>
                  </a:cubicBezTo>
                  <a:cubicBezTo>
                    <a:pt x="2686" y="1536"/>
                    <a:pt x="2719" y="1541"/>
                    <a:pt x="2748" y="1546"/>
                  </a:cubicBezTo>
                  <a:cubicBezTo>
                    <a:pt x="2777" y="1551"/>
                    <a:pt x="2804" y="1540"/>
                    <a:pt x="2731" y="1524"/>
                  </a:cubicBezTo>
                  <a:close/>
                  <a:moveTo>
                    <a:pt x="2793" y="1702"/>
                  </a:moveTo>
                  <a:cubicBezTo>
                    <a:pt x="2780" y="1699"/>
                    <a:pt x="2766" y="1706"/>
                    <a:pt x="2761" y="1709"/>
                  </a:cubicBezTo>
                  <a:cubicBezTo>
                    <a:pt x="2765" y="1706"/>
                    <a:pt x="2774" y="1700"/>
                    <a:pt x="2783" y="1690"/>
                  </a:cubicBezTo>
                  <a:cubicBezTo>
                    <a:pt x="2795" y="1677"/>
                    <a:pt x="2764" y="1676"/>
                    <a:pt x="2750" y="1692"/>
                  </a:cubicBezTo>
                  <a:cubicBezTo>
                    <a:pt x="2744" y="1706"/>
                    <a:pt x="2744" y="1706"/>
                    <a:pt x="2744" y="1706"/>
                  </a:cubicBezTo>
                  <a:cubicBezTo>
                    <a:pt x="2736" y="1720"/>
                    <a:pt x="2736" y="1720"/>
                    <a:pt x="2736" y="1720"/>
                  </a:cubicBezTo>
                  <a:cubicBezTo>
                    <a:pt x="2773" y="1715"/>
                    <a:pt x="2773" y="1715"/>
                    <a:pt x="2773" y="1715"/>
                  </a:cubicBezTo>
                  <a:cubicBezTo>
                    <a:pt x="2773" y="1715"/>
                    <a:pt x="2810" y="1706"/>
                    <a:pt x="2793" y="1702"/>
                  </a:cubicBezTo>
                  <a:close/>
                  <a:moveTo>
                    <a:pt x="3058" y="1312"/>
                  </a:moveTo>
                  <a:cubicBezTo>
                    <a:pt x="3051" y="1320"/>
                    <a:pt x="3052" y="1335"/>
                    <a:pt x="3037" y="1324"/>
                  </a:cubicBezTo>
                  <a:cubicBezTo>
                    <a:pt x="3022" y="1313"/>
                    <a:pt x="3046" y="1306"/>
                    <a:pt x="3046" y="1306"/>
                  </a:cubicBezTo>
                  <a:cubicBezTo>
                    <a:pt x="3043" y="1289"/>
                    <a:pt x="3043" y="1289"/>
                    <a:pt x="3043" y="1289"/>
                  </a:cubicBezTo>
                  <a:cubicBezTo>
                    <a:pt x="3023" y="1288"/>
                    <a:pt x="3023" y="1288"/>
                    <a:pt x="3023" y="1288"/>
                  </a:cubicBezTo>
                  <a:cubicBezTo>
                    <a:pt x="3023" y="1288"/>
                    <a:pt x="2977" y="1308"/>
                    <a:pt x="2974" y="1312"/>
                  </a:cubicBezTo>
                  <a:cubicBezTo>
                    <a:pt x="2971" y="1316"/>
                    <a:pt x="2935" y="1320"/>
                    <a:pt x="2935" y="1320"/>
                  </a:cubicBezTo>
                  <a:cubicBezTo>
                    <a:pt x="2914" y="1334"/>
                    <a:pt x="2914" y="1334"/>
                    <a:pt x="2914" y="1334"/>
                  </a:cubicBezTo>
                  <a:cubicBezTo>
                    <a:pt x="2922" y="1319"/>
                    <a:pt x="2922" y="1319"/>
                    <a:pt x="2922" y="1319"/>
                  </a:cubicBezTo>
                  <a:cubicBezTo>
                    <a:pt x="2907" y="1308"/>
                    <a:pt x="2907" y="1308"/>
                    <a:pt x="2907" y="1308"/>
                  </a:cubicBezTo>
                  <a:cubicBezTo>
                    <a:pt x="2930" y="1313"/>
                    <a:pt x="2930" y="1313"/>
                    <a:pt x="2930" y="1313"/>
                  </a:cubicBezTo>
                  <a:cubicBezTo>
                    <a:pt x="2940" y="1305"/>
                    <a:pt x="2940" y="1305"/>
                    <a:pt x="2940" y="1305"/>
                  </a:cubicBezTo>
                  <a:cubicBezTo>
                    <a:pt x="2958" y="1304"/>
                    <a:pt x="2958" y="1304"/>
                    <a:pt x="2958" y="1304"/>
                  </a:cubicBezTo>
                  <a:cubicBezTo>
                    <a:pt x="2960" y="1291"/>
                    <a:pt x="2960" y="1291"/>
                    <a:pt x="2960" y="1291"/>
                  </a:cubicBezTo>
                  <a:cubicBezTo>
                    <a:pt x="2960" y="1291"/>
                    <a:pt x="2981" y="1294"/>
                    <a:pt x="2993" y="1289"/>
                  </a:cubicBezTo>
                  <a:cubicBezTo>
                    <a:pt x="3005" y="1284"/>
                    <a:pt x="3022" y="1275"/>
                    <a:pt x="3022" y="1275"/>
                  </a:cubicBezTo>
                  <a:cubicBezTo>
                    <a:pt x="3022" y="1275"/>
                    <a:pt x="3070" y="1280"/>
                    <a:pt x="3069" y="1275"/>
                  </a:cubicBezTo>
                  <a:cubicBezTo>
                    <a:pt x="3068" y="1270"/>
                    <a:pt x="3050" y="1262"/>
                    <a:pt x="3050" y="1262"/>
                  </a:cubicBezTo>
                  <a:cubicBezTo>
                    <a:pt x="3049" y="1246"/>
                    <a:pt x="3049" y="1246"/>
                    <a:pt x="3049" y="1246"/>
                  </a:cubicBezTo>
                  <a:cubicBezTo>
                    <a:pt x="3049" y="1246"/>
                    <a:pt x="3021" y="1255"/>
                    <a:pt x="3015" y="1254"/>
                  </a:cubicBezTo>
                  <a:cubicBezTo>
                    <a:pt x="3009" y="1253"/>
                    <a:pt x="3007" y="1241"/>
                    <a:pt x="3007" y="1241"/>
                  </a:cubicBezTo>
                  <a:cubicBezTo>
                    <a:pt x="2967" y="1253"/>
                    <a:pt x="2967" y="1253"/>
                    <a:pt x="2967" y="1253"/>
                  </a:cubicBezTo>
                  <a:cubicBezTo>
                    <a:pt x="2969" y="1233"/>
                    <a:pt x="2969" y="1233"/>
                    <a:pt x="2969" y="1233"/>
                  </a:cubicBezTo>
                  <a:cubicBezTo>
                    <a:pt x="2940" y="1243"/>
                    <a:pt x="2940" y="1243"/>
                    <a:pt x="2940" y="1243"/>
                  </a:cubicBezTo>
                  <a:cubicBezTo>
                    <a:pt x="2940" y="1243"/>
                    <a:pt x="2971" y="1208"/>
                    <a:pt x="2963" y="1204"/>
                  </a:cubicBezTo>
                  <a:cubicBezTo>
                    <a:pt x="2955" y="1200"/>
                    <a:pt x="2930" y="1200"/>
                    <a:pt x="2930" y="1200"/>
                  </a:cubicBezTo>
                  <a:cubicBezTo>
                    <a:pt x="2933" y="1184"/>
                    <a:pt x="2933" y="1184"/>
                    <a:pt x="2933" y="1184"/>
                  </a:cubicBezTo>
                  <a:cubicBezTo>
                    <a:pt x="2911" y="1184"/>
                    <a:pt x="2911" y="1184"/>
                    <a:pt x="2911" y="1184"/>
                  </a:cubicBezTo>
                  <a:cubicBezTo>
                    <a:pt x="2920" y="1170"/>
                    <a:pt x="2920" y="1170"/>
                    <a:pt x="2920" y="1170"/>
                  </a:cubicBezTo>
                  <a:cubicBezTo>
                    <a:pt x="2902" y="1154"/>
                    <a:pt x="2902" y="1154"/>
                    <a:pt x="2902" y="1154"/>
                  </a:cubicBezTo>
                  <a:cubicBezTo>
                    <a:pt x="2902" y="1154"/>
                    <a:pt x="2932" y="1161"/>
                    <a:pt x="2940" y="1155"/>
                  </a:cubicBezTo>
                  <a:cubicBezTo>
                    <a:pt x="2948" y="1149"/>
                    <a:pt x="2959" y="1144"/>
                    <a:pt x="2959" y="1144"/>
                  </a:cubicBezTo>
                  <a:cubicBezTo>
                    <a:pt x="2929" y="1126"/>
                    <a:pt x="2929" y="1126"/>
                    <a:pt x="2929" y="1126"/>
                  </a:cubicBezTo>
                  <a:cubicBezTo>
                    <a:pt x="2962" y="1107"/>
                    <a:pt x="2962" y="1107"/>
                    <a:pt x="2962" y="1107"/>
                  </a:cubicBezTo>
                  <a:cubicBezTo>
                    <a:pt x="2929" y="1092"/>
                    <a:pt x="2929" y="1092"/>
                    <a:pt x="2929" y="1092"/>
                  </a:cubicBezTo>
                  <a:cubicBezTo>
                    <a:pt x="2899" y="1093"/>
                    <a:pt x="2899" y="1093"/>
                    <a:pt x="2899" y="1093"/>
                  </a:cubicBezTo>
                  <a:cubicBezTo>
                    <a:pt x="2935" y="1080"/>
                    <a:pt x="2935" y="1080"/>
                    <a:pt x="2935" y="1080"/>
                  </a:cubicBezTo>
                  <a:cubicBezTo>
                    <a:pt x="2910" y="1074"/>
                    <a:pt x="2910" y="1074"/>
                    <a:pt x="2910" y="1074"/>
                  </a:cubicBezTo>
                  <a:cubicBezTo>
                    <a:pt x="2940" y="1060"/>
                    <a:pt x="2940" y="1060"/>
                    <a:pt x="2940" y="1060"/>
                  </a:cubicBezTo>
                  <a:cubicBezTo>
                    <a:pt x="2935" y="1044"/>
                    <a:pt x="2935" y="1044"/>
                    <a:pt x="2935" y="1044"/>
                  </a:cubicBezTo>
                  <a:cubicBezTo>
                    <a:pt x="2913" y="1042"/>
                    <a:pt x="2913" y="1042"/>
                    <a:pt x="2913" y="1042"/>
                  </a:cubicBezTo>
                  <a:cubicBezTo>
                    <a:pt x="2913" y="1042"/>
                    <a:pt x="2931" y="1032"/>
                    <a:pt x="2923" y="1013"/>
                  </a:cubicBezTo>
                  <a:cubicBezTo>
                    <a:pt x="2915" y="994"/>
                    <a:pt x="2907" y="997"/>
                    <a:pt x="2907" y="997"/>
                  </a:cubicBezTo>
                  <a:cubicBezTo>
                    <a:pt x="2916" y="983"/>
                    <a:pt x="2916" y="983"/>
                    <a:pt x="2916" y="983"/>
                  </a:cubicBezTo>
                  <a:cubicBezTo>
                    <a:pt x="2916" y="983"/>
                    <a:pt x="2892" y="994"/>
                    <a:pt x="2887" y="1001"/>
                  </a:cubicBezTo>
                  <a:cubicBezTo>
                    <a:pt x="2882" y="1008"/>
                    <a:pt x="2886" y="1014"/>
                    <a:pt x="2886" y="1014"/>
                  </a:cubicBezTo>
                  <a:cubicBezTo>
                    <a:pt x="2867" y="1008"/>
                    <a:pt x="2867" y="1008"/>
                    <a:pt x="2867" y="1008"/>
                  </a:cubicBezTo>
                  <a:cubicBezTo>
                    <a:pt x="2871" y="1030"/>
                    <a:pt x="2871" y="1030"/>
                    <a:pt x="2871" y="1030"/>
                  </a:cubicBezTo>
                  <a:cubicBezTo>
                    <a:pt x="2853" y="1029"/>
                    <a:pt x="2853" y="1029"/>
                    <a:pt x="2853" y="1029"/>
                  </a:cubicBezTo>
                  <a:cubicBezTo>
                    <a:pt x="2845" y="1043"/>
                    <a:pt x="2845" y="1043"/>
                    <a:pt x="2845" y="1043"/>
                  </a:cubicBezTo>
                  <a:cubicBezTo>
                    <a:pt x="2850" y="1049"/>
                    <a:pt x="2850" y="1049"/>
                    <a:pt x="2850" y="1049"/>
                  </a:cubicBezTo>
                  <a:cubicBezTo>
                    <a:pt x="2834" y="1050"/>
                    <a:pt x="2834" y="1050"/>
                    <a:pt x="2834" y="1050"/>
                  </a:cubicBezTo>
                  <a:cubicBezTo>
                    <a:pt x="2819" y="1080"/>
                    <a:pt x="2819" y="1080"/>
                    <a:pt x="2819" y="1080"/>
                  </a:cubicBezTo>
                  <a:cubicBezTo>
                    <a:pt x="2811" y="1080"/>
                    <a:pt x="2811" y="1080"/>
                    <a:pt x="2811" y="1080"/>
                  </a:cubicBezTo>
                  <a:cubicBezTo>
                    <a:pt x="2821" y="1055"/>
                    <a:pt x="2821" y="1055"/>
                    <a:pt x="2821" y="1055"/>
                  </a:cubicBezTo>
                  <a:cubicBezTo>
                    <a:pt x="2821" y="1055"/>
                    <a:pt x="2811" y="1040"/>
                    <a:pt x="2802" y="1049"/>
                  </a:cubicBezTo>
                  <a:cubicBezTo>
                    <a:pt x="2793" y="1058"/>
                    <a:pt x="2781" y="1071"/>
                    <a:pt x="2774" y="1072"/>
                  </a:cubicBezTo>
                  <a:cubicBezTo>
                    <a:pt x="2767" y="1073"/>
                    <a:pt x="2739" y="1094"/>
                    <a:pt x="2739" y="1094"/>
                  </a:cubicBezTo>
                  <a:cubicBezTo>
                    <a:pt x="2744" y="1079"/>
                    <a:pt x="2744" y="1079"/>
                    <a:pt x="2744" y="1079"/>
                  </a:cubicBezTo>
                  <a:cubicBezTo>
                    <a:pt x="2743" y="1068"/>
                    <a:pt x="2743" y="1068"/>
                    <a:pt x="2743" y="1068"/>
                  </a:cubicBezTo>
                  <a:cubicBezTo>
                    <a:pt x="2718" y="1089"/>
                    <a:pt x="2718" y="1089"/>
                    <a:pt x="2718" y="1089"/>
                  </a:cubicBezTo>
                  <a:cubicBezTo>
                    <a:pt x="2674" y="1099"/>
                    <a:pt x="2674" y="1099"/>
                    <a:pt x="2674" y="1099"/>
                  </a:cubicBezTo>
                  <a:cubicBezTo>
                    <a:pt x="2715" y="1085"/>
                    <a:pt x="2715" y="1085"/>
                    <a:pt x="2715" y="1085"/>
                  </a:cubicBezTo>
                  <a:cubicBezTo>
                    <a:pt x="2715" y="1085"/>
                    <a:pt x="2739" y="1058"/>
                    <a:pt x="2726" y="1052"/>
                  </a:cubicBezTo>
                  <a:cubicBezTo>
                    <a:pt x="2713" y="1046"/>
                    <a:pt x="2698" y="1052"/>
                    <a:pt x="2698" y="1052"/>
                  </a:cubicBezTo>
                  <a:cubicBezTo>
                    <a:pt x="2698" y="1052"/>
                    <a:pt x="2665" y="1067"/>
                    <a:pt x="2667" y="1056"/>
                  </a:cubicBezTo>
                  <a:cubicBezTo>
                    <a:pt x="2669" y="1045"/>
                    <a:pt x="2686" y="1042"/>
                    <a:pt x="2686" y="1042"/>
                  </a:cubicBezTo>
                  <a:cubicBezTo>
                    <a:pt x="2685" y="1049"/>
                    <a:pt x="2685" y="1049"/>
                    <a:pt x="2685" y="1049"/>
                  </a:cubicBezTo>
                  <a:cubicBezTo>
                    <a:pt x="2699" y="1044"/>
                    <a:pt x="2699" y="1044"/>
                    <a:pt x="2699" y="1044"/>
                  </a:cubicBezTo>
                  <a:cubicBezTo>
                    <a:pt x="2696" y="1025"/>
                    <a:pt x="2696" y="1025"/>
                    <a:pt x="2696" y="1025"/>
                  </a:cubicBezTo>
                  <a:cubicBezTo>
                    <a:pt x="2696" y="1025"/>
                    <a:pt x="2721" y="1011"/>
                    <a:pt x="2712" y="1004"/>
                  </a:cubicBezTo>
                  <a:cubicBezTo>
                    <a:pt x="2703" y="997"/>
                    <a:pt x="2676" y="993"/>
                    <a:pt x="2676" y="993"/>
                  </a:cubicBezTo>
                  <a:cubicBezTo>
                    <a:pt x="2676" y="993"/>
                    <a:pt x="2721" y="995"/>
                    <a:pt x="2724" y="983"/>
                  </a:cubicBezTo>
                  <a:cubicBezTo>
                    <a:pt x="2727" y="971"/>
                    <a:pt x="2730" y="968"/>
                    <a:pt x="2736" y="964"/>
                  </a:cubicBezTo>
                  <a:cubicBezTo>
                    <a:pt x="2742" y="960"/>
                    <a:pt x="2762" y="959"/>
                    <a:pt x="2752" y="950"/>
                  </a:cubicBezTo>
                  <a:cubicBezTo>
                    <a:pt x="2742" y="941"/>
                    <a:pt x="2732" y="957"/>
                    <a:pt x="2732" y="957"/>
                  </a:cubicBezTo>
                  <a:cubicBezTo>
                    <a:pt x="2726" y="940"/>
                    <a:pt x="2726" y="940"/>
                    <a:pt x="2726" y="940"/>
                  </a:cubicBezTo>
                  <a:cubicBezTo>
                    <a:pt x="2726" y="940"/>
                    <a:pt x="2695" y="941"/>
                    <a:pt x="2686" y="941"/>
                  </a:cubicBezTo>
                  <a:cubicBezTo>
                    <a:pt x="2677" y="941"/>
                    <a:pt x="2675" y="926"/>
                    <a:pt x="2683" y="923"/>
                  </a:cubicBezTo>
                  <a:cubicBezTo>
                    <a:pt x="2691" y="920"/>
                    <a:pt x="2692" y="913"/>
                    <a:pt x="2685" y="911"/>
                  </a:cubicBezTo>
                  <a:cubicBezTo>
                    <a:pt x="2678" y="909"/>
                    <a:pt x="2672" y="916"/>
                    <a:pt x="2672" y="916"/>
                  </a:cubicBezTo>
                  <a:cubicBezTo>
                    <a:pt x="2677" y="900"/>
                    <a:pt x="2677" y="900"/>
                    <a:pt x="2677" y="900"/>
                  </a:cubicBezTo>
                  <a:cubicBezTo>
                    <a:pt x="2653" y="904"/>
                    <a:pt x="2653" y="904"/>
                    <a:pt x="2653" y="904"/>
                  </a:cubicBezTo>
                  <a:cubicBezTo>
                    <a:pt x="2653" y="904"/>
                    <a:pt x="2657" y="875"/>
                    <a:pt x="2640" y="875"/>
                  </a:cubicBezTo>
                  <a:cubicBezTo>
                    <a:pt x="2623" y="875"/>
                    <a:pt x="2595" y="892"/>
                    <a:pt x="2595" y="892"/>
                  </a:cubicBezTo>
                  <a:cubicBezTo>
                    <a:pt x="2595" y="892"/>
                    <a:pt x="2587" y="881"/>
                    <a:pt x="2579" y="881"/>
                  </a:cubicBezTo>
                  <a:cubicBezTo>
                    <a:pt x="2571" y="881"/>
                    <a:pt x="2554" y="890"/>
                    <a:pt x="2554" y="890"/>
                  </a:cubicBezTo>
                  <a:cubicBezTo>
                    <a:pt x="2554" y="890"/>
                    <a:pt x="2508" y="868"/>
                    <a:pt x="2492" y="871"/>
                  </a:cubicBezTo>
                  <a:cubicBezTo>
                    <a:pt x="2476" y="874"/>
                    <a:pt x="2470" y="886"/>
                    <a:pt x="2470" y="886"/>
                  </a:cubicBezTo>
                  <a:cubicBezTo>
                    <a:pt x="2470" y="886"/>
                    <a:pt x="2449" y="896"/>
                    <a:pt x="2456" y="904"/>
                  </a:cubicBezTo>
                  <a:cubicBezTo>
                    <a:pt x="2463" y="912"/>
                    <a:pt x="2476" y="913"/>
                    <a:pt x="2470" y="921"/>
                  </a:cubicBezTo>
                  <a:cubicBezTo>
                    <a:pt x="2464" y="929"/>
                    <a:pt x="2439" y="945"/>
                    <a:pt x="2439" y="945"/>
                  </a:cubicBezTo>
                  <a:cubicBezTo>
                    <a:pt x="2421" y="952"/>
                    <a:pt x="2421" y="952"/>
                    <a:pt x="2421" y="952"/>
                  </a:cubicBezTo>
                  <a:cubicBezTo>
                    <a:pt x="2438" y="961"/>
                    <a:pt x="2438" y="961"/>
                    <a:pt x="2438" y="961"/>
                  </a:cubicBezTo>
                  <a:cubicBezTo>
                    <a:pt x="2438" y="961"/>
                    <a:pt x="2423" y="968"/>
                    <a:pt x="2422" y="977"/>
                  </a:cubicBezTo>
                  <a:cubicBezTo>
                    <a:pt x="2421" y="986"/>
                    <a:pt x="2429" y="993"/>
                    <a:pt x="2421" y="1003"/>
                  </a:cubicBezTo>
                  <a:cubicBezTo>
                    <a:pt x="2413" y="1013"/>
                    <a:pt x="2406" y="1005"/>
                    <a:pt x="2393" y="1013"/>
                  </a:cubicBezTo>
                  <a:cubicBezTo>
                    <a:pt x="2380" y="1021"/>
                    <a:pt x="2382" y="1034"/>
                    <a:pt x="2382" y="1034"/>
                  </a:cubicBezTo>
                  <a:cubicBezTo>
                    <a:pt x="2382" y="1034"/>
                    <a:pt x="2366" y="1037"/>
                    <a:pt x="2360" y="1043"/>
                  </a:cubicBezTo>
                  <a:cubicBezTo>
                    <a:pt x="2354" y="1049"/>
                    <a:pt x="2334" y="1054"/>
                    <a:pt x="2336" y="1062"/>
                  </a:cubicBezTo>
                  <a:cubicBezTo>
                    <a:pt x="2338" y="1070"/>
                    <a:pt x="2375" y="1084"/>
                    <a:pt x="2375" y="1093"/>
                  </a:cubicBezTo>
                  <a:cubicBezTo>
                    <a:pt x="2375" y="1102"/>
                    <a:pt x="2374" y="1167"/>
                    <a:pt x="2339" y="1187"/>
                  </a:cubicBezTo>
                  <a:cubicBezTo>
                    <a:pt x="2304" y="1207"/>
                    <a:pt x="2259" y="1242"/>
                    <a:pt x="2241" y="1243"/>
                  </a:cubicBezTo>
                  <a:cubicBezTo>
                    <a:pt x="2223" y="1244"/>
                    <a:pt x="2174" y="1247"/>
                    <a:pt x="2171" y="1256"/>
                  </a:cubicBezTo>
                  <a:cubicBezTo>
                    <a:pt x="2168" y="1265"/>
                    <a:pt x="2180" y="1293"/>
                    <a:pt x="2180" y="1298"/>
                  </a:cubicBezTo>
                  <a:cubicBezTo>
                    <a:pt x="2180" y="1303"/>
                    <a:pt x="2159" y="1324"/>
                    <a:pt x="2155" y="1339"/>
                  </a:cubicBezTo>
                  <a:cubicBezTo>
                    <a:pt x="2151" y="1354"/>
                    <a:pt x="2154" y="1387"/>
                    <a:pt x="2154" y="1387"/>
                  </a:cubicBezTo>
                  <a:cubicBezTo>
                    <a:pt x="2154" y="1387"/>
                    <a:pt x="2120" y="1404"/>
                    <a:pt x="2119" y="1409"/>
                  </a:cubicBezTo>
                  <a:cubicBezTo>
                    <a:pt x="2118" y="1414"/>
                    <a:pt x="2117" y="1431"/>
                    <a:pt x="2117" y="1431"/>
                  </a:cubicBezTo>
                  <a:cubicBezTo>
                    <a:pt x="2104" y="1447"/>
                    <a:pt x="2104" y="1447"/>
                    <a:pt x="2104" y="1447"/>
                  </a:cubicBezTo>
                  <a:cubicBezTo>
                    <a:pt x="2104" y="1447"/>
                    <a:pt x="2111" y="1423"/>
                    <a:pt x="2100" y="1422"/>
                  </a:cubicBezTo>
                  <a:cubicBezTo>
                    <a:pt x="2089" y="1421"/>
                    <a:pt x="2067" y="1435"/>
                    <a:pt x="2072" y="1446"/>
                  </a:cubicBezTo>
                  <a:cubicBezTo>
                    <a:pt x="2077" y="1457"/>
                    <a:pt x="2071" y="1466"/>
                    <a:pt x="2071" y="1466"/>
                  </a:cubicBezTo>
                  <a:cubicBezTo>
                    <a:pt x="2071" y="1466"/>
                    <a:pt x="2069" y="1446"/>
                    <a:pt x="2063" y="1441"/>
                  </a:cubicBezTo>
                  <a:cubicBezTo>
                    <a:pt x="2057" y="1436"/>
                    <a:pt x="2019" y="1447"/>
                    <a:pt x="2019" y="1447"/>
                  </a:cubicBezTo>
                  <a:cubicBezTo>
                    <a:pt x="2019" y="1447"/>
                    <a:pt x="2055" y="1426"/>
                    <a:pt x="2051" y="1413"/>
                  </a:cubicBezTo>
                  <a:cubicBezTo>
                    <a:pt x="2047" y="1400"/>
                    <a:pt x="2011" y="1389"/>
                    <a:pt x="2011" y="1389"/>
                  </a:cubicBezTo>
                  <a:cubicBezTo>
                    <a:pt x="2011" y="1389"/>
                    <a:pt x="2028" y="1386"/>
                    <a:pt x="2028" y="1379"/>
                  </a:cubicBezTo>
                  <a:cubicBezTo>
                    <a:pt x="2028" y="1372"/>
                    <a:pt x="2016" y="1346"/>
                    <a:pt x="2016" y="1346"/>
                  </a:cubicBezTo>
                  <a:cubicBezTo>
                    <a:pt x="2038" y="1331"/>
                    <a:pt x="2038" y="1331"/>
                    <a:pt x="2038" y="1331"/>
                  </a:cubicBezTo>
                  <a:cubicBezTo>
                    <a:pt x="2037" y="1316"/>
                    <a:pt x="2037" y="1316"/>
                    <a:pt x="2037" y="1316"/>
                  </a:cubicBezTo>
                  <a:cubicBezTo>
                    <a:pt x="2054" y="1305"/>
                    <a:pt x="2054" y="1305"/>
                    <a:pt x="2054" y="1305"/>
                  </a:cubicBezTo>
                  <a:cubicBezTo>
                    <a:pt x="2053" y="1280"/>
                    <a:pt x="2053" y="1280"/>
                    <a:pt x="2053" y="1280"/>
                  </a:cubicBezTo>
                  <a:cubicBezTo>
                    <a:pt x="2053" y="1280"/>
                    <a:pt x="2102" y="1253"/>
                    <a:pt x="2078" y="1241"/>
                  </a:cubicBezTo>
                  <a:cubicBezTo>
                    <a:pt x="2054" y="1229"/>
                    <a:pt x="1982" y="1233"/>
                    <a:pt x="1982" y="1233"/>
                  </a:cubicBezTo>
                  <a:cubicBezTo>
                    <a:pt x="1958" y="1241"/>
                    <a:pt x="1958" y="1241"/>
                    <a:pt x="1958" y="1241"/>
                  </a:cubicBezTo>
                  <a:cubicBezTo>
                    <a:pt x="1958" y="1241"/>
                    <a:pt x="1976" y="1220"/>
                    <a:pt x="1966" y="1215"/>
                  </a:cubicBezTo>
                  <a:cubicBezTo>
                    <a:pt x="1956" y="1210"/>
                    <a:pt x="1908" y="1200"/>
                    <a:pt x="1908" y="1200"/>
                  </a:cubicBezTo>
                  <a:cubicBezTo>
                    <a:pt x="1908" y="1200"/>
                    <a:pt x="1913" y="1178"/>
                    <a:pt x="1894" y="1164"/>
                  </a:cubicBezTo>
                  <a:cubicBezTo>
                    <a:pt x="1875" y="1150"/>
                    <a:pt x="1850" y="1149"/>
                    <a:pt x="1850" y="1149"/>
                  </a:cubicBezTo>
                  <a:cubicBezTo>
                    <a:pt x="1850" y="1149"/>
                    <a:pt x="1851" y="1137"/>
                    <a:pt x="1823" y="1136"/>
                  </a:cubicBezTo>
                  <a:cubicBezTo>
                    <a:pt x="1795" y="1135"/>
                    <a:pt x="1726" y="1147"/>
                    <a:pt x="1726" y="1147"/>
                  </a:cubicBezTo>
                  <a:cubicBezTo>
                    <a:pt x="1726" y="1147"/>
                    <a:pt x="1759" y="1137"/>
                    <a:pt x="1760" y="1125"/>
                  </a:cubicBezTo>
                  <a:cubicBezTo>
                    <a:pt x="1761" y="1113"/>
                    <a:pt x="1779" y="1061"/>
                    <a:pt x="1779" y="1061"/>
                  </a:cubicBezTo>
                  <a:cubicBezTo>
                    <a:pt x="1779" y="1061"/>
                    <a:pt x="1749" y="1055"/>
                    <a:pt x="1746" y="1057"/>
                  </a:cubicBezTo>
                  <a:cubicBezTo>
                    <a:pt x="1743" y="1059"/>
                    <a:pt x="1720" y="1075"/>
                    <a:pt x="1720" y="1075"/>
                  </a:cubicBezTo>
                  <a:cubicBezTo>
                    <a:pt x="1730" y="1056"/>
                    <a:pt x="1730" y="1056"/>
                    <a:pt x="1730" y="1056"/>
                  </a:cubicBezTo>
                  <a:cubicBezTo>
                    <a:pt x="1726" y="1041"/>
                    <a:pt x="1726" y="1041"/>
                    <a:pt x="1726" y="1041"/>
                  </a:cubicBezTo>
                  <a:cubicBezTo>
                    <a:pt x="1726" y="1041"/>
                    <a:pt x="1752" y="1019"/>
                    <a:pt x="1764" y="998"/>
                  </a:cubicBezTo>
                  <a:cubicBezTo>
                    <a:pt x="1776" y="977"/>
                    <a:pt x="1844" y="940"/>
                    <a:pt x="1844" y="940"/>
                  </a:cubicBezTo>
                  <a:cubicBezTo>
                    <a:pt x="1838" y="929"/>
                    <a:pt x="1838" y="929"/>
                    <a:pt x="1838" y="929"/>
                  </a:cubicBezTo>
                  <a:cubicBezTo>
                    <a:pt x="1881" y="915"/>
                    <a:pt x="1881" y="915"/>
                    <a:pt x="1881" y="915"/>
                  </a:cubicBezTo>
                  <a:cubicBezTo>
                    <a:pt x="1882" y="904"/>
                    <a:pt x="1882" y="904"/>
                    <a:pt x="1882" y="904"/>
                  </a:cubicBezTo>
                  <a:cubicBezTo>
                    <a:pt x="1909" y="900"/>
                    <a:pt x="1909" y="900"/>
                    <a:pt x="1909" y="900"/>
                  </a:cubicBezTo>
                  <a:cubicBezTo>
                    <a:pt x="1911" y="887"/>
                    <a:pt x="1911" y="887"/>
                    <a:pt x="1911" y="887"/>
                  </a:cubicBezTo>
                  <a:cubicBezTo>
                    <a:pt x="1932" y="884"/>
                    <a:pt x="1932" y="884"/>
                    <a:pt x="1932" y="884"/>
                  </a:cubicBezTo>
                  <a:cubicBezTo>
                    <a:pt x="1966" y="857"/>
                    <a:pt x="1966" y="857"/>
                    <a:pt x="1966" y="857"/>
                  </a:cubicBezTo>
                  <a:cubicBezTo>
                    <a:pt x="1966" y="857"/>
                    <a:pt x="2040" y="860"/>
                    <a:pt x="2040" y="847"/>
                  </a:cubicBezTo>
                  <a:cubicBezTo>
                    <a:pt x="2040" y="834"/>
                    <a:pt x="2020" y="819"/>
                    <a:pt x="2020" y="819"/>
                  </a:cubicBezTo>
                  <a:cubicBezTo>
                    <a:pt x="1980" y="824"/>
                    <a:pt x="1980" y="824"/>
                    <a:pt x="1980" y="824"/>
                  </a:cubicBezTo>
                  <a:cubicBezTo>
                    <a:pt x="1986" y="814"/>
                    <a:pt x="1986" y="814"/>
                    <a:pt x="1986" y="814"/>
                  </a:cubicBezTo>
                  <a:cubicBezTo>
                    <a:pt x="1950" y="800"/>
                    <a:pt x="1950" y="800"/>
                    <a:pt x="1950" y="800"/>
                  </a:cubicBezTo>
                  <a:cubicBezTo>
                    <a:pt x="1966" y="795"/>
                    <a:pt x="1966" y="795"/>
                    <a:pt x="1966" y="795"/>
                  </a:cubicBezTo>
                  <a:cubicBezTo>
                    <a:pt x="2021" y="811"/>
                    <a:pt x="2021" y="811"/>
                    <a:pt x="2021" y="811"/>
                  </a:cubicBezTo>
                  <a:cubicBezTo>
                    <a:pt x="2021" y="811"/>
                    <a:pt x="2042" y="833"/>
                    <a:pt x="2061" y="825"/>
                  </a:cubicBezTo>
                  <a:cubicBezTo>
                    <a:pt x="2080" y="817"/>
                    <a:pt x="2096" y="784"/>
                    <a:pt x="2103" y="789"/>
                  </a:cubicBezTo>
                  <a:cubicBezTo>
                    <a:pt x="2110" y="794"/>
                    <a:pt x="2131" y="804"/>
                    <a:pt x="2140" y="802"/>
                  </a:cubicBezTo>
                  <a:cubicBezTo>
                    <a:pt x="2140" y="802"/>
                    <a:pt x="2185" y="783"/>
                    <a:pt x="2203" y="776"/>
                  </a:cubicBezTo>
                  <a:cubicBezTo>
                    <a:pt x="2221" y="769"/>
                    <a:pt x="2255" y="750"/>
                    <a:pt x="2243" y="747"/>
                  </a:cubicBezTo>
                  <a:cubicBezTo>
                    <a:pt x="2231" y="744"/>
                    <a:pt x="2175" y="744"/>
                    <a:pt x="2175" y="744"/>
                  </a:cubicBezTo>
                  <a:cubicBezTo>
                    <a:pt x="2171" y="728"/>
                    <a:pt x="2171" y="728"/>
                    <a:pt x="2171" y="728"/>
                  </a:cubicBezTo>
                  <a:cubicBezTo>
                    <a:pt x="2115" y="708"/>
                    <a:pt x="2115" y="708"/>
                    <a:pt x="2115" y="708"/>
                  </a:cubicBezTo>
                  <a:cubicBezTo>
                    <a:pt x="2115" y="708"/>
                    <a:pt x="2171" y="700"/>
                    <a:pt x="2186" y="706"/>
                  </a:cubicBezTo>
                  <a:cubicBezTo>
                    <a:pt x="2201" y="712"/>
                    <a:pt x="2215" y="738"/>
                    <a:pt x="2230" y="738"/>
                  </a:cubicBezTo>
                  <a:cubicBezTo>
                    <a:pt x="2245" y="738"/>
                    <a:pt x="2324" y="700"/>
                    <a:pt x="2324" y="700"/>
                  </a:cubicBezTo>
                  <a:cubicBezTo>
                    <a:pt x="2305" y="692"/>
                    <a:pt x="2305" y="692"/>
                    <a:pt x="2305" y="692"/>
                  </a:cubicBezTo>
                  <a:cubicBezTo>
                    <a:pt x="2305" y="692"/>
                    <a:pt x="2319" y="680"/>
                    <a:pt x="2337" y="680"/>
                  </a:cubicBezTo>
                  <a:cubicBezTo>
                    <a:pt x="2355" y="680"/>
                    <a:pt x="2360" y="694"/>
                    <a:pt x="2360" y="694"/>
                  </a:cubicBezTo>
                  <a:cubicBezTo>
                    <a:pt x="2380" y="701"/>
                    <a:pt x="2380" y="701"/>
                    <a:pt x="2380" y="701"/>
                  </a:cubicBezTo>
                  <a:cubicBezTo>
                    <a:pt x="2381" y="688"/>
                    <a:pt x="2381" y="688"/>
                    <a:pt x="2381" y="688"/>
                  </a:cubicBezTo>
                  <a:cubicBezTo>
                    <a:pt x="2381" y="688"/>
                    <a:pt x="2395" y="705"/>
                    <a:pt x="2400" y="696"/>
                  </a:cubicBezTo>
                  <a:cubicBezTo>
                    <a:pt x="2405" y="687"/>
                    <a:pt x="2388" y="669"/>
                    <a:pt x="2388" y="669"/>
                  </a:cubicBezTo>
                  <a:cubicBezTo>
                    <a:pt x="2374" y="663"/>
                    <a:pt x="2374" y="663"/>
                    <a:pt x="2374" y="663"/>
                  </a:cubicBezTo>
                  <a:cubicBezTo>
                    <a:pt x="2401" y="658"/>
                    <a:pt x="2401" y="658"/>
                    <a:pt x="2401" y="658"/>
                  </a:cubicBezTo>
                  <a:cubicBezTo>
                    <a:pt x="2401" y="658"/>
                    <a:pt x="2415" y="697"/>
                    <a:pt x="2424" y="695"/>
                  </a:cubicBezTo>
                  <a:cubicBezTo>
                    <a:pt x="2433" y="693"/>
                    <a:pt x="2546" y="660"/>
                    <a:pt x="2532" y="641"/>
                  </a:cubicBezTo>
                  <a:cubicBezTo>
                    <a:pt x="2518" y="622"/>
                    <a:pt x="2507" y="607"/>
                    <a:pt x="2518" y="600"/>
                  </a:cubicBezTo>
                  <a:cubicBezTo>
                    <a:pt x="2529" y="593"/>
                    <a:pt x="2579" y="591"/>
                    <a:pt x="2580" y="585"/>
                  </a:cubicBezTo>
                  <a:cubicBezTo>
                    <a:pt x="2581" y="579"/>
                    <a:pt x="2570" y="553"/>
                    <a:pt x="2570" y="553"/>
                  </a:cubicBezTo>
                  <a:cubicBezTo>
                    <a:pt x="2558" y="538"/>
                    <a:pt x="2558" y="538"/>
                    <a:pt x="2558" y="538"/>
                  </a:cubicBezTo>
                  <a:cubicBezTo>
                    <a:pt x="2558" y="538"/>
                    <a:pt x="2496" y="520"/>
                    <a:pt x="2470" y="538"/>
                  </a:cubicBezTo>
                  <a:cubicBezTo>
                    <a:pt x="2444" y="556"/>
                    <a:pt x="2466" y="568"/>
                    <a:pt x="2466" y="568"/>
                  </a:cubicBezTo>
                  <a:cubicBezTo>
                    <a:pt x="2442" y="583"/>
                    <a:pt x="2442" y="583"/>
                    <a:pt x="2442" y="583"/>
                  </a:cubicBezTo>
                  <a:cubicBezTo>
                    <a:pt x="2428" y="583"/>
                    <a:pt x="2428" y="583"/>
                    <a:pt x="2428" y="583"/>
                  </a:cubicBezTo>
                  <a:cubicBezTo>
                    <a:pt x="2383" y="614"/>
                    <a:pt x="2383" y="614"/>
                    <a:pt x="2383" y="614"/>
                  </a:cubicBezTo>
                  <a:cubicBezTo>
                    <a:pt x="2366" y="621"/>
                    <a:pt x="2366" y="621"/>
                    <a:pt x="2366" y="621"/>
                  </a:cubicBezTo>
                  <a:cubicBezTo>
                    <a:pt x="2366" y="621"/>
                    <a:pt x="2354" y="639"/>
                    <a:pt x="2350" y="642"/>
                  </a:cubicBezTo>
                  <a:cubicBezTo>
                    <a:pt x="2346" y="645"/>
                    <a:pt x="2327" y="646"/>
                    <a:pt x="2327" y="646"/>
                  </a:cubicBezTo>
                  <a:cubicBezTo>
                    <a:pt x="2304" y="658"/>
                    <a:pt x="2304" y="658"/>
                    <a:pt x="2304" y="658"/>
                  </a:cubicBezTo>
                  <a:cubicBezTo>
                    <a:pt x="2304" y="658"/>
                    <a:pt x="2293" y="624"/>
                    <a:pt x="2299" y="613"/>
                  </a:cubicBezTo>
                  <a:cubicBezTo>
                    <a:pt x="2305" y="602"/>
                    <a:pt x="2336" y="607"/>
                    <a:pt x="2341" y="591"/>
                  </a:cubicBezTo>
                  <a:cubicBezTo>
                    <a:pt x="2346" y="575"/>
                    <a:pt x="2330" y="558"/>
                    <a:pt x="2327" y="558"/>
                  </a:cubicBezTo>
                  <a:cubicBezTo>
                    <a:pt x="2324" y="558"/>
                    <a:pt x="2271" y="582"/>
                    <a:pt x="2271" y="582"/>
                  </a:cubicBezTo>
                  <a:cubicBezTo>
                    <a:pt x="2252" y="603"/>
                    <a:pt x="2252" y="603"/>
                    <a:pt x="2252" y="603"/>
                  </a:cubicBezTo>
                  <a:cubicBezTo>
                    <a:pt x="2246" y="594"/>
                    <a:pt x="2246" y="594"/>
                    <a:pt x="2246" y="594"/>
                  </a:cubicBezTo>
                  <a:cubicBezTo>
                    <a:pt x="2264" y="576"/>
                    <a:pt x="2264" y="576"/>
                    <a:pt x="2264" y="576"/>
                  </a:cubicBezTo>
                  <a:cubicBezTo>
                    <a:pt x="2262" y="563"/>
                    <a:pt x="2262" y="563"/>
                    <a:pt x="2262" y="563"/>
                  </a:cubicBezTo>
                  <a:cubicBezTo>
                    <a:pt x="2292" y="552"/>
                    <a:pt x="2292" y="552"/>
                    <a:pt x="2292" y="552"/>
                  </a:cubicBezTo>
                  <a:cubicBezTo>
                    <a:pt x="2265" y="547"/>
                    <a:pt x="2265" y="547"/>
                    <a:pt x="2265" y="547"/>
                  </a:cubicBezTo>
                  <a:cubicBezTo>
                    <a:pt x="2270" y="537"/>
                    <a:pt x="2270" y="537"/>
                    <a:pt x="2270" y="537"/>
                  </a:cubicBezTo>
                  <a:cubicBezTo>
                    <a:pt x="2238" y="547"/>
                    <a:pt x="2238" y="547"/>
                    <a:pt x="2238" y="547"/>
                  </a:cubicBezTo>
                  <a:cubicBezTo>
                    <a:pt x="2224" y="539"/>
                    <a:pt x="2224" y="539"/>
                    <a:pt x="2224" y="539"/>
                  </a:cubicBezTo>
                  <a:cubicBezTo>
                    <a:pt x="2249" y="530"/>
                    <a:pt x="2249" y="530"/>
                    <a:pt x="2249" y="530"/>
                  </a:cubicBezTo>
                  <a:cubicBezTo>
                    <a:pt x="2250" y="520"/>
                    <a:pt x="2250" y="520"/>
                    <a:pt x="2250" y="520"/>
                  </a:cubicBezTo>
                  <a:cubicBezTo>
                    <a:pt x="2250" y="520"/>
                    <a:pt x="2286" y="528"/>
                    <a:pt x="2284" y="515"/>
                  </a:cubicBezTo>
                  <a:cubicBezTo>
                    <a:pt x="2282" y="502"/>
                    <a:pt x="2254" y="505"/>
                    <a:pt x="2266" y="488"/>
                  </a:cubicBezTo>
                  <a:cubicBezTo>
                    <a:pt x="2278" y="471"/>
                    <a:pt x="2289" y="446"/>
                    <a:pt x="2273" y="445"/>
                  </a:cubicBezTo>
                  <a:cubicBezTo>
                    <a:pt x="2248" y="435"/>
                    <a:pt x="2248" y="435"/>
                    <a:pt x="2248" y="435"/>
                  </a:cubicBezTo>
                  <a:cubicBezTo>
                    <a:pt x="2229" y="443"/>
                    <a:pt x="2229" y="443"/>
                    <a:pt x="2229" y="443"/>
                  </a:cubicBezTo>
                  <a:cubicBezTo>
                    <a:pt x="2229" y="443"/>
                    <a:pt x="2202" y="445"/>
                    <a:pt x="2201" y="449"/>
                  </a:cubicBezTo>
                  <a:cubicBezTo>
                    <a:pt x="2200" y="453"/>
                    <a:pt x="2208" y="462"/>
                    <a:pt x="2202" y="463"/>
                  </a:cubicBezTo>
                  <a:cubicBezTo>
                    <a:pt x="2196" y="464"/>
                    <a:pt x="2160" y="457"/>
                    <a:pt x="2152" y="466"/>
                  </a:cubicBezTo>
                  <a:cubicBezTo>
                    <a:pt x="2144" y="475"/>
                    <a:pt x="2127" y="484"/>
                    <a:pt x="2136" y="488"/>
                  </a:cubicBezTo>
                  <a:cubicBezTo>
                    <a:pt x="2145" y="492"/>
                    <a:pt x="2156" y="494"/>
                    <a:pt x="2156" y="494"/>
                  </a:cubicBezTo>
                  <a:cubicBezTo>
                    <a:pt x="2156" y="494"/>
                    <a:pt x="2107" y="507"/>
                    <a:pt x="2109" y="520"/>
                  </a:cubicBezTo>
                  <a:cubicBezTo>
                    <a:pt x="2111" y="533"/>
                    <a:pt x="2138" y="543"/>
                    <a:pt x="2138" y="543"/>
                  </a:cubicBezTo>
                  <a:cubicBezTo>
                    <a:pt x="2154" y="536"/>
                    <a:pt x="2154" y="536"/>
                    <a:pt x="2154" y="536"/>
                  </a:cubicBezTo>
                  <a:cubicBezTo>
                    <a:pt x="2154" y="536"/>
                    <a:pt x="2153" y="557"/>
                    <a:pt x="2159" y="554"/>
                  </a:cubicBezTo>
                  <a:cubicBezTo>
                    <a:pt x="2165" y="551"/>
                    <a:pt x="2194" y="546"/>
                    <a:pt x="2183" y="554"/>
                  </a:cubicBezTo>
                  <a:cubicBezTo>
                    <a:pt x="2172" y="562"/>
                    <a:pt x="2163" y="561"/>
                    <a:pt x="2163" y="561"/>
                  </a:cubicBezTo>
                  <a:cubicBezTo>
                    <a:pt x="2150" y="556"/>
                    <a:pt x="2150" y="556"/>
                    <a:pt x="2150" y="556"/>
                  </a:cubicBezTo>
                  <a:cubicBezTo>
                    <a:pt x="2148" y="565"/>
                    <a:pt x="2148" y="565"/>
                    <a:pt x="2148" y="565"/>
                  </a:cubicBezTo>
                  <a:cubicBezTo>
                    <a:pt x="2148" y="565"/>
                    <a:pt x="2112" y="571"/>
                    <a:pt x="2124" y="575"/>
                  </a:cubicBezTo>
                  <a:cubicBezTo>
                    <a:pt x="2136" y="579"/>
                    <a:pt x="2163" y="559"/>
                    <a:pt x="2157" y="572"/>
                  </a:cubicBezTo>
                  <a:cubicBezTo>
                    <a:pt x="2151" y="585"/>
                    <a:pt x="2132" y="594"/>
                    <a:pt x="2119" y="598"/>
                  </a:cubicBezTo>
                  <a:cubicBezTo>
                    <a:pt x="2106" y="602"/>
                    <a:pt x="2086" y="617"/>
                    <a:pt x="2086" y="617"/>
                  </a:cubicBezTo>
                  <a:cubicBezTo>
                    <a:pt x="2086" y="617"/>
                    <a:pt x="2064" y="605"/>
                    <a:pt x="2060" y="612"/>
                  </a:cubicBezTo>
                  <a:cubicBezTo>
                    <a:pt x="2056" y="619"/>
                    <a:pt x="2035" y="625"/>
                    <a:pt x="2036" y="635"/>
                  </a:cubicBezTo>
                  <a:cubicBezTo>
                    <a:pt x="2037" y="645"/>
                    <a:pt x="2030" y="654"/>
                    <a:pt x="2030" y="654"/>
                  </a:cubicBezTo>
                  <a:cubicBezTo>
                    <a:pt x="2026" y="645"/>
                    <a:pt x="2026" y="645"/>
                    <a:pt x="2026" y="645"/>
                  </a:cubicBezTo>
                  <a:cubicBezTo>
                    <a:pt x="2026" y="645"/>
                    <a:pt x="2001" y="644"/>
                    <a:pt x="2003" y="638"/>
                  </a:cubicBezTo>
                  <a:cubicBezTo>
                    <a:pt x="2005" y="632"/>
                    <a:pt x="2047" y="604"/>
                    <a:pt x="2047" y="604"/>
                  </a:cubicBezTo>
                  <a:cubicBezTo>
                    <a:pt x="2022" y="604"/>
                    <a:pt x="2022" y="604"/>
                    <a:pt x="2022" y="604"/>
                  </a:cubicBezTo>
                  <a:cubicBezTo>
                    <a:pt x="2022" y="604"/>
                    <a:pt x="2015" y="590"/>
                    <a:pt x="2008" y="590"/>
                  </a:cubicBezTo>
                  <a:cubicBezTo>
                    <a:pt x="2001" y="590"/>
                    <a:pt x="1985" y="596"/>
                    <a:pt x="1985" y="596"/>
                  </a:cubicBezTo>
                  <a:cubicBezTo>
                    <a:pt x="1985" y="596"/>
                    <a:pt x="1964" y="589"/>
                    <a:pt x="1961" y="597"/>
                  </a:cubicBezTo>
                  <a:cubicBezTo>
                    <a:pt x="1958" y="605"/>
                    <a:pt x="1956" y="612"/>
                    <a:pt x="1960" y="613"/>
                  </a:cubicBezTo>
                  <a:cubicBezTo>
                    <a:pt x="1964" y="614"/>
                    <a:pt x="1993" y="627"/>
                    <a:pt x="1983" y="630"/>
                  </a:cubicBezTo>
                  <a:cubicBezTo>
                    <a:pt x="1973" y="633"/>
                    <a:pt x="1955" y="618"/>
                    <a:pt x="1955" y="618"/>
                  </a:cubicBezTo>
                  <a:cubicBezTo>
                    <a:pt x="1941" y="609"/>
                    <a:pt x="1941" y="609"/>
                    <a:pt x="1941" y="609"/>
                  </a:cubicBezTo>
                  <a:cubicBezTo>
                    <a:pt x="1940" y="629"/>
                    <a:pt x="1940" y="629"/>
                    <a:pt x="1940" y="629"/>
                  </a:cubicBezTo>
                  <a:cubicBezTo>
                    <a:pt x="1940" y="629"/>
                    <a:pt x="1925" y="638"/>
                    <a:pt x="1916" y="636"/>
                  </a:cubicBezTo>
                  <a:cubicBezTo>
                    <a:pt x="1907" y="634"/>
                    <a:pt x="1874" y="625"/>
                    <a:pt x="1863" y="625"/>
                  </a:cubicBezTo>
                  <a:cubicBezTo>
                    <a:pt x="1852" y="625"/>
                    <a:pt x="1830" y="629"/>
                    <a:pt x="1819" y="628"/>
                  </a:cubicBezTo>
                  <a:cubicBezTo>
                    <a:pt x="1808" y="627"/>
                    <a:pt x="1791" y="610"/>
                    <a:pt x="1791" y="610"/>
                  </a:cubicBezTo>
                  <a:cubicBezTo>
                    <a:pt x="1752" y="613"/>
                    <a:pt x="1752" y="613"/>
                    <a:pt x="1752" y="613"/>
                  </a:cubicBezTo>
                  <a:cubicBezTo>
                    <a:pt x="1752" y="613"/>
                    <a:pt x="1737" y="599"/>
                    <a:pt x="1729" y="597"/>
                  </a:cubicBezTo>
                  <a:cubicBezTo>
                    <a:pt x="1721" y="595"/>
                    <a:pt x="1704" y="595"/>
                    <a:pt x="1692" y="601"/>
                  </a:cubicBezTo>
                  <a:cubicBezTo>
                    <a:pt x="1680" y="607"/>
                    <a:pt x="1685" y="609"/>
                    <a:pt x="1672" y="609"/>
                  </a:cubicBezTo>
                  <a:cubicBezTo>
                    <a:pt x="1659" y="609"/>
                    <a:pt x="1631" y="602"/>
                    <a:pt x="1624" y="611"/>
                  </a:cubicBezTo>
                  <a:cubicBezTo>
                    <a:pt x="1617" y="620"/>
                    <a:pt x="1605" y="646"/>
                    <a:pt x="1605" y="646"/>
                  </a:cubicBezTo>
                  <a:cubicBezTo>
                    <a:pt x="1597" y="666"/>
                    <a:pt x="1597" y="666"/>
                    <a:pt x="1597" y="666"/>
                  </a:cubicBezTo>
                  <a:cubicBezTo>
                    <a:pt x="1576" y="668"/>
                    <a:pt x="1576" y="668"/>
                    <a:pt x="1576" y="668"/>
                  </a:cubicBezTo>
                  <a:cubicBezTo>
                    <a:pt x="1571" y="687"/>
                    <a:pt x="1571" y="687"/>
                    <a:pt x="1571" y="687"/>
                  </a:cubicBezTo>
                  <a:cubicBezTo>
                    <a:pt x="1556" y="654"/>
                    <a:pt x="1556" y="654"/>
                    <a:pt x="1556" y="654"/>
                  </a:cubicBezTo>
                  <a:cubicBezTo>
                    <a:pt x="1556" y="654"/>
                    <a:pt x="1598" y="665"/>
                    <a:pt x="1587" y="646"/>
                  </a:cubicBezTo>
                  <a:cubicBezTo>
                    <a:pt x="1576" y="627"/>
                    <a:pt x="1544" y="625"/>
                    <a:pt x="1544" y="625"/>
                  </a:cubicBezTo>
                  <a:cubicBezTo>
                    <a:pt x="1546" y="616"/>
                    <a:pt x="1546" y="616"/>
                    <a:pt x="1546" y="616"/>
                  </a:cubicBezTo>
                  <a:cubicBezTo>
                    <a:pt x="1546" y="616"/>
                    <a:pt x="1477" y="629"/>
                    <a:pt x="1440" y="629"/>
                  </a:cubicBezTo>
                  <a:cubicBezTo>
                    <a:pt x="1403" y="629"/>
                    <a:pt x="1337" y="625"/>
                    <a:pt x="1350" y="619"/>
                  </a:cubicBezTo>
                  <a:cubicBezTo>
                    <a:pt x="1363" y="613"/>
                    <a:pt x="1447" y="616"/>
                    <a:pt x="1427" y="594"/>
                  </a:cubicBezTo>
                  <a:cubicBezTo>
                    <a:pt x="1407" y="572"/>
                    <a:pt x="1388" y="570"/>
                    <a:pt x="1364" y="572"/>
                  </a:cubicBezTo>
                  <a:cubicBezTo>
                    <a:pt x="1340" y="574"/>
                    <a:pt x="1301" y="560"/>
                    <a:pt x="1295" y="557"/>
                  </a:cubicBezTo>
                  <a:cubicBezTo>
                    <a:pt x="1289" y="554"/>
                    <a:pt x="1271" y="554"/>
                    <a:pt x="1271" y="554"/>
                  </a:cubicBezTo>
                  <a:cubicBezTo>
                    <a:pt x="1271" y="554"/>
                    <a:pt x="1223" y="527"/>
                    <a:pt x="1205" y="528"/>
                  </a:cubicBezTo>
                  <a:cubicBezTo>
                    <a:pt x="1187" y="529"/>
                    <a:pt x="1155" y="554"/>
                    <a:pt x="1155" y="554"/>
                  </a:cubicBezTo>
                  <a:cubicBezTo>
                    <a:pt x="1119" y="554"/>
                    <a:pt x="1119" y="554"/>
                    <a:pt x="1119" y="554"/>
                  </a:cubicBezTo>
                  <a:cubicBezTo>
                    <a:pt x="1139" y="542"/>
                    <a:pt x="1139" y="542"/>
                    <a:pt x="1139" y="542"/>
                  </a:cubicBezTo>
                  <a:cubicBezTo>
                    <a:pt x="1139" y="534"/>
                    <a:pt x="1139" y="534"/>
                    <a:pt x="1139" y="534"/>
                  </a:cubicBezTo>
                  <a:cubicBezTo>
                    <a:pt x="1156" y="514"/>
                    <a:pt x="1156" y="514"/>
                    <a:pt x="1156" y="514"/>
                  </a:cubicBezTo>
                  <a:cubicBezTo>
                    <a:pt x="1156" y="514"/>
                    <a:pt x="1117" y="532"/>
                    <a:pt x="1110" y="539"/>
                  </a:cubicBezTo>
                  <a:cubicBezTo>
                    <a:pt x="1103" y="546"/>
                    <a:pt x="1087" y="568"/>
                    <a:pt x="1072" y="553"/>
                  </a:cubicBezTo>
                  <a:cubicBezTo>
                    <a:pt x="1057" y="538"/>
                    <a:pt x="1078" y="522"/>
                    <a:pt x="1075" y="511"/>
                  </a:cubicBezTo>
                  <a:cubicBezTo>
                    <a:pt x="1072" y="500"/>
                    <a:pt x="1049" y="489"/>
                    <a:pt x="1046" y="498"/>
                  </a:cubicBezTo>
                  <a:cubicBezTo>
                    <a:pt x="1043" y="507"/>
                    <a:pt x="1056" y="513"/>
                    <a:pt x="1056" y="513"/>
                  </a:cubicBezTo>
                  <a:cubicBezTo>
                    <a:pt x="1056" y="513"/>
                    <a:pt x="1036" y="511"/>
                    <a:pt x="1025" y="515"/>
                  </a:cubicBezTo>
                  <a:cubicBezTo>
                    <a:pt x="1014" y="519"/>
                    <a:pt x="998" y="530"/>
                    <a:pt x="993" y="534"/>
                  </a:cubicBezTo>
                  <a:cubicBezTo>
                    <a:pt x="988" y="538"/>
                    <a:pt x="970" y="533"/>
                    <a:pt x="970" y="533"/>
                  </a:cubicBezTo>
                  <a:cubicBezTo>
                    <a:pt x="970" y="533"/>
                    <a:pt x="923" y="543"/>
                    <a:pt x="919" y="544"/>
                  </a:cubicBezTo>
                  <a:cubicBezTo>
                    <a:pt x="915" y="545"/>
                    <a:pt x="890" y="560"/>
                    <a:pt x="890" y="560"/>
                  </a:cubicBezTo>
                  <a:cubicBezTo>
                    <a:pt x="876" y="547"/>
                    <a:pt x="876" y="547"/>
                    <a:pt x="876" y="547"/>
                  </a:cubicBezTo>
                  <a:cubicBezTo>
                    <a:pt x="876" y="547"/>
                    <a:pt x="843" y="564"/>
                    <a:pt x="833" y="565"/>
                  </a:cubicBezTo>
                  <a:cubicBezTo>
                    <a:pt x="823" y="566"/>
                    <a:pt x="805" y="578"/>
                    <a:pt x="805" y="578"/>
                  </a:cubicBezTo>
                  <a:cubicBezTo>
                    <a:pt x="783" y="580"/>
                    <a:pt x="783" y="580"/>
                    <a:pt x="783" y="580"/>
                  </a:cubicBezTo>
                  <a:cubicBezTo>
                    <a:pt x="783" y="580"/>
                    <a:pt x="800" y="562"/>
                    <a:pt x="815" y="559"/>
                  </a:cubicBezTo>
                  <a:cubicBezTo>
                    <a:pt x="830" y="556"/>
                    <a:pt x="864" y="543"/>
                    <a:pt x="864" y="543"/>
                  </a:cubicBezTo>
                  <a:cubicBezTo>
                    <a:pt x="864" y="543"/>
                    <a:pt x="895" y="546"/>
                    <a:pt x="906" y="541"/>
                  </a:cubicBezTo>
                  <a:cubicBezTo>
                    <a:pt x="917" y="536"/>
                    <a:pt x="978" y="522"/>
                    <a:pt x="978" y="522"/>
                  </a:cubicBezTo>
                  <a:cubicBezTo>
                    <a:pt x="978" y="522"/>
                    <a:pt x="990" y="519"/>
                    <a:pt x="983" y="514"/>
                  </a:cubicBezTo>
                  <a:cubicBezTo>
                    <a:pt x="976" y="509"/>
                    <a:pt x="955" y="516"/>
                    <a:pt x="955" y="516"/>
                  </a:cubicBezTo>
                  <a:cubicBezTo>
                    <a:pt x="955" y="516"/>
                    <a:pt x="937" y="515"/>
                    <a:pt x="930" y="517"/>
                  </a:cubicBezTo>
                  <a:cubicBezTo>
                    <a:pt x="923" y="519"/>
                    <a:pt x="916" y="527"/>
                    <a:pt x="911" y="528"/>
                  </a:cubicBezTo>
                  <a:cubicBezTo>
                    <a:pt x="906" y="529"/>
                    <a:pt x="887" y="529"/>
                    <a:pt x="887" y="529"/>
                  </a:cubicBezTo>
                  <a:cubicBezTo>
                    <a:pt x="872" y="532"/>
                    <a:pt x="872" y="532"/>
                    <a:pt x="872" y="532"/>
                  </a:cubicBezTo>
                  <a:cubicBezTo>
                    <a:pt x="872" y="532"/>
                    <a:pt x="855" y="532"/>
                    <a:pt x="843" y="535"/>
                  </a:cubicBezTo>
                  <a:cubicBezTo>
                    <a:pt x="831" y="538"/>
                    <a:pt x="820" y="550"/>
                    <a:pt x="820" y="550"/>
                  </a:cubicBezTo>
                  <a:cubicBezTo>
                    <a:pt x="806" y="552"/>
                    <a:pt x="806" y="552"/>
                    <a:pt x="806" y="552"/>
                  </a:cubicBezTo>
                  <a:cubicBezTo>
                    <a:pt x="771" y="565"/>
                    <a:pt x="771" y="565"/>
                    <a:pt x="771" y="565"/>
                  </a:cubicBezTo>
                  <a:cubicBezTo>
                    <a:pt x="771" y="565"/>
                    <a:pt x="756" y="568"/>
                    <a:pt x="753" y="571"/>
                  </a:cubicBezTo>
                  <a:cubicBezTo>
                    <a:pt x="750" y="574"/>
                    <a:pt x="748" y="590"/>
                    <a:pt x="741" y="586"/>
                  </a:cubicBezTo>
                  <a:cubicBezTo>
                    <a:pt x="734" y="582"/>
                    <a:pt x="733" y="567"/>
                    <a:pt x="744" y="565"/>
                  </a:cubicBezTo>
                  <a:cubicBezTo>
                    <a:pt x="755" y="563"/>
                    <a:pt x="784" y="553"/>
                    <a:pt x="793" y="547"/>
                  </a:cubicBezTo>
                  <a:cubicBezTo>
                    <a:pt x="802" y="541"/>
                    <a:pt x="760" y="535"/>
                    <a:pt x="753" y="544"/>
                  </a:cubicBezTo>
                  <a:cubicBezTo>
                    <a:pt x="746" y="553"/>
                    <a:pt x="719" y="558"/>
                    <a:pt x="712" y="558"/>
                  </a:cubicBezTo>
                  <a:cubicBezTo>
                    <a:pt x="705" y="558"/>
                    <a:pt x="705" y="585"/>
                    <a:pt x="705" y="585"/>
                  </a:cubicBezTo>
                  <a:cubicBezTo>
                    <a:pt x="689" y="576"/>
                    <a:pt x="689" y="576"/>
                    <a:pt x="689" y="576"/>
                  </a:cubicBezTo>
                  <a:cubicBezTo>
                    <a:pt x="647" y="570"/>
                    <a:pt x="647" y="570"/>
                    <a:pt x="647" y="570"/>
                  </a:cubicBezTo>
                  <a:cubicBezTo>
                    <a:pt x="647" y="570"/>
                    <a:pt x="621" y="558"/>
                    <a:pt x="623" y="553"/>
                  </a:cubicBezTo>
                  <a:cubicBezTo>
                    <a:pt x="625" y="548"/>
                    <a:pt x="629" y="539"/>
                    <a:pt x="629" y="539"/>
                  </a:cubicBezTo>
                  <a:cubicBezTo>
                    <a:pt x="555" y="540"/>
                    <a:pt x="555" y="540"/>
                    <a:pt x="555" y="540"/>
                  </a:cubicBezTo>
                  <a:cubicBezTo>
                    <a:pt x="567" y="540"/>
                    <a:pt x="567" y="540"/>
                    <a:pt x="567" y="540"/>
                  </a:cubicBezTo>
                  <a:cubicBezTo>
                    <a:pt x="52" y="964"/>
                    <a:pt x="52" y="964"/>
                    <a:pt x="52" y="964"/>
                  </a:cubicBezTo>
                  <a:cubicBezTo>
                    <a:pt x="52" y="964"/>
                    <a:pt x="26" y="978"/>
                    <a:pt x="32" y="984"/>
                  </a:cubicBezTo>
                  <a:cubicBezTo>
                    <a:pt x="38" y="990"/>
                    <a:pt x="67" y="984"/>
                    <a:pt x="67" y="984"/>
                  </a:cubicBezTo>
                  <a:cubicBezTo>
                    <a:pt x="70" y="984"/>
                    <a:pt x="79" y="979"/>
                    <a:pt x="79" y="979"/>
                  </a:cubicBezTo>
                  <a:cubicBezTo>
                    <a:pt x="103" y="979"/>
                    <a:pt x="103" y="979"/>
                    <a:pt x="103" y="979"/>
                  </a:cubicBezTo>
                  <a:cubicBezTo>
                    <a:pt x="88" y="994"/>
                    <a:pt x="88" y="994"/>
                    <a:pt x="88" y="994"/>
                  </a:cubicBezTo>
                  <a:cubicBezTo>
                    <a:pt x="88" y="994"/>
                    <a:pt x="88" y="1003"/>
                    <a:pt x="88" y="1013"/>
                  </a:cubicBezTo>
                  <a:cubicBezTo>
                    <a:pt x="88" y="1024"/>
                    <a:pt x="107" y="1032"/>
                    <a:pt x="107" y="1032"/>
                  </a:cubicBezTo>
                  <a:cubicBezTo>
                    <a:pt x="107" y="1032"/>
                    <a:pt x="88" y="1051"/>
                    <a:pt x="93" y="1051"/>
                  </a:cubicBezTo>
                  <a:cubicBezTo>
                    <a:pt x="99" y="1051"/>
                    <a:pt x="115" y="1038"/>
                    <a:pt x="115" y="1038"/>
                  </a:cubicBezTo>
                  <a:cubicBezTo>
                    <a:pt x="115" y="1038"/>
                    <a:pt x="136" y="1031"/>
                    <a:pt x="143" y="1031"/>
                  </a:cubicBezTo>
                  <a:cubicBezTo>
                    <a:pt x="151" y="1031"/>
                    <a:pt x="157" y="1021"/>
                    <a:pt x="157" y="1021"/>
                  </a:cubicBezTo>
                  <a:cubicBezTo>
                    <a:pt x="169" y="1021"/>
                    <a:pt x="169" y="1021"/>
                    <a:pt x="169" y="1021"/>
                  </a:cubicBezTo>
                  <a:cubicBezTo>
                    <a:pt x="171" y="1013"/>
                    <a:pt x="171" y="1013"/>
                    <a:pt x="171" y="1013"/>
                  </a:cubicBezTo>
                  <a:cubicBezTo>
                    <a:pt x="171" y="1013"/>
                    <a:pt x="199" y="1003"/>
                    <a:pt x="217" y="1008"/>
                  </a:cubicBezTo>
                  <a:cubicBezTo>
                    <a:pt x="236" y="1014"/>
                    <a:pt x="209" y="1024"/>
                    <a:pt x="209" y="1024"/>
                  </a:cubicBezTo>
                  <a:cubicBezTo>
                    <a:pt x="209" y="1041"/>
                    <a:pt x="209" y="1041"/>
                    <a:pt x="209" y="1041"/>
                  </a:cubicBezTo>
                  <a:cubicBezTo>
                    <a:pt x="203" y="1052"/>
                    <a:pt x="203" y="1052"/>
                    <a:pt x="203" y="1052"/>
                  </a:cubicBezTo>
                  <a:cubicBezTo>
                    <a:pt x="203" y="1052"/>
                    <a:pt x="210" y="1054"/>
                    <a:pt x="216" y="1072"/>
                  </a:cubicBezTo>
                  <a:cubicBezTo>
                    <a:pt x="223" y="1089"/>
                    <a:pt x="206" y="1108"/>
                    <a:pt x="206" y="1108"/>
                  </a:cubicBezTo>
                  <a:cubicBezTo>
                    <a:pt x="206" y="1132"/>
                    <a:pt x="206" y="1132"/>
                    <a:pt x="206" y="1132"/>
                  </a:cubicBezTo>
                  <a:cubicBezTo>
                    <a:pt x="206" y="1132"/>
                    <a:pt x="200" y="1149"/>
                    <a:pt x="195" y="1162"/>
                  </a:cubicBezTo>
                  <a:cubicBezTo>
                    <a:pt x="190" y="1175"/>
                    <a:pt x="218" y="1176"/>
                    <a:pt x="218" y="1180"/>
                  </a:cubicBezTo>
                  <a:cubicBezTo>
                    <a:pt x="218" y="1185"/>
                    <a:pt x="225" y="1187"/>
                    <a:pt x="225" y="1187"/>
                  </a:cubicBezTo>
                  <a:cubicBezTo>
                    <a:pt x="225" y="1187"/>
                    <a:pt x="235" y="1186"/>
                    <a:pt x="235" y="1194"/>
                  </a:cubicBezTo>
                  <a:cubicBezTo>
                    <a:pt x="235" y="1202"/>
                    <a:pt x="208" y="1213"/>
                    <a:pt x="208" y="1213"/>
                  </a:cubicBezTo>
                  <a:cubicBezTo>
                    <a:pt x="208" y="1213"/>
                    <a:pt x="208" y="1229"/>
                    <a:pt x="198" y="1239"/>
                  </a:cubicBezTo>
                  <a:cubicBezTo>
                    <a:pt x="194" y="1243"/>
                    <a:pt x="173" y="1254"/>
                    <a:pt x="152" y="1264"/>
                  </a:cubicBezTo>
                  <a:cubicBezTo>
                    <a:pt x="150" y="1269"/>
                    <a:pt x="149" y="1274"/>
                    <a:pt x="148" y="1278"/>
                  </a:cubicBezTo>
                  <a:cubicBezTo>
                    <a:pt x="147" y="1285"/>
                    <a:pt x="142" y="1299"/>
                    <a:pt x="142" y="1299"/>
                  </a:cubicBezTo>
                  <a:cubicBezTo>
                    <a:pt x="133" y="1305"/>
                    <a:pt x="133" y="1305"/>
                    <a:pt x="133" y="1305"/>
                  </a:cubicBezTo>
                  <a:cubicBezTo>
                    <a:pt x="133" y="1305"/>
                    <a:pt x="142" y="1309"/>
                    <a:pt x="143" y="1316"/>
                  </a:cubicBezTo>
                  <a:cubicBezTo>
                    <a:pt x="144" y="1323"/>
                    <a:pt x="151" y="1326"/>
                    <a:pt x="151" y="1326"/>
                  </a:cubicBezTo>
                  <a:cubicBezTo>
                    <a:pt x="151" y="1326"/>
                    <a:pt x="201" y="1287"/>
                    <a:pt x="201" y="1296"/>
                  </a:cubicBezTo>
                  <a:cubicBezTo>
                    <a:pt x="201" y="1305"/>
                    <a:pt x="185" y="1306"/>
                    <a:pt x="183" y="1311"/>
                  </a:cubicBezTo>
                  <a:cubicBezTo>
                    <a:pt x="181" y="1316"/>
                    <a:pt x="185" y="1326"/>
                    <a:pt x="185" y="1326"/>
                  </a:cubicBezTo>
                  <a:cubicBezTo>
                    <a:pt x="194" y="1333"/>
                    <a:pt x="194" y="1333"/>
                    <a:pt x="194" y="1333"/>
                  </a:cubicBezTo>
                  <a:cubicBezTo>
                    <a:pt x="165" y="1332"/>
                    <a:pt x="165" y="1332"/>
                    <a:pt x="165" y="1332"/>
                  </a:cubicBezTo>
                  <a:cubicBezTo>
                    <a:pt x="165" y="1332"/>
                    <a:pt x="143" y="1359"/>
                    <a:pt x="153" y="1360"/>
                  </a:cubicBezTo>
                  <a:cubicBezTo>
                    <a:pt x="163" y="1361"/>
                    <a:pt x="169" y="1367"/>
                    <a:pt x="169" y="1367"/>
                  </a:cubicBezTo>
                  <a:cubicBezTo>
                    <a:pt x="169" y="1367"/>
                    <a:pt x="157" y="1388"/>
                    <a:pt x="164" y="1385"/>
                  </a:cubicBezTo>
                  <a:cubicBezTo>
                    <a:pt x="171" y="1382"/>
                    <a:pt x="212" y="1354"/>
                    <a:pt x="212" y="1354"/>
                  </a:cubicBezTo>
                  <a:cubicBezTo>
                    <a:pt x="211" y="1363"/>
                    <a:pt x="211" y="1363"/>
                    <a:pt x="211" y="1363"/>
                  </a:cubicBezTo>
                  <a:cubicBezTo>
                    <a:pt x="192" y="1374"/>
                    <a:pt x="192" y="1374"/>
                    <a:pt x="192" y="1374"/>
                  </a:cubicBezTo>
                  <a:cubicBezTo>
                    <a:pt x="207" y="1380"/>
                    <a:pt x="207" y="1380"/>
                    <a:pt x="207" y="1380"/>
                  </a:cubicBezTo>
                  <a:cubicBezTo>
                    <a:pt x="207" y="1380"/>
                    <a:pt x="202" y="1400"/>
                    <a:pt x="194" y="1398"/>
                  </a:cubicBezTo>
                  <a:cubicBezTo>
                    <a:pt x="186" y="1396"/>
                    <a:pt x="184" y="1387"/>
                    <a:pt x="184" y="1387"/>
                  </a:cubicBezTo>
                  <a:cubicBezTo>
                    <a:pt x="184" y="1387"/>
                    <a:pt x="151" y="1397"/>
                    <a:pt x="145" y="1403"/>
                  </a:cubicBezTo>
                  <a:cubicBezTo>
                    <a:pt x="139" y="1409"/>
                    <a:pt x="133" y="1417"/>
                    <a:pt x="133" y="1417"/>
                  </a:cubicBezTo>
                  <a:cubicBezTo>
                    <a:pt x="133" y="1417"/>
                    <a:pt x="151" y="1412"/>
                    <a:pt x="156" y="1412"/>
                  </a:cubicBezTo>
                  <a:cubicBezTo>
                    <a:pt x="161" y="1412"/>
                    <a:pt x="182" y="1412"/>
                    <a:pt x="182" y="1412"/>
                  </a:cubicBezTo>
                  <a:cubicBezTo>
                    <a:pt x="182" y="1412"/>
                    <a:pt x="146" y="1421"/>
                    <a:pt x="140" y="1424"/>
                  </a:cubicBezTo>
                  <a:cubicBezTo>
                    <a:pt x="134" y="1427"/>
                    <a:pt x="138" y="1435"/>
                    <a:pt x="138" y="1435"/>
                  </a:cubicBezTo>
                  <a:cubicBezTo>
                    <a:pt x="138" y="1435"/>
                    <a:pt x="105" y="1423"/>
                    <a:pt x="114" y="1437"/>
                  </a:cubicBezTo>
                  <a:cubicBezTo>
                    <a:pt x="123" y="1451"/>
                    <a:pt x="132" y="1455"/>
                    <a:pt x="132" y="1455"/>
                  </a:cubicBezTo>
                  <a:cubicBezTo>
                    <a:pt x="164" y="1444"/>
                    <a:pt x="164" y="1444"/>
                    <a:pt x="164" y="1444"/>
                  </a:cubicBezTo>
                  <a:cubicBezTo>
                    <a:pt x="173" y="1459"/>
                    <a:pt x="173" y="1459"/>
                    <a:pt x="173" y="1459"/>
                  </a:cubicBezTo>
                  <a:cubicBezTo>
                    <a:pt x="198" y="1445"/>
                    <a:pt x="198" y="1445"/>
                    <a:pt x="198" y="1445"/>
                  </a:cubicBezTo>
                  <a:cubicBezTo>
                    <a:pt x="198" y="1445"/>
                    <a:pt x="165" y="1479"/>
                    <a:pt x="176" y="1478"/>
                  </a:cubicBezTo>
                  <a:cubicBezTo>
                    <a:pt x="187" y="1477"/>
                    <a:pt x="217" y="1454"/>
                    <a:pt x="217" y="1454"/>
                  </a:cubicBezTo>
                  <a:cubicBezTo>
                    <a:pt x="217" y="1454"/>
                    <a:pt x="190" y="1484"/>
                    <a:pt x="194" y="1484"/>
                  </a:cubicBezTo>
                  <a:cubicBezTo>
                    <a:pt x="198" y="1484"/>
                    <a:pt x="216" y="1479"/>
                    <a:pt x="216" y="1479"/>
                  </a:cubicBezTo>
                  <a:cubicBezTo>
                    <a:pt x="216" y="1479"/>
                    <a:pt x="178" y="1508"/>
                    <a:pt x="190" y="1509"/>
                  </a:cubicBezTo>
                  <a:cubicBezTo>
                    <a:pt x="202" y="1510"/>
                    <a:pt x="229" y="1490"/>
                    <a:pt x="229" y="1490"/>
                  </a:cubicBezTo>
                  <a:cubicBezTo>
                    <a:pt x="229" y="1490"/>
                    <a:pt x="203" y="1518"/>
                    <a:pt x="210" y="1520"/>
                  </a:cubicBezTo>
                  <a:cubicBezTo>
                    <a:pt x="217" y="1522"/>
                    <a:pt x="233" y="1526"/>
                    <a:pt x="233" y="1529"/>
                  </a:cubicBezTo>
                  <a:cubicBezTo>
                    <a:pt x="233" y="1531"/>
                    <a:pt x="231" y="1548"/>
                    <a:pt x="228" y="1561"/>
                  </a:cubicBezTo>
                  <a:cubicBezTo>
                    <a:pt x="228" y="1561"/>
                    <a:pt x="228" y="1561"/>
                    <a:pt x="228" y="1561"/>
                  </a:cubicBezTo>
                  <a:cubicBezTo>
                    <a:pt x="1370" y="1561"/>
                    <a:pt x="1370" y="1561"/>
                    <a:pt x="1370" y="1561"/>
                  </a:cubicBezTo>
                  <a:cubicBezTo>
                    <a:pt x="1370" y="1561"/>
                    <a:pt x="1384" y="1526"/>
                    <a:pt x="1394" y="1537"/>
                  </a:cubicBezTo>
                  <a:cubicBezTo>
                    <a:pt x="1404" y="1547"/>
                    <a:pt x="1379" y="1557"/>
                    <a:pt x="1388" y="1566"/>
                  </a:cubicBezTo>
                  <a:cubicBezTo>
                    <a:pt x="1396" y="1574"/>
                    <a:pt x="1415" y="1575"/>
                    <a:pt x="1415" y="1575"/>
                  </a:cubicBezTo>
                  <a:cubicBezTo>
                    <a:pt x="1415" y="1575"/>
                    <a:pt x="1422" y="1585"/>
                    <a:pt x="1430" y="1585"/>
                  </a:cubicBezTo>
                  <a:cubicBezTo>
                    <a:pt x="1438" y="1585"/>
                    <a:pt x="1436" y="1573"/>
                    <a:pt x="1449" y="1573"/>
                  </a:cubicBezTo>
                  <a:cubicBezTo>
                    <a:pt x="1462" y="1573"/>
                    <a:pt x="1465" y="1593"/>
                    <a:pt x="1471" y="1593"/>
                  </a:cubicBezTo>
                  <a:cubicBezTo>
                    <a:pt x="1477" y="1593"/>
                    <a:pt x="1484" y="1596"/>
                    <a:pt x="1487" y="1593"/>
                  </a:cubicBezTo>
                  <a:cubicBezTo>
                    <a:pt x="1490" y="1590"/>
                    <a:pt x="1503" y="1614"/>
                    <a:pt x="1509" y="1608"/>
                  </a:cubicBezTo>
                  <a:cubicBezTo>
                    <a:pt x="1515" y="1602"/>
                    <a:pt x="1531" y="1591"/>
                    <a:pt x="1531" y="1591"/>
                  </a:cubicBezTo>
                  <a:cubicBezTo>
                    <a:pt x="1531" y="1601"/>
                    <a:pt x="1531" y="1601"/>
                    <a:pt x="1531" y="1601"/>
                  </a:cubicBezTo>
                  <a:cubicBezTo>
                    <a:pt x="1561" y="1600"/>
                    <a:pt x="1561" y="1600"/>
                    <a:pt x="1561" y="1600"/>
                  </a:cubicBezTo>
                  <a:cubicBezTo>
                    <a:pt x="1561" y="1600"/>
                    <a:pt x="1558" y="1606"/>
                    <a:pt x="1586" y="1606"/>
                  </a:cubicBezTo>
                  <a:cubicBezTo>
                    <a:pt x="1598" y="1598"/>
                    <a:pt x="1605" y="1585"/>
                    <a:pt x="1606" y="1582"/>
                  </a:cubicBezTo>
                  <a:cubicBezTo>
                    <a:pt x="1607" y="1578"/>
                    <a:pt x="1626" y="1586"/>
                    <a:pt x="1626" y="1586"/>
                  </a:cubicBezTo>
                  <a:cubicBezTo>
                    <a:pt x="1634" y="1580"/>
                    <a:pt x="1634" y="1580"/>
                    <a:pt x="1634" y="1580"/>
                  </a:cubicBezTo>
                  <a:cubicBezTo>
                    <a:pt x="1634" y="1580"/>
                    <a:pt x="1641" y="1568"/>
                    <a:pt x="1642" y="1565"/>
                  </a:cubicBezTo>
                  <a:cubicBezTo>
                    <a:pt x="1643" y="1562"/>
                    <a:pt x="1651" y="1575"/>
                    <a:pt x="1651" y="1575"/>
                  </a:cubicBezTo>
                  <a:cubicBezTo>
                    <a:pt x="1668" y="1572"/>
                    <a:pt x="1668" y="1572"/>
                    <a:pt x="1668" y="1572"/>
                  </a:cubicBezTo>
                  <a:cubicBezTo>
                    <a:pt x="1668" y="1572"/>
                    <a:pt x="1659" y="1562"/>
                    <a:pt x="1668" y="1555"/>
                  </a:cubicBezTo>
                  <a:cubicBezTo>
                    <a:pt x="1677" y="1548"/>
                    <a:pt x="1686" y="1563"/>
                    <a:pt x="1686" y="1563"/>
                  </a:cubicBezTo>
                  <a:cubicBezTo>
                    <a:pt x="1704" y="1563"/>
                    <a:pt x="1704" y="1563"/>
                    <a:pt x="1704" y="1563"/>
                  </a:cubicBezTo>
                  <a:cubicBezTo>
                    <a:pt x="1708" y="1567"/>
                    <a:pt x="1708" y="1567"/>
                    <a:pt x="1708" y="1567"/>
                  </a:cubicBezTo>
                  <a:cubicBezTo>
                    <a:pt x="1708" y="1567"/>
                    <a:pt x="1728" y="1568"/>
                    <a:pt x="1733" y="1573"/>
                  </a:cubicBezTo>
                  <a:cubicBezTo>
                    <a:pt x="1738" y="1578"/>
                    <a:pt x="1727" y="1604"/>
                    <a:pt x="1727" y="1604"/>
                  </a:cubicBezTo>
                  <a:cubicBezTo>
                    <a:pt x="1733" y="1611"/>
                    <a:pt x="1733" y="1611"/>
                    <a:pt x="1733" y="1611"/>
                  </a:cubicBezTo>
                  <a:cubicBezTo>
                    <a:pt x="1727" y="1626"/>
                    <a:pt x="1727" y="1626"/>
                    <a:pt x="1727" y="1626"/>
                  </a:cubicBezTo>
                  <a:cubicBezTo>
                    <a:pt x="1727" y="1626"/>
                    <a:pt x="1766" y="1603"/>
                    <a:pt x="1777" y="1610"/>
                  </a:cubicBezTo>
                  <a:cubicBezTo>
                    <a:pt x="1788" y="1617"/>
                    <a:pt x="1760" y="1627"/>
                    <a:pt x="1759" y="1631"/>
                  </a:cubicBezTo>
                  <a:cubicBezTo>
                    <a:pt x="1758" y="1635"/>
                    <a:pt x="1773" y="1638"/>
                    <a:pt x="1773" y="1643"/>
                  </a:cubicBezTo>
                  <a:cubicBezTo>
                    <a:pt x="1773" y="1648"/>
                    <a:pt x="1757" y="1654"/>
                    <a:pt x="1757" y="1659"/>
                  </a:cubicBezTo>
                  <a:cubicBezTo>
                    <a:pt x="1757" y="1664"/>
                    <a:pt x="1770" y="1664"/>
                    <a:pt x="1767" y="1671"/>
                  </a:cubicBezTo>
                  <a:cubicBezTo>
                    <a:pt x="1764" y="1678"/>
                    <a:pt x="1758" y="1679"/>
                    <a:pt x="1758" y="1679"/>
                  </a:cubicBezTo>
                  <a:cubicBezTo>
                    <a:pt x="1756" y="1685"/>
                    <a:pt x="1756" y="1685"/>
                    <a:pt x="1756" y="1685"/>
                  </a:cubicBezTo>
                  <a:cubicBezTo>
                    <a:pt x="1769" y="1685"/>
                    <a:pt x="1769" y="1685"/>
                    <a:pt x="1769" y="1685"/>
                  </a:cubicBezTo>
                  <a:cubicBezTo>
                    <a:pt x="1765" y="1700"/>
                    <a:pt x="1765" y="1700"/>
                    <a:pt x="1765" y="1700"/>
                  </a:cubicBezTo>
                  <a:cubicBezTo>
                    <a:pt x="1771" y="1700"/>
                    <a:pt x="1778" y="1701"/>
                    <a:pt x="1781" y="1701"/>
                  </a:cubicBezTo>
                  <a:cubicBezTo>
                    <a:pt x="1786" y="1700"/>
                    <a:pt x="1794" y="1703"/>
                    <a:pt x="1806" y="1704"/>
                  </a:cubicBezTo>
                  <a:cubicBezTo>
                    <a:pt x="1818" y="1705"/>
                    <a:pt x="1825" y="1703"/>
                    <a:pt x="1825" y="1703"/>
                  </a:cubicBezTo>
                  <a:cubicBezTo>
                    <a:pt x="1837" y="1703"/>
                    <a:pt x="1852" y="1715"/>
                    <a:pt x="1863" y="1715"/>
                  </a:cubicBezTo>
                  <a:cubicBezTo>
                    <a:pt x="1874" y="1715"/>
                    <a:pt x="1884" y="1715"/>
                    <a:pt x="1884" y="1715"/>
                  </a:cubicBezTo>
                  <a:cubicBezTo>
                    <a:pt x="1906" y="1715"/>
                    <a:pt x="1904" y="1729"/>
                    <a:pt x="1904" y="1738"/>
                  </a:cubicBezTo>
                  <a:cubicBezTo>
                    <a:pt x="1904" y="1747"/>
                    <a:pt x="1914" y="1736"/>
                    <a:pt x="1914" y="1746"/>
                  </a:cubicBezTo>
                  <a:cubicBezTo>
                    <a:pt x="1914" y="1756"/>
                    <a:pt x="1910" y="1759"/>
                    <a:pt x="1905" y="1764"/>
                  </a:cubicBezTo>
                  <a:cubicBezTo>
                    <a:pt x="1900" y="1769"/>
                    <a:pt x="1918" y="1777"/>
                    <a:pt x="1918" y="1777"/>
                  </a:cubicBezTo>
                  <a:cubicBezTo>
                    <a:pt x="1903" y="1776"/>
                    <a:pt x="1903" y="1776"/>
                    <a:pt x="1903" y="1776"/>
                  </a:cubicBezTo>
                  <a:cubicBezTo>
                    <a:pt x="1903" y="1776"/>
                    <a:pt x="1903" y="1785"/>
                    <a:pt x="1896" y="1793"/>
                  </a:cubicBezTo>
                  <a:cubicBezTo>
                    <a:pt x="1888" y="1800"/>
                    <a:pt x="1887" y="1793"/>
                    <a:pt x="1868" y="1783"/>
                  </a:cubicBezTo>
                  <a:cubicBezTo>
                    <a:pt x="1849" y="1773"/>
                    <a:pt x="1855" y="1754"/>
                    <a:pt x="1855" y="1754"/>
                  </a:cubicBezTo>
                  <a:cubicBezTo>
                    <a:pt x="1844" y="1749"/>
                    <a:pt x="1844" y="1749"/>
                    <a:pt x="1844" y="1749"/>
                  </a:cubicBezTo>
                  <a:cubicBezTo>
                    <a:pt x="1846" y="1761"/>
                    <a:pt x="1846" y="1761"/>
                    <a:pt x="1846" y="1761"/>
                  </a:cubicBezTo>
                  <a:cubicBezTo>
                    <a:pt x="1846" y="1761"/>
                    <a:pt x="1854" y="1774"/>
                    <a:pt x="1846" y="1788"/>
                  </a:cubicBezTo>
                  <a:cubicBezTo>
                    <a:pt x="1838" y="1802"/>
                    <a:pt x="1820" y="1806"/>
                    <a:pt x="1812" y="1819"/>
                  </a:cubicBezTo>
                  <a:cubicBezTo>
                    <a:pt x="1804" y="1832"/>
                    <a:pt x="1801" y="1844"/>
                    <a:pt x="1793" y="1853"/>
                  </a:cubicBezTo>
                  <a:cubicBezTo>
                    <a:pt x="1785" y="1861"/>
                    <a:pt x="1769" y="1868"/>
                    <a:pt x="1762" y="1864"/>
                  </a:cubicBezTo>
                  <a:cubicBezTo>
                    <a:pt x="1758" y="1869"/>
                    <a:pt x="1755" y="1873"/>
                    <a:pt x="1755" y="1873"/>
                  </a:cubicBezTo>
                  <a:cubicBezTo>
                    <a:pt x="1755" y="1873"/>
                    <a:pt x="1757" y="1894"/>
                    <a:pt x="1749" y="1894"/>
                  </a:cubicBezTo>
                  <a:cubicBezTo>
                    <a:pt x="1741" y="1894"/>
                    <a:pt x="1696" y="1916"/>
                    <a:pt x="1706" y="1926"/>
                  </a:cubicBezTo>
                  <a:cubicBezTo>
                    <a:pt x="1707" y="1926"/>
                    <a:pt x="1707" y="1927"/>
                    <a:pt x="1708" y="1928"/>
                  </a:cubicBezTo>
                  <a:cubicBezTo>
                    <a:pt x="1716" y="1924"/>
                    <a:pt x="1723" y="1921"/>
                    <a:pt x="1724" y="1921"/>
                  </a:cubicBezTo>
                  <a:cubicBezTo>
                    <a:pt x="1727" y="1921"/>
                    <a:pt x="1731" y="1926"/>
                    <a:pt x="1731" y="1926"/>
                  </a:cubicBezTo>
                  <a:cubicBezTo>
                    <a:pt x="1731" y="1926"/>
                    <a:pt x="1746" y="1912"/>
                    <a:pt x="1754" y="1910"/>
                  </a:cubicBezTo>
                  <a:cubicBezTo>
                    <a:pt x="1762" y="1908"/>
                    <a:pt x="1770" y="1911"/>
                    <a:pt x="1770" y="1911"/>
                  </a:cubicBezTo>
                  <a:cubicBezTo>
                    <a:pt x="1770" y="1911"/>
                    <a:pt x="1775" y="1890"/>
                    <a:pt x="1800" y="1889"/>
                  </a:cubicBezTo>
                  <a:cubicBezTo>
                    <a:pt x="1825" y="1888"/>
                    <a:pt x="1842" y="1895"/>
                    <a:pt x="1842" y="1895"/>
                  </a:cubicBezTo>
                  <a:cubicBezTo>
                    <a:pt x="1858" y="1881"/>
                    <a:pt x="1858" y="1881"/>
                    <a:pt x="1858" y="1881"/>
                  </a:cubicBezTo>
                  <a:cubicBezTo>
                    <a:pt x="1900" y="1883"/>
                    <a:pt x="1900" y="1883"/>
                    <a:pt x="1900" y="1883"/>
                  </a:cubicBezTo>
                  <a:cubicBezTo>
                    <a:pt x="1903" y="1880"/>
                    <a:pt x="1905" y="1878"/>
                    <a:pt x="1906" y="1876"/>
                  </a:cubicBezTo>
                  <a:cubicBezTo>
                    <a:pt x="1908" y="1870"/>
                    <a:pt x="1908" y="1866"/>
                    <a:pt x="1907" y="1862"/>
                  </a:cubicBezTo>
                  <a:cubicBezTo>
                    <a:pt x="1889" y="1866"/>
                    <a:pt x="1883" y="1865"/>
                    <a:pt x="1882" y="1858"/>
                  </a:cubicBezTo>
                  <a:cubicBezTo>
                    <a:pt x="1881" y="1848"/>
                    <a:pt x="1915" y="1826"/>
                    <a:pt x="1928" y="1826"/>
                  </a:cubicBezTo>
                  <a:cubicBezTo>
                    <a:pt x="1941" y="1826"/>
                    <a:pt x="1960" y="1821"/>
                    <a:pt x="1964" y="1821"/>
                  </a:cubicBezTo>
                  <a:cubicBezTo>
                    <a:pt x="1968" y="1821"/>
                    <a:pt x="1985" y="1815"/>
                    <a:pt x="1985" y="1815"/>
                  </a:cubicBezTo>
                  <a:cubicBezTo>
                    <a:pt x="1985" y="1815"/>
                    <a:pt x="2012" y="1825"/>
                    <a:pt x="2016" y="1825"/>
                  </a:cubicBezTo>
                  <a:cubicBezTo>
                    <a:pt x="2020" y="1825"/>
                    <a:pt x="2020" y="1809"/>
                    <a:pt x="2020" y="1809"/>
                  </a:cubicBezTo>
                  <a:cubicBezTo>
                    <a:pt x="2020" y="1809"/>
                    <a:pt x="2027" y="1800"/>
                    <a:pt x="2037" y="1803"/>
                  </a:cubicBezTo>
                  <a:cubicBezTo>
                    <a:pt x="2040" y="1804"/>
                    <a:pt x="2042" y="1805"/>
                    <a:pt x="2043" y="1806"/>
                  </a:cubicBezTo>
                  <a:cubicBezTo>
                    <a:pt x="2045" y="1805"/>
                    <a:pt x="2047" y="1804"/>
                    <a:pt x="2048" y="1804"/>
                  </a:cubicBezTo>
                  <a:cubicBezTo>
                    <a:pt x="2054" y="1804"/>
                    <a:pt x="2056" y="1802"/>
                    <a:pt x="2064" y="1802"/>
                  </a:cubicBezTo>
                  <a:cubicBezTo>
                    <a:pt x="2072" y="1802"/>
                    <a:pt x="2106" y="1764"/>
                    <a:pt x="2123" y="1764"/>
                  </a:cubicBezTo>
                  <a:cubicBezTo>
                    <a:pt x="2140" y="1764"/>
                    <a:pt x="2271" y="1764"/>
                    <a:pt x="2271" y="1764"/>
                  </a:cubicBezTo>
                  <a:cubicBezTo>
                    <a:pt x="2271" y="1764"/>
                    <a:pt x="2271" y="1749"/>
                    <a:pt x="2283" y="1749"/>
                  </a:cubicBezTo>
                  <a:cubicBezTo>
                    <a:pt x="2295" y="1749"/>
                    <a:pt x="2303" y="1748"/>
                    <a:pt x="2303" y="1748"/>
                  </a:cubicBezTo>
                  <a:cubicBezTo>
                    <a:pt x="2303" y="1748"/>
                    <a:pt x="2314" y="1727"/>
                    <a:pt x="2323" y="1727"/>
                  </a:cubicBezTo>
                  <a:cubicBezTo>
                    <a:pt x="2333" y="1727"/>
                    <a:pt x="2340" y="1734"/>
                    <a:pt x="2340" y="1727"/>
                  </a:cubicBezTo>
                  <a:cubicBezTo>
                    <a:pt x="2340" y="1720"/>
                    <a:pt x="2343" y="1698"/>
                    <a:pt x="2349" y="1698"/>
                  </a:cubicBezTo>
                  <a:cubicBezTo>
                    <a:pt x="2355" y="1698"/>
                    <a:pt x="2363" y="1690"/>
                    <a:pt x="2363" y="1690"/>
                  </a:cubicBezTo>
                  <a:cubicBezTo>
                    <a:pt x="2363" y="1676"/>
                    <a:pt x="2363" y="1676"/>
                    <a:pt x="2363" y="1676"/>
                  </a:cubicBezTo>
                  <a:cubicBezTo>
                    <a:pt x="2390" y="1657"/>
                    <a:pt x="2390" y="1657"/>
                    <a:pt x="2390" y="1657"/>
                  </a:cubicBezTo>
                  <a:cubicBezTo>
                    <a:pt x="2390" y="1657"/>
                    <a:pt x="2401" y="1636"/>
                    <a:pt x="2414" y="1636"/>
                  </a:cubicBezTo>
                  <a:cubicBezTo>
                    <a:pt x="2427" y="1636"/>
                    <a:pt x="2418" y="1645"/>
                    <a:pt x="2430" y="1645"/>
                  </a:cubicBezTo>
                  <a:cubicBezTo>
                    <a:pt x="2442" y="1645"/>
                    <a:pt x="2469" y="1634"/>
                    <a:pt x="2469" y="1651"/>
                  </a:cubicBezTo>
                  <a:cubicBezTo>
                    <a:pt x="2469" y="1668"/>
                    <a:pt x="2439" y="1725"/>
                    <a:pt x="2442" y="1728"/>
                  </a:cubicBezTo>
                  <a:cubicBezTo>
                    <a:pt x="2445" y="1731"/>
                    <a:pt x="2453" y="1735"/>
                    <a:pt x="2453" y="1735"/>
                  </a:cubicBezTo>
                  <a:cubicBezTo>
                    <a:pt x="2453" y="1735"/>
                    <a:pt x="2439" y="1748"/>
                    <a:pt x="2444" y="1753"/>
                  </a:cubicBezTo>
                  <a:cubicBezTo>
                    <a:pt x="2449" y="1758"/>
                    <a:pt x="2457" y="1755"/>
                    <a:pt x="2457" y="1755"/>
                  </a:cubicBezTo>
                  <a:cubicBezTo>
                    <a:pt x="2458" y="1759"/>
                    <a:pt x="2458" y="1759"/>
                    <a:pt x="2458" y="1759"/>
                  </a:cubicBezTo>
                  <a:cubicBezTo>
                    <a:pt x="2462" y="1761"/>
                    <a:pt x="2472" y="1765"/>
                    <a:pt x="2484" y="1760"/>
                  </a:cubicBezTo>
                  <a:cubicBezTo>
                    <a:pt x="2499" y="1754"/>
                    <a:pt x="2511" y="1738"/>
                    <a:pt x="2511" y="1738"/>
                  </a:cubicBezTo>
                  <a:cubicBezTo>
                    <a:pt x="2517" y="1752"/>
                    <a:pt x="2517" y="1752"/>
                    <a:pt x="2517" y="1752"/>
                  </a:cubicBezTo>
                  <a:cubicBezTo>
                    <a:pt x="2517" y="1752"/>
                    <a:pt x="2549" y="1738"/>
                    <a:pt x="2554" y="1734"/>
                  </a:cubicBezTo>
                  <a:cubicBezTo>
                    <a:pt x="2559" y="1730"/>
                    <a:pt x="2580" y="1724"/>
                    <a:pt x="2580" y="1724"/>
                  </a:cubicBezTo>
                  <a:cubicBezTo>
                    <a:pt x="2590" y="1725"/>
                    <a:pt x="2590" y="1725"/>
                    <a:pt x="2590" y="1725"/>
                  </a:cubicBezTo>
                  <a:cubicBezTo>
                    <a:pt x="2561" y="1748"/>
                    <a:pt x="2561" y="1748"/>
                    <a:pt x="2561" y="1748"/>
                  </a:cubicBezTo>
                  <a:cubicBezTo>
                    <a:pt x="2622" y="1742"/>
                    <a:pt x="2622" y="1742"/>
                    <a:pt x="2622" y="1742"/>
                  </a:cubicBezTo>
                  <a:cubicBezTo>
                    <a:pt x="2622" y="1742"/>
                    <a:pt x="2593" y="1745"/>
                    <a:pt x="2592" y="1751"/>
                  </a:cubicBezTo>
                  <a:cubicBezTo>
                    <a:pt x="2591" y="1757"/>
                    <a:pt x="2587" y="1764"/>
                    <a:pt x="2587" y="1764"/>
                  </a:cubicBezTo>
                  <a:cubicBezTo>
                    <a:pt x="2587" y="1764"/>
                    <a:pt x="2568" y="1753"/>
                    <a:pt x="2561" y="1756"/>
                  </a:cubicBezTo>
                  <a:cubicBezTo>
                    <a:pt x="2554" y="1759"/>
                    <a:pt x="2486" y="1793"/>
                    <a:pt x="2483" y="1801"/>
                  </a:cubicBezTo>
                  <a:cubicBezTo>
                    <a:pt x="2480" y="1809"/>
                    <a:pt x="2474" y="1833"/>
                    <a:pt x="2479" y="1834"/>
                  </a:cubicBezTo>
                  <a:cubicBezTo>
                    <a:pt x="2484" y="1835"/>
                    <a:pt x="2491" y="1829"/>
                    <a:pt x="2491" y="1829"/>
                  </a:cubicBezTo>
                  <a:cubicBezTo>
                    <a:pt x="2491" y="1829"/>
                    <a:pt x="2489" y="1845"/>
                    <a:pt x="2498" y="1843"/>
                  </a:cubicBezTo>
                  <a:cubicBezTo>
                    <a:pt x="2507" y="1841"/>
                    <a:pt x="2513" y="1828"/>
                    <a:pt x="2513" y="1828"/>
                  </a:cubicBezTo>
                  <a:cubicBezTo>
                    <a:pt x="2513" y="1828"/>
                    <a:pt x="2539" y="1825"/>
                    <a:pt x="2553" y="1813"/>
                  </a:cubicBezTo>
                  <a:cubicBezTo>
                    <a:pt x="2567" y="1801"/>
                    <a:pt x="2582" y="1780"/>
                    <a:pt x="2582" y="1780"/>
                  </a:cubicBezTo>
                  <a:cubicBezTo>
                    <a:pt x="2582" y="1780"/>
                    <a:pt x="2582" y="1796"/>
                    <a:pt x="2596" y="1793"/>
                  </a:cubicBezTo>
                  <a:cubicBezTo>
                    <a:pt x="2610" y="1790"/>
                    <a:pt x="2644" y="1775"/>
                    <a:pt x="2655" y="1772"/>
                  </a:cubicBezTo>
                  <a:cubicBezTo>
                    <a:pt x="2666" y="1769"/>
                    <a:pt x="2718" y="1756"/>
                    <a:pt x="2718" y="1756"/>
                  </a:cubicBezTo>
                  <a:cubicBezTo>
                    <a:pt x="2709" y="1746"/>
                    <a:pt x="2709" y="1746"/>
                    <a:pt x="2709" y="1746"/>
                  </a:cubicBezTo>
                  <a:cubicBezTo>
                    <a:pt x="2713" y="1733"/>
                    <a:pt x="2713" y="1733"/>
                    <a:pt x="2713" y="1733"/>
                  </a:cubicBezTo>
                  <a:cubicBezTo>
                    <a:pt x="2692" y="1737"/>
                    <a:pt x="2692" y="1737"/>
                    <a:pt x="2692" y="1737"/>
                  </a:cubicBezTo>
                  <a:cubicBezTo>
                    <a:pt x="2691" y="1721"/>
                    <a:pt x="2691" y="1721"/>
                    <a:pt x="2691" y="1721"/>
                  </a:cubicBezTo>
                  <a:cubicBezTo>
                    <a:pt x="2691" y="1721"/>
                    <a:pt x="2667" y="1735"/>
                    <a:pt x="2661" y="1734"/>
                  </a:cubicBezTo>
                  <a:cubicBezTo>
                    <a:pt x="2655" y="1733"/>
                    <a:pt x="2657" y="1724"/>
                    <a:pt x="2657" y="1724"/>
                  </a:cubicBezTo>
                  <a:cubicBezTo>
                    <a:pt x="2657" y="1724"/>
                    <a:pt x="2625" y="1727"/>
                    <a:pt x="2619" y="1722"/>
                  </a:cubicBezTo>
                  <a:cubicBezTo>
                    <a:pt x="2613" y="1717"/>
                    <a:pt x="2605" y="1707"/>
                    <a:pt x="2614" y="1707"/>
                  </a:cubicBezTo>
                  <a:cubicBezTo>
                    <a:pt x="2623" y="1707"/>
                    <a:pt x="2610" y="1694"/>
                    <a:pt x="2599" y="1697"/>
                  </a:cubicBezTo>
                  <a:cubicBezTo>
                    <a:pt x="2588" y="1700"/>
                    <a:pt x="2584" y="1681"/>
                    <a:pt x="2584" y="1676"/>
                  </a:cubicBezTo>
                  <a:cubicBezTo>
                    <a:pt x="2584" y="1671"/>
                    <a:pt x="2596" y="1658"/>
                    <a:pt x="2596" y="1658"/>
                  </a:cubicBezTo>
                  <a:cubicBezTo>
                    <a:pt x="2580" y="1657"/>
                    <a:pt x="2580" y="1657"/>
                    <a:pt x="2580" y="1657"/>
                  </a:cubicBezTo>
                  <a:cubicBezTo>
                    <a:pt x="2580" y="1657"/>
                    <a:pt x="2599" y="1642"/>
                    <a:pt x="2606" y="1634"/>
                  </a:cubicBezTo>
                  <a:cubicBezTo>
                    <a:pt x="2613" y="1626"/>
                    <a:pt x="2632" y="1607"/>
                    <a:pt x="2632" y="1607"/>
                  </a:cubicBezTo>
                  <a:cubicBezTo>
                    <a:pt x="2622" y="1604"/>
                    <a:pt x="2622" y="1604"/>
                    <a:pt x="2622" y="1604"/>
                  </a:cubicBezTo>
                  <a:cubicBezTo>
                    <a:pt x="2608" y="1622"/>
                    <a:pt x="2608" y="1622"/>
                    <a:pt x="2608" y="1622"/>
                  </a:cubicBezTo>
                  <a:cubicBezTo>
                    <a:pt x="2593" y="1614"/>
                    <a:pt x="2593" y="1614"/>
                    <a:pt x="2593" y="1614"/>
                  </a:cubicBezTo>
                  <a:cubicBezTo>
                    <a:pt x="2574" y="1628"/>
                    <a:pt x="2574" y="1628"/>
                    <a:pt x="2574" y="1628"/>
                  </a:cubicBezTo>
                  <a:cubicBezTo>
                    <a:pt x="2571" y="1615"/>
                    <a:pt x="2571" y="1615"/>
                    <a:pt x="2571" y="1615"/>
                  </a:cubicBezTo>
                  <a:cubicBezTo>
                    <a:pt x="2552" y="1608"/>
                    <a:pt x="2552" y="1608"/>
                    <a:pt x="2552" y="1608"/>
                  </a:cubicBezTo>
                  <a:cubicBezTo>
                    <a:pt x="2537" y="1610"/>
                    <a:pt x="2537" y="1610"/>
                    <a:pt x="2537" y="1610"/>
                  </a:cubicBezTo>
                  <a:cubicBezTo>
                    <a:pt x="2574" y="1597"/>
                    <a:pt x="2574" y="1597"/>
                    <a:pt x="2574" y="1597"/>
                  </a:cubicBezTo>
                  <a:cubicBezTo>
                    <a:pt x="2574" y="1597"/>
                    <a:pt x="2581" y="1607"/>
                    <a:pt x="2591" y="1606"/>
                  </a:cubicBezTo>
                  <a:cubicBezTo>
                    <a:pt x="2601" y="1605"/>
                    <a:pt x="2624" y="1587"/>
                    <a:pt x="2624" y="1587"/>
                  </a:cubicBezTo>
                  <a:cubicBezTo>
                    <a:pt x="2624" y="1587"/>
                    <a:pt x="2650" y="1592"/>
                    <a:pt x="2651" y="1585"/>
                  </a:cubicBezTo>
                  <a:cubicBezTo>
                    <a:pt x="2652" y="1578"/>
                    <a:pt x="2644" y="1567"/>
                    <a:pt x="2644" y="1567"/>
                  </a:cubicBezTo>
                  <a:cubicBezTo>
                    <a:pt x="2660" y="1566"/>
                    <a:pt x="2660" y="1566"/>
                    <a:pt x="2660" y="1566"/>
                  </a:cubicBezTo>
                  <a:cubicBezTo>
                    <a:pt x="2660" y="1566"/>
                    <a:pt x="2651" y="1543"/>
                    <a:pt x="2609" y="1543"/>
                  </a:cubicBezTo>
                  <a:cubicBezTo>
                    <a:pt x="2567" y="1543"/>
                    <a:pt x="2517" y="1564"/>
                    <a:pt x="2494" y="1569"/>
                  </a:cubicBezTo>
                  <a:cubicBezTo>
                    <a:pt x="2471" y="1574"/>
                    <a:pt x="2434" y="1597"/>
                    <a:pt x="2427" y="1603"/>
                  </a:cubicBezTo>
                  <a:cubicBezTo>
                    <a:pt x="2420" y="1609"/>
                    <a:pt x="2378" y="1642"/>
                    <a:pt x="2368" y="1650"/>
                  </a:cubicBezTo>
                  <a:cubicBezTo>
                    <a:pt x="2358" y="1658"/>
                    <a:pt x="2322" y="1663"/>
                    <a:pt x="2322" y="1663"/>
                  </a:cubicBezTo>
                  <a:cubicBezTo>
                    <a:pt x="2322" y="1663"/>
                    <a:pt x="2372" y="1635"/>
                    <a:pt x="2381" y="1626"/>
                  </a:cubicBezTo>
                  <a:cubicBezTo>
                    <a:pt x="2390" y="1617"/>
                    <a:pt x="2403" y="1603"/>
                    <a:pt x="2403" y="1603"/>
                  </a:cubicBezTo>
                  <a:cubicBezTo>
                    <a:pt x="2388" y="1594"/>
                    <a:pt x="2388" y="1594"/>
                    <a:pt x="2388" y="1594"/>
                  </a:cubicBezTo>
                  <a:cubicBezTo>
                    <a:pt x="2388" y="1594"/>
                    <a:pt x="2409" y="1602"/>
                    <a:pt x="2414" y="1597"/>
                  </a:cubicBezTo>
                  <a:cubicBezTo>
                    <a:pt x="2419" y="1592"/>
                    <a:pt x="2469" y="1559"/>
                    <a:pt x="2481" y="1550"/>
                  </a:cubicBezTo>
                  <a:cubicBezTo>
                    <a:pt x="2493" y="1541"/>
                    <a:pt x="2531" y="1535"/>
                    <a:pt x="2535" y="1537"/>
                  </a:cubicBezTo>
                  <a:cubicBezTo>
                    <a:pt x="2539" y="1539"/>
                    <a:pt x="2561" y="1501"/>
                    <a:pt x="2591" y="1496"/>
                  </a:cubicBezTo>
                  <a:cubicBezTo>
                    <a:pt x="2621" y="1491"/>
                    <a:pt x="2697" y="1487"/>
                    <a:pt x="2713" y="1487"/>
                  </a:cubicBezTo>
                  <a:cubicBezTo>
                    <a:pt x="2729" y="1487"/>
                    <a:pt x="2788" y="1504"/>
                    <a:pt x="2798" y="1502"/>
                  </a:cubicBezTo>
                  <a:cubicBezTo>
                    <a:pt x="2808" y="1500"/>
                    <a:pt x="2829" y="1489"/>
                    <a:pt x="2839" y="1488"/>
                  </a:cubicBezTo>
                  <a:cubicBezTo>
                    <a:pt x="2849" y="1487"/>
                    <a:pt x="2880" y="1482"/>
                    <a:pt x="2892" y="1473"/>
                  </a:cubicBezTo>
                  <a:cubicBezTo>
                    <a:pt x="2904" y="1464"/>
                    <a:pt x="2930" y="1439"/>
                    <a:pt x="2940" y="1437"/>
                  </a:cubicBezTo>
                  <a:cubicBezTo>
                    <a:pt x="2950" y="1435"/>
                    <a:pt x="2967" y="1436"/>
                    <a:pt x="2967" y="1436"/>
                  </a:cubicBezTo>
                  <a:cubicBezTo>
                    <a:pt x="2967" y="1436"/>
                    <a:pt x="2980" y="1424"/>
                    <a:pt x="2990" y="1424"/>
                  </a:cubicBezTo>
                  <a:cubicBezTo>
                    <a:pt x="3000" y="1424"/>
                    <a:pt x="3001" y="1429"/>
                    <a:pt x="3018" y="1421"/>
                  </a:cubicBezTo>
                  <a:cubicBezTo>
                    <a:pt x="3018" y="1421"/>
                    <a:pt x="3083" y="1404"/>
                    <a:pt x="3077" y="1394"/>
                  </a:cubicBezTo>
                  <a:cubicBezTo>
                    <a:pt x="3071" y="1384"/>
                    <a:pt x="3052" y="1371"/>
                    <a:pt x="3052" y="1371"/>
                  </a:cubicBezTo>
                  <a:cubicBezTo>
                    <a:pt x="3052" y="1371"/>
                    <a:pt x="3076" y="1373"/>
                    <a:pt x="3076" y="1364"/>
                  </a:cubicBezTo>
                  <a:cubicBezTo>
                    <a:pt x="3076" y="1355"/>
                    <a:pt x="3072" y="1343"/>
                    <a:pt x="3072" y="1343"/>
                  </a:cubicBezTo>
                  <a:cubicBezTo>
                    <a:pt x="3072" y="1343"/>
                    <a:pt x="3100" y="1347"/>
                    <a:pt x="3094" y="1331"/>
                  </a:cubicBezTo>
                  <a:cubicBezTo>
                    <a:pt x="3088" y="1315"/>
                    <a:pt x="3065" y="1304"/>
                    <a:pt x="3058" y="1312"/>
                  </a:cubicBezTo>
                  <a:close/>
                  <a:moveTo>
                    <a:pt x="969" y="735"/>
                  </a:moveTo>
                  <a:cubicBezTo>
                    <a:pt x="976" y="730"/>
                    <a:pt x="1004" y="720"/>
                    <a:pt x="1004" y="720"/>
                  </a:cubicBezTo>
                  <a:cubicBezTo>
                    <a:pt x="1004" y="720"/>
                    <a:pt x="999" y="712"/>
                    <a:pt x="1005" y="709"/>
                  </a:cubicBezTo>
                  <a:cubicBezTo>
                    <a:pt x="1011" y="706"/>
                    <a:pt x="1029" y="715"/>
                    <a:pt x="1051" y="709"/>
                  </a:cubicBezTo>
                  <a:cubicBezTo>
                    <a:pt x="1073" y="703"/>
                    <a:pt x="1053" y="691"/>
                    <a:pt x="1034" y="691"/>
                  </a:cubicBezTo>
                  <a:cubicBezTo>
                    <a:pt x="1015" y="691"/>
                    <a:pt x="1010" y="698"/>
                    <a:pt x="999" y="703"/>
                  </a:cubicBezTo>
                  <a:cubicBezTo>
                    <a:pt x="988" y="708"/>
                    <a:pt x="989" y="698"/>
                    <a:pt x="989" y="698"/>
                  </a:cubicBezTo>
                  <a:cubicBezTo>
                    <a:pt x="977" y="703"/>
                    <a:pt x="977" y="703"/>
                    <a:pt x="977" y="703"/>
                  </a:cubicBezTo>
                  <a:cubicBezTo>
                    <a:pt x="954" y="700"/>
                    <a:pt x="954" y="700"/>
                    <a:pt x="954" y="700"/>
                  </a:cubicBezTo>
                  <a:cubicBezTo>
                    <a:pt x="954" y="700"/>
                    <a:pt x="933" y="710"/>
                    <a:pt x="924" y="707"/>
                  </a:cubicBezTo>
                  <a:cubicBezTo>
                    <a:pt x="915" y="704"/>
                    <a:pt x="950" y="694"/>
                    <a:pt x="960" y="689"/>
                  </a:cubicBezTo>
                  <a:cubicBezTo>
                    <a:pt x="970" y="684"/>
                    <a:pt x="979" y="690"/>
                    <a:pt x="992" y="690"/>
                  </a:cubicBezTo>
                  <a:cubicBezTo>
                    <a:pt x="1005" y="690"/>
                    <a:pt x="1001" y="681"/>
                    <a:pt x="1001" y="681"/>
                  </a:cubicBezTo>
                  <a:cubicBezTo>
                    <a:pt x="1071" y="676"/>
                    <a:pt x="1071" y="676"/>
                    <a:pt x="1071" y="676"/>
                  </a:cubicBezTo>
                  <a:cubicBezTo>
                    <a:pt x="1071" y="676"/>
                    <a:pt x="1106" y="666"/>
                    <a:pt x="1119" y="664"/>
                  </a:cubicBezTo>
                  <a:cubicBezTo>
                    <a:pt x="1132" y="662"/>
                    <a:pt x="1140" y="669"/>
                    <a:pt x="1140" y="669"/>
                  </a:cubicBezTo>
                  <a:cubicBezTo>
                    <a:pt x="1140" y="669"/>
                    <a:pt x="1143" y="663"/>
                    <a:pt x="1150" y="660"/>
                  </a:cubicBezTo>
                  <a:cubicBezTo>
                    <a:pt x="1157" y="657"/>
                    <a:pt x="1179" y="667"/>
                    <a:pt x="1179" y="667"/>
                  </a:cubicBezTo>
                  <a:cubicBezTo>
                    <a:pt x="1179" y="667"/>
                    <a:pt x="1157" y="673"/>
                    <a:pt x="1149" y="677"/>
                  </a:cubicBezTo>
                  <a:cubicBezTo>
                    <a:pt x="1141" y="681"/>
                    <a:pt x="1107" y="683"/>
                    <a:pt x="1107" y="683"/>
                  </a:cubicBezTo>
                  <a:cubicBezTo>
                    <a:pt x="1105" y="691"/>
                    <a:pt x="1105" y="691"/>
                    <a:pt x="1105" y="691"/>
                  </a:cubicBezTo>
                  <a:cubicBezTo>
                    <a:pt x="1123" y="691"/>
                    <a:pt x="1123" y="691"/>
                    <a:pt x="1123" y="691"/>
                  </a:cubicBezTo>
                  <a:cubicBezTo>
                    <a:pt x="1123" y="691"/>
                    <a:pt x="1134" y="694"/>
                    <a:pt x="1138" y="694"/>
                  </a:cubicBezTo>
                  <a:cubicBezTo>
                    <a:pt x="1142" y="694"/>
                    <a:pt x="1168" y="691"/>
                    <a:pt x="1182" y="690"/>
                  </a:cubicBezTo>
                  <a:cubicBezTo>
                    <a:pt x="1196" y="689"/>
                    <a:pt x="1176" y="680"/>
                    <a:pt x="1176" y="680"/>
                  </a:cubicBezTo>
                  <a:cubicBezTo>
                    <a:pt x="1213" y="679"/>
                    <a:pt x="1213" y="679"/>
                    <a:pt x="1213" y="679"/>
                  </a:cubicBezTo>
                  <a:cubicBezTo>
                    <a:pt x="1213" y="679"/>
                    <a:pt x="1208" y="692"/>
                    <a:pt x="1189" y="698"/>
                  </a:cubicBezTo>
                  <a:cubicBezTo>
                    <a:pt x="1170" y="704"/>
                    <a:pt x="1158" y="711"/>
                    <a:pt x="1158" y="711"/>
                  </a:cubicBezTo>
                  <a:cubicBezTo>
                    <a:pt x="1158" y="711"/>
                    <a:pt x="1157" y="723"/>
                    <a:pt x="1149" y="725"/>
                  </a:cubicBezTo>
                  <a:cubicBezTo>
                    <a:pt x="1141" y="727"/>
                    <a:pt x="1119" y="716"/>
                    <a:pt x="1119" y="716"/>
                  </a:cubicBezTo>
                  <a:cubicBezTo>
                    <a:pt x="1114" y="723"/>
                    <a:pt x="1114" y="723"/>
                    <a:pt x="1114" y="723"/>
                  </a:cubicBezTo>
                  <a:cubicBezTo>
                    <a:pt x="1104" y="714"/>
                    <a:pt x="1104" y="714"/>
                    <a:pt x="1104" y="714"/>
                  </a:cubicBezTo>
                  <a:cubicBezTo>
                    <a:pt x="1094" y="724"/>
                    <a:pt x="1094" y="724"/>
                    <a:pt x="1094" y="724"/>
                  </a:cubicBezTo>
                  <a:cubicBezTo>
                    <a:pt x="1094" y="724"/>
                    <a:pt x="1086" y="718"/>
                    <a:pt x="1080" y="725"/>
                  </a:cubicBezTo>
                  <a:cubicBezTo>
                    <a:pt x="1074" y="732"/>
                    <a:pt x="1086" y="738"/>
                    <a:pt x="1086" y="738"/>
                  </a:cubicBezTo>
                  <a:cubicBezTo>
                    <a:pt x="1065" y="741"/>
                    <a:pt x="1065" y="741"/>
                    <a:pt x="1065" y="741"/>
                  </a:cubicBezTo>
                  <a:cubicBezTo>
                    <a:pt x="1065" y="741"/>
                    <a:pt x="1050" y="751"/>
                    <a:pt x="1047" y="751"/>
                  </a:cubicBezTo>
                  <a:cubicBezTo>
                    <a:pt x="1044" y="751"/>
                    <a:pt x="1001" y="764"/>
                    <a:pt x="990" y="760"/>
                  </a:cubicBezTo>
                  <a:cubicBezTo>
                    <a:pt x="979" y="756"/>
                    <a:pt x="1018" y="749"/>
                    <a:pt x="1033" y="746"/>
                  </a:cubicBezTo>
                  <a:cubicBezTo>
                    <a:pt x="1048" y="743"/>
                    <a:pt x="1070" y="726"/>
                    <a:pt x="1057" y="724"/>
                  </a:cubicBezTo>
                  <a:cubicBezTo>
                    <a:pt x="1044" y="722"/>
                    <a:pt x="992" y="751"/>
                    <a:pt x="979" y="753"/>
                  </a:cubicBezTo>
                  <a:cubicBezTo>
                    <a:pt x="966" y="755"/>
                    <a:pt x="940" y="751"/>
                    <a:pt x="931" y="746"/>
                  </a:cubicBezTo>
                  <a:cubicBezTo>
                    <a:pt x="922" y="741"/>
                    <a:pt x="962" y="740"/>
                    <a:pt x="969" y="735"/>
                  </a:cubicBezTo>
                  <a:close/>
                  <a:moveTo>
                    <a:pt x="1324" y="872"/>
                  </a:moveTo>
                  <a:cubicBezTo>
                    <a:pt x="1324" y="869"/>
                    <a:pt x="1312" y="855"/>
                    <a:pt x="1308" y="862"/>
                  </a:cubicBezTo>
                  <a:cubicBezTo>
                    <a:pt x="1304" y="869"/>
                    <a:pt x="1305" y="876"/>
                    <a:pt x="1305" y="876"/>
                  </a:cubicBezTo>
                  <a:cubicBezTo>
                    <a:pt x="1305" y="876"/>
                    <a:pt x="1291" y="868"/>
                    <a:pt x="1285" y="870"/>
                  </a:cubicBezTo>
                  <a:cubicBezTo>
                    <a:pt x="1279" y="872"/>
                    <a:pt x="1283" y="879"/>
                    <a:pt x="1283" y="879"/>
                  </a:cubicBezTo>
                  <a:cubicBezTo>
                    <a:pt x="1266" y="881"/>
                    <a:pt x="1266" y="881"/>
                    <a:pt x="1266" y="881"/>
                  </a:cubicBezTo>
                  <a:cubicBezTo>
                    <a:pt x="1266" y="881"/>
                    <a:pt x="1254" y="877"/>
                    <a:pt x="1239" y="887"/>
                  </a:cubicBezTo>
                  <a:cubicBezTo>
                    <a:pt x="1224" y="897"/>
                    <a:pt x="1195" y="916"/>
                    <a:pt x="1181" y="919"/>
                  </a:cubicBezTo>
                  <a:cubicBezTo>
                    <a:pt x="1167" y="922"/>
                    <a:pt x="1147" y="928"/>
                    <a:pt x="1147" y="928"/>
                  </a:cubicBezTo>
                  <a:cubicBezTo>
                    <a:pt x="1147" y="928"/>
                    <a:pt x="1116" y="920"/>
                    <a:pt x="1108" y="928"/>
                  </a:cubicBezTo>
                  <a:cubicBezTo>
                    <a:pt x="1100" y="936"/>
                    <a:pt x="1094" y="947"/>
                    <a:pt x="1094" y="947"/>
                  </a:cubicBezTo>
                  <a:cubicBezTo>
                    <a:pt x="1065" y="947"/>
                    <a:pt x="1065" y="947"/>
                    <a:pt x="1065" y="947"/>
                  </a:cubicBezTo>
                  <a:cubicBezTo>
                    <a:pt x="1059" y="953"/>
                    <a:pt x="1059" y="953"/>
                    <a:pt x="1059" y="953"/>
                  </a:cubicBezTo>
                  <a:cubicBezTo>
                    <a:pt x="1059" y="953"/>
                    <a:pt x="1045" y="950"/>
                    <a:pt x="1038" y="952"/>
                  </a:cubicBezTo>
                  <a:cubicBezTo>
                    <a:pt x="1031" y="954"/>
                    <a:pt x="1012" y="957"/>
                    <a:pt x="1005" y="956"/>
                  </a:cubicBezTo>
                  <a:cubicBezTo>
                    <a:pt x="998" y="955"/>
                    <a:pt x="987" y="947"/>
                    <a:pt x="984" y="948"/>
                  </a:cubicBezTo>
                  <a:cubicBezTo>
                    <a:pt x="981" y="949"/>
                    <a:pt x="963" y="946"/>
                    <a:pt x="963" y="942"/>
                  </a:cubicBezTo>
                  <a:cubicBezTo>
                    <a:pt x="963" y="938"/>
                    <a:pt x="985" y="939"/>
                    <a:pt x="985" y="939"/>
                  </a:cubicBezTo>
                  <a:cubicBezTo>
                    <a:pt x="985" y="939"/>
                    <a:pt x="994" y="929"/>
                    <a:pt x="997" y="929"/>
                  </a:cubicBezTo>
                  <a:cubicBezTo>
                    <a:pt x="1000" y="929"/>
                    <a:pt x="1008" y="937"/>
                    <a:pt x="1018" y="937"/>
                  </a:cubicBezTo>
                  <a:cubicBezTo>
                    <a:pt x="1028" y="937"/>
                    <a:pt x="1028" y="929"/>
                    <a:pt x="1028" y="929"/>
                  </a:cubicBezTo>
                  <a:cubicBezTo>
                    <a:pt x="1039" y="929"/>
                    <a:pt x="1039" y="929"/>
                    <a:pt x="1039" y="929"/>
                  </a:cubicBezTo>
                  <a:cubicBezTo>
                    <a:pt x="1039" y="929"/>
                    <a:pt x="1049" y="911"/>
                    <a:pt x="1059" y="910"/>
                  </a:cubicBezTo>
                  <a:cubicBezTo>
                    <a:pt x="1069" y="909"/>
                    <a:pt x="1072" y="918"/>
                    <a:pt x="1090" y="911"/>
                  </a:cubicBezTo>
                  <a:cubicBezTo>
                    <a:pt x="1108" y="904"/>
                    <a:pt x="1093" y="882"/>
                    <a:pt x="1093" y="882"/>
                  </a:cubicBezTo>
                  <a:cubicBezTo>
                    <a:pt x="1093" y="882"/>
                    <a:pt x="1071" y="868"/>
                    <a:pt x="1085" y="862"/>
                  </a:cubicBezTo>
                  <a:cubicBezTo>
                    <a:pt x="1091" y="859"/>
                    <a:pt x="1099" y="872"/>
                    <a:pt x="1099" y="872"/>
                  </a:cubicBezTo>
                  <a:cubicBezTo>
                    <a:pt x="1107" y="871"/>
                    <a:pt x="1107" y="871"/>
                    <a:pt x="1107" y="871"/>
                  </a:cubicBezTo>
                  <a:cubicBezTo>
                    <a:pt x="1119" y="882"/>
                    <a:pt x="1119" y="882"/>
                    <a:pt x="1119" y="882"/>
                  </a:cubicBezTo>
                  <a:cubicBezTo>
                    <a:pt x="1119" y="882"/>
                    <a:pt x="1133" y="881"/>
                    <a:pt x="1137" y="884"/>
                  </a:cubicBezTo>
                  <a:cubicBezTo>
                    <a:pt x="1141" y="887"/>
                    <a:pt x="1130" y="902"/>
                    <a:pt x="1153" y="901"/>
                  </a:cubicBezTo>
                  <a:cubicBezTo>
                    <a:pt x="1176" y="900"/>
                    <a:pt x="1176" y="895"/>
                    <a:pt x="1176" y="895"/>
                  </a:cubicBezTo>
                  <a:cubicBezTo>
                    <a:pt x="1187" y="896"/>
                    <a:pt x="1187" y="896"/>
                    <a:pt x="1187" y="896"/>
                  </a:cubicBezTo>
                  <a:cubicBezTo>
                    <a:pt x="1187" y="896"/>
                    <a:pt x="1227" y="880"/>
                    <a:pt x="1241" y="871"/>
                  </a:cubicBezTo>
                  <a:cubicBezTo>
                    <a:pt x="1255" y="862"/>
                    <a:pt x="1277" y="855"/>
                    <a:pt x="1295" y="854"/>
                  </a:cubicBezTo>
                  <a:cubicBezTo>
                    <a:pt x="1313" y="853"/>
                    <a:pt x="1351" y="857"/>
                    <a:pt x="1348" y="861"/>
                  </a:cubicBezTo>
                  <a:cubicBezTo>
                    <a:pt x="1345" y="865"/>
                    <a:pt x="1324" y="875"/>
                    <a:pt x="1324" y="872"/>
                  </a:cubicBezTo>
                  <a:close/>
                  <a:moveTo>
                    <a:pt x="1405" y="1355"/>
                  </a:moveTo>
                  <a:cubicBezTo>
                    <a:pt x="1405" y="1355"/>
                    <a:pt x="1402" y="1384"/>
                    <a:pt x="1403" y="1393"/>
                  </a:cubicBezTo>
                  <a:cubicBezTo>
                    <a:pt x="1404" y="1402"/>
                    <a:pt x="1399" y="1411"/>
                    <a:pt x="1396" y="1416"/>
                  </a:cubicBezTo>
                  <a:cubicBezTo>
                    <a:pt x="1393" y="1421"/>
                    <a:pt x="1400" y="1422"/>
                    <a:pt x="1403" y="1433"/>
                  </a:cubicBezTo>
                  <a:cubicBezTo>
                    <a:pt x="1406" y="1444"/>
                    <a:pt x="1382" y="1471"/>
                    <a:pt x="1382" y="1471"/>
                  </a:cubicBezTo>
                  <a:cubicBezTo>
                    <a:pt x="1368" y="1466"/>
                    <a:pt x="1368" y="1466"/>
                    <a:pt x="1368" y="1466"/>
                  </a:cubicBezTo>
                  <a:cubicBezTo>
                    <a:pt x="1368" y="1466"/>
                    <a:pt x="1365" y="1485"/>
                    <a:pt x="1348" y="1482"/>
                  </a:cubicBezTo>
                  <a:cubicBezTo>
                    <a:pt x="1331" y="1479"/>
                    <a:pt x="1387" y="1431"/>
                    <a:pt x="1387" y="1419"/>
                  </a:cubicBezTo>
                  <a:cubicBezTo>
                    <a:pt x="1387" y="1407"/>
                    <a:pt x="1366" y="1427"/>
                    <a:pt x="1366" y="1427"/>
                  </a:cubicBezTo>
                  <a:cubicBezTo>
                    <a:pt x="1379" y="1406"/>
                    <a:pt x="1379" y="1406"/>
                    <a:pt x="1379" y="1406"/>
                  </a:cubicBezTo>
                  <a:cubicBezTo>
                    <a:pt x="1379" y="1406"/>
                    <a:pt x="1383" y="1393"/>
                    <a:pt x="1372" y="1390"/>
                  </a:cubicBezTo>
                  <a:cubicBezTo>
                    <a:pt x="1361" y="1387"/>
                    <a:pt x="1367" y="1407"/>
                    <a:pt x="1354" y="1407"/>
                  </a:cubicBezTo>
                  <a:cubicBezTo>
                    <a:pt x="1341" y="1407"/>
                    <a:pt x="1351" y="1376"/>
                    <a:pt x="1351" y="1376"/>
                  </a:cubicBezTo>
                  <a:cubicBezTo>
                    <a:pt x="1351" y="1376"/>
                    <a:pt x="1345" y="1370"/>
                    <a:pt x="1343" y="1361"/>
                  </a:cubicBezTo>
                  <a:cubicBezTo>
                    <a:pt x="1341" y="1352"/>
                    <a:pt x="1365" y="1352"/>
                    <a:pt x="1367" y="1346"/>
                  </a:cubicBezTo>
                  <a:cubicBezTo>
                    <a:pt x="1369" y="1340"/>
                    <a:pt x="1347" y="1349"/>
                    <a:pt x="1343" y="1340"/>
                  </a:cubicBezTo>
                  <a:cubicBezTo>
                    <a:pt x="1342" y="1338"/>
                    <a:pt x="1372" y="1307"/>
                    <a:pt x="1382" y="1303"/>
                  </a:cubicBezTo>
                  <a:cubicBezTo>
                    <a:pt x="1392" y="1299"/>
                    <a:pt x="1391" y="1306"/>
                    <a:pt x="1395" y="1307"/>
                  </a:cubicBezTo>
                  <a:cubicBezTo>
                    <a:pt x="1399" y="1308"/>
                    <a:pt x="1410" y="1305"/>
                    <a:pt x="1418" y="1322"/>
                  </a:cubicBezTo>
                  <a:cubicBezTo>
                    <a:pt x="1426" y="1339"/>
                    <a:pt x="1405" y="1355"/>
                    <a:pt x="1405" y="1355"/>
                  </a:cubicBezTo>
                  <a:close/>
                  <a:moveTo>
                    <a:pt x="156" y="1459"/>
                  </a:moveTo>
                  <a:cubicBezTo>
                    <a:pt x="146" y="1456"/>
                    <a:pt x="147" y="1473"/>
                    <a:pt x="147" y="1473"/>
                  </a:cubicBezTo>
                  <a:cubicBezTo>
                    <a:pt x="155" y="1473"/>
                    <a:pt x="166" y="1462"/>
                    <a:pt x="156" y="1459"/>
                  </a:cubicBezTo>
                  <a:close/>
                  <a:moveTo>
                    <a:pt x="2216" y="1197"/>
                  </a:moveTo>
                  <a:cubicBezTo>
                    <a:pt x="2248" y="1196"/>
                    <a:pt x="2259" y="1170"/>
                    <a:pt x="2228" y="1170"/>
                  </a:cubicBezTo>
                  <a:cubicBezTo>
                    <a:pt x="2196" y="1171"/>
                    <a:pt x="2216" y="1197"/>
                    <a:pt x="2216" y="1197"/>
                  </a:cubicBezTo>
                  <a:close/>
                  <a:moveTo>
                    <a:pt x="2456" y="825"/>
                  </a:moveTo>
                  <a:cubicBezTo>
                    <a:pt x="2456" y="825"/>
                    <a:pt x="2433" y="822"/>
                    <a:pt x="2423" y="814"/>
                  </a:cubicBezTo>
                  <a:cubicBezTo>
                    <a:pt x="2413" y="806"/>
                    <a:pt x="2418" y="785"/>
                    <a:pt x="2418" y="785"/>
                  </a:cubicBezTo>
                  <a:cubicBezTo>
                    <a:pt x="2397" y="769"/>
                    <a:pt x="2397" y="769"/>
                    <a:pt x="2397" y="769"/>
                  </a:cubicBezTo>
                  <a:cubicBezTo>
                    <a:pt x="2370" y="772"/>
                    <a:pt x="2370" y="772"/>
                    <a:pt x="2370" y="772"/>
                  </a:cubicBezTo>
                  <a:cubicBezTo>
                    <a:pt x="2366" y="763"/>
                    <a:pt x="2366" y="763"/>
                    <a:pt x="2366" y="763"/>
                  </a:cubicBezTo>
                  <a:cubicBezTo>
                    <a:pt x="2353" y="741"/>
                    <a:pt x="2353" y="741"/>
                    <a:pt x="2353" y="741"/>
                  </a:cubicBezTo>
                  <a:cubicBezTo>
                    <a:pt x="2330" y="745"/>
                    <a:pt x="2330" y="745"/>
                    <a:pt x="2330" y="745"/>
                  </a:cubicBezTo>
                  <a:cubicBezTo>
                    <a:pt x="2317" y="738"/>
                    <a:pt x="2317" y="738"/>
                    <a:pt x="2317" y="738"/>
                  </a:cubicBezTo>
                  <a:cubicBezTo>
                    <a:pt x="2329" y="727"/>
                    <a:pt x="2329" y="727"/>
                    <a:pt x="2329" y="727"/>
                  </a:cubicBezTo>
                  <a:cubicBezTo>
                    <a:pt x="2327" y="710"/>
                    <a:pt x="2327" y="710"/>
                    <a:pt x="2327" y="710"/>
                  </a:cubicBezTo>
                  <a:cubicBezTo>
                    <a:pt x="2293" y="728"/>
                    <a:pt x="2293" y="728"/>
                    <a:pt x="2293" y="728"/>
                  </a:cubicBezTo>
                  <a:cubicBezTo>
                    <a:pt x="2276" y="736"/>
                    <a:pt x="2276" y="736"/>
                    <a:pt x="2276" y="736"/>
                  </a:cubicBezTo>
                  <a:cubicBezTo>
                    <a:pt x="2257" y="764"/>
                    <a:pt x="2257" y="764"/>
                    <a:pt x="2257" y="764"/>
                  </a:cubicBezTo>
                  <a:cubicBezTo>
                    <a:pt x="2257" y="764"/>
                    <a:pt x="2226" y="771"/>
                    <a:pt x="2224" y="777"/>
                  </a:cubicBezTo>
                  <a:cubicBezTo>
                    <a:pt x="2222" y="783"/>
                    <a:pt x="2234" y="790"/>
                    <a:pt x="2224" y="793"/>
                  </a:cubicBezTo>
                  <a:cubicBezTo>
                    <a:pt x="2215" y="797"/>
                    <a:pt x="2186" y="807"/>
                    <a:pt x="2186" y="807"/>
                  </a:cubicBezTo>
                  <a:cubicBezTo>
                    <a:pt x="2203" y="815"/>
                    <a:pt x="2203" y="815"/>
                    <a:pt x="2203" y="815"/>
                  </a:cubicBezTo>
                  <a:cubicBezTo>
                    <a:pt x="2203" y="815"/>
                    <a:pt x="2230" y="811"/>
                    <a:pt x="2231" y="814"/>
                  </a:cubicBezTo>
                  <a:cubicBezTo>
                    <a:pt x="2231" y="817"/>
                    <a:pt x="2225" y="822"/>
                    <a:pt x="2225" y="833"/>
                  </a:cubicBezTo>
                  <a:cubicBezTo>
                    <a:pt x="2225" y="844"/>
                    <a:pt x="2268" y="845"/>
                    <a:pt x="2287" y="835"/>
                  </a:cubicBezTo>
                  <a:cubicBezTo>
                    <a:pt x="2306" y="826"/>
                    <a:pt x="2296" y="808"/>
                    <a:pt x="2324" y="809"/>
                  </a:cubicBezTo>
                  <a:cubicBezTo>
                    <a:pt x="2351" y="809"/>
                    <a:pt x="2355" y="818"/>
                    <a:pt x="2355" y="818"/>
                  </a:cubicBezTo>
                  <a:cubicBezTo>
                    <a:pt x="2386" y="823"/>
                    <a:pt x="2386" y="823"/>
                    <a:pt x="2386" y="823"/>
                  </a:cubicBezTo>
                  <a:cubicBezTo>
                    <a:pt x="2390" y="834"/>
                    <a:pt x="2390" y="834"/>
                    <a:pt x="2390" y="834"/>
                  </a:cubicBezTo>
                  <a:cubicBezTo>
                    <a:pt x="2452" y="838"/>
                    <a:pt x="2452" y="838"/>
                    <a:pt x="2452" y="838"/>
                  </a:cubicBezTo>
                  <a:lnTo>
                    <a:pt x="2456" y="825"/>
                  </a:lnTo>
                  <a:close/>
                  <a:moveTo>
                    <a:pt x="2393" y="886"/>
                  </a:moveTo>
                  <a:cubicBezTo>
                    <a:pt x="2352" y="899"/>
                    <a:pt x="2393" y="913"/>
                    <a:pt x="2393" y="913"/>
                  </a:cubicBezTo>
                  <a:cubicBezTo>
                    <a:pt x="2415" y="897"/>
                    <a:pt x="2434" y="872"/>
                    <a:pt x="2393" y="886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43" name="Freeform 159"/>
            <p:cNvSpPr>
              <a:spLocks/>
            </p:cNvSpPr>
            <p:nvPr/>
          </p:nvSpPr>
          <p:spPr bwMode="auto">
            <a:xfrm>
              <a:off x="1209" y="2752"/>
              <a:ext cx="239" cy="377"/>
            </a:xfrm>
            <a:custGeom>
              <a:avLst/>
              <a:gdLst>
                <a:gd name="T0" fmla="*/ 0 w 630"/>
                <a:gd name="T1" fmla="*/ 0 h 993"/>
                <a:gd name="T2" fmla="*/ 0 w 630"/>
                <a:gd name="T3" fmla="*/ 0 h 993"/>
                <a:gd name="T4" fmla="*/ 0 w 630"/>
                <a:gd name="T5" fmla="*/ 0 h 993"/>
                <a:gd name="T6" fmla="*/ 0 w 630"/>
                <a:gd name="T7" fmla="*/ 0 h 993"/>
                <a:gd name="T8" fmla="*/ 0 w 630"/>
                <a:gd name="T9" fmla="*/ 0 h 993"/>
                <a:gd name="T10" fmla="*/ 0 w 630"/>
                <a:gd name="T11" fmla="*/ 0 h 993"/>
                <a:gd name="T12" fmla="*/ 0 w 630"/>
                <a:gd name="T13" fmla="*/ 0 h 993"/>
                <a:gd name="T14" fmla="*/ 0 w 630"/>
                <a:gd name="T15" fmla="*/ 0 h 993"/>
                <a:gd name="T16" fmla="*/ 0 w 630"/>
                <a:gd name="T17" fmla="*/ 0 h 993"/>
                <a:gd name="T18" fmla="*/ 0 w 630"/>
                <a:gd name="T19" fmla="*/ 0 h 993"/>
                <a:gd name="T20" fmla="*/ 0 w 630"/>
                <a:gd name="T21" fmla="*/ 0 h 993"/>
                <a:gd name="T22" fmla="*/ 0 w 630"/>
                <a:gd name="T23" fmla="*/ 0 h 993"/>
                <a:gd name="T24" fmla="*/ 0 w 630"/>
                <a:gd name="T25" fmla="*/ 0 h 993"/>
                <a:gd name="T26" fmla="*/ 0 w 630"/>
                <a:gd name="T27" fmla="*/ 0 h 993"/>
                <a:gd name="T28" fmla="*/ 0 w 630"/>
                <a:gd name="T29" fmla="*/ 0 h 993"/>
                <a:gd name="T30" fmla="*/ 0 w 630"/>
                <a:gd name="T31" fmla="*/ 0 h 993"/>
                <a:gd name="T32" fmla="*/ 0 w 630"/>
                <a:gd name="T33" fmla="*/ 0 h 993"/>
                <a:gd name="T34" fmla="*/ 0 w 630"/>
                <a:gd name="T35" fmla="*/ 0 h 993"/>
                <a:gd name="T36" fmla="*/ 0 w 630"/>
                <a:gd name="T37" fmla="*/ 0 h 993"/>
                <a:gd name="T38" fmla="*/ 0 w 630"/>
                <a:gd name="T39" fmla="*/ 0 h 993"/>
                <a:gd name="T40" fmla="*/ 0 w 630"/>
                <a:gd name="T41" fmla="*/ 0 h 993"/>
                <a:gd name="T42" fmla="*/ 0 w 630"/>
                <a:gd name="T43" fmla="*/ 0 h 993"/>
                <a:gd name="T44" fmla="*/ 0 w 630"/>
                <a:gd name="T45" fmla="*/ 0 h 993"/>
                <a:gd name="T46" fmla="*/ 0 w 630"/>
                <a:gd name="T47" fmla="*/ 0 h 993"/>
                <a:gd name="T48" fmla="*/ 0 w 630"/>
                <a:gd name="T49" fmla="*/ 0 h 993"/>
                <a:gd name="T50" fmla="*/ 0 w 630"/>
                <a:gd name="T51" fmla="*/ 0 h 993"/>
                <a:gd name="T52" fmla="*/ 0 w 630"/>
                <a:gd name="T53" fmla="*/ 0 h 993"/>
                <a:gd name="T54" fmla="*/ 0 w 630"/>
                <a:gd name="T55" fmla="*/ 0 h 993"/>
                <a:gd name="T56" fmla="*/ 0 w 630"/>
                <a:gd name="T57" fmla="*/ 0 h 993"/>
                <a:gd name="T58" fmla="*/ 0 w 630"/>
                <a:gd name="T59" fmla="*/ 0 h 993"/>
                <a:gd name="T60" fmla="*/ 0 w 630"/>
                <a:gd name="T61" fmla="*/ 0 h 993"/>
                <a:gd name="T62" fmla="*/ 0 w 630"/>
                <a:gd name="T63" fmla="*/ 0 h 993"/>
                <a:gd name="T64" fmla="*/ 0 w 630"/>
                <a:gd name="T65" fmla="*/ 0 h 993"/>
                <a:gd name="T66" fmla="*/ 0 w 630"/>
                <a:gd name="T67" fmla="*/ 0 h 993"/>
                <a:gd name="T68" fmla="*/ 0 w 630"/>
                <a:gd name="T69" fmla="*/ 0 h 993"/>
                <a:gd name="T70" fmla="*/ 0 w 630"/>
                <a:gd name="T71" fmla="*/ 0 h 993"/>
                <a:gd name="T72" fmla="*/ 0 w 630"/>
                <a:gd name="T73" fmla="*/ 0 h 993"/>
                <a:gd name="T74" fmla="*/ 0 w 630"/>
                <a:gd name="T75" fmla="*/ 0 h 993"/>
                <a:gd name="T76" fmla="*/ 0 w 630"/>
                <a:gd name="T77" fmla="*/ 0 h 993"/>
                <a:gd name="T78" fmla="*/ 0 w 630"/>
                <a:gd name="T79" fmla="*/ 0 h 993"/>
                <a:gd name="T80" fmla="*/ 0 w 630"/>
                <a:gd name="T81" fmla="*/ 0 h 993"/>
                <a:gd name="T82" fmla="*/ 0 w 630"/>
                <a:gd name="T83" fmla="*/ 0 h 993"/>
                <a:gd name="T84" fmla="*/ 0 w 630"/>
                <a:gd name="T85" fmla="*/ 0 h 993"/>
                <a:gd name="T86" fmla="*/ 0 w 630"/>
                <a:gd name="T87" fmla="*/ 0 h 993"/>
                <a:gd name="T88" fmla="*/ 0 w 630"/>
                <a:gd name="T89" fmla="*/ 0 h 993"/>
                <a:gd name="T90" fmla="*/ 0 w 630"/>
                <a:gd name="T91" fmla="*/ 0 h 993"/>
                <a:gd name="T92" fmla="*/ 0 w 630"/>
                <a:gd name="T93" fmla="*/ 0 h 993"/>
                <a:gd name="T94" fmla="*/ 0 w 630"/>
                <a:gd name="T95" fmla="*/ 0 h 993"/>
                <a:gd name="T96" fmla="*/ 0 w 630"/>
                <a:gd name="T97" fmla="*/ 0 h 993"/>
                <a:gd name="T98" fmla="*/ 0 w 630"/>
                <a:gd name="T99" fmla="*/ 0 h 993"/>
                <a:gd name="T100" fmla="*/ 0 w 630"/>
                <a:gd name="T101" fmla="*/ 0 h 993"/>
                <a:gd name="T102" fmla="*/ 0 w 630"/>
                <a:gd name="T103" fmla="*/ 0 h 993"/>
                <a:gd name="T104" fmla="*/ 0 w 630"/>
                <a:gd name="T105" fmla="*/ 0 h 993"/>
                <a:gd name="T106" fmla="*/ 0 w 630"/>
                <a:gd name="T107" fmla="*/ 0 h 993"/>
                <a:gd name="T108" fmla="*/ 0 w 630"/>
                <a:gd name="T109" fmla="*/ 0 h 993"/>
                <a:gd name="T110" fmla="*/ 0 w 630"/>
                <a:gd name="T111" fmla="*/ 0 h 993"/>
                <a:gd name="T112" fmla="*/ 0 w 630"/>
                <a:gd name="T113" fmla="*/ 0 h 993"/>
                <a:gd name="T114" fmla="*/ 0 w 630"/>
                <a:gd name="T115" fmla="*/ 0 h 993"/>
                <a:gd name="T116" fmla="*/ 0 w 630"/>
                <a:gd name="T117" fmla="*/ 0 h 993"/>
                <a:gd name="T118" fmla="*/ 0 w 630"/>
                <a:gd name="T119" fmla="*/ 0 h 993"/>
                <a:gd name="T120" fmla="*/ 0 w 630"/>
                <a:gd name="T121" fmla="*/ 0 h 993"/>
                <a:gd name="T122" fmla="*/ 0 w 630"/>
                <a:gd name="T123" fmla="*/ 0 h 993"/>
                <a:gd name="T124" fmla="*/ 0 w 630"/>
                <a:gd name="T125" fmla="*/ 0 h 99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30"/>
                <a:gd name="T190" fmla="*/ 0 h 993"/>
                <a:gd name="T191" fmla="*/ 630 w 630"/>
                <a:gd name="T192" fmla="*/ 993 h 99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30" h="993">
                  <a:moveTo>
                    <a:pt x="622" y="880"/>
                  </a:moveTo>
                  <a:cubicBezTo>
                    <a:pt x="622" y="880"/>
                    <a:pt x="612" y="873"/>
                    <a:pt x="604" y="869"/>
                  </a:cubicBezTo>
                  <a:cubicBezTo>
                    <a:pt x="596" y="865"/>
                    <a:pt x="593" y="857"/>
                    <a:pt x="593" y="857"/>
                  </a:cubicBezTo>
                  <a:cubicBezTo>
                    <a:pt x="593" y="857"/>
                    <a:pt x="579" y="859"/>
                    <a:pt x="575" y="854"/>
                  </a:cubicBezTo>
                  <a:cubicBezTo>
                    <a:pt x="580" y="840"/>
                    <a:pt x="580" y="840"/>
                    <a:pt x="580" y="840"/>
                  </a:cubicBezTo>
                  <a:cubicBezTo>
                    <a:pt x="580" y="840"/>
                    <a:pt x="576" y="825"/>
                    <a:pt x="581" y="821"/>
                  </a:cubicBezTo>
                  <a:cubicBezTo>
                    <a:pt x="584" y="818"/>
                    <a:pt x="598" y="830"/>
                    <a:pt x="607" y="838"/>
                  </a:cubicBezTo>
                  <a:cubicBezTo>
                    <a:pt x="607" y="836"/>
                    <a:pt x="607" y="835"/>
                    <a:pt x="607" y="835"/>
                  </a:cubicBezTo>
                  <a:cubicBezTo>
                    <a:pt x="612" y="824"/>
                    <a:pt x="612" y="824"/>
                    <a:pt x="612" y="824"/>
                  </a:cubicBezTo>
                  <a:cubicBezTo>
                    <a:pt x="612" y="824"/>
                    <a:pt x="604" y="813"/>
                    <a:pt x="603" y="799"/>
                  </a:cubicBezTo>
                  <a:cubicBezTo>
                    <a:pt x="601" y="784"/>
                    <a:pt x="616" y="776"/>
                    <a:pt x="620" y="766"/>
                  </a:cubicBezTo>
                  <a:cubicBezTo>
                    <a:pt x="624" y="757"/>
                    <a:pt x="605" y="744"/>
                    <a:pt x="605" y="744"/>
                  </a:cubicBezTo>
                  <a:cubicBezTo>
                    <a:pt x="618" y="724"/>
                    <a:pt x="618" y="724"/>
                    <a:pt x="618" y="724"/>
                  </a:cubicBezTo>
                  <a:cubicBezTo>
                    <a:pt x="609" y="694"/>
                    <a:pt x="609" y="694"/>
                    <a:pt x="609" y="694"/>
                  </a:cubicBezTo>
                  <a:cubicBezTo>
                    <a:pt x="609" y="694"/>
                    <a:pt x="619" y="683"/>
                    <a:pt x="620" y="677"/>
                  </a:cubicBezTo>
                  <a:cubicBezTo>
                    <a:pt x="622" y="670"/>
                    <a:pt x="612" y="645"/>
                    <a:pt x="597" y="632"/>
                  </a:cubicBezTo>
                  <a:cubicBezTo>
                    <a:pt x="586" y="621"/>
                    <a:pt x="579" y="600"/>
                    <a:pt x="577" y="591"/>
                  </a:cubicBezTo>
                  <a:cubicBezTo>
                    <a:pt x="568" y="590"/>
                    <a:pt x="560" y="590"/>
                    <a:pt x="556" y="590"/>
                  </a:cubicBezTo>
                  <a:cubicBezTo>
                    <a:pt x="545" y="590"/>
                    <a:pt x="549" y="599"/>
                    <a:pt x="541" y="599"/>
                  </a:cubicBezTo>
                  <a:cubicBezTo>
                    <a:pt x="533" y="599"/>
                    <a:pt x="533" y="591"/>
                    <a:pt x="533" y="591"/>
                  </a:cubicBezTo>
                  <a:cubicBezTo>
                    <a:pt x="526" y="592"/>
                    <a:pt x="526" y="592"/>
                    <a:pt x="526" y="592"/>
                  </a:cubicBezTo>
                  <a:cubicBezTo>
                    <a:pt x="526" y="592"/>
                    <a:pt x="525" y="572"/>
                    <a:pt x="523" y="562"/>
                  </a:cubicBezTo>
                  <a:cubicBezTo>
                    <a:pt x="521" y="552"/>
                    <a:pt x="526" y="538"/>
                    <a:pt x="528" y="534"/>
                  </a:cubicBezTo>
                  <a:cubicBezTo>
                    <a:pt x="530" y="530"/>
                    <a:pt x="525" y="507"/>
                    <a:pt x="525" y="507"/>
                  </a:cubicBezTo>
                  <a:cubicBezTo>
                    <a:pt x="491" y="537"/>
                    <a:pt x="491" y="537"/>
                    <a:pt x="491" y="537"/>
                  </a:cubicBezTo>
                  <a:cubicBezTo>
                    <a:pt x="449" y="541"/>
                    <a:pt x="449" y="541"/>
                    <a:pt x="449" y="541"/>
                  </a:cubicBezTo>
                  <a:cubicBezTo>
                    <a:pt x="449" y="541"/>
                    <a:pt x="441" y="522"/>
                    <a:pt x="438" y="515"/>
                  </a:cubicBezTo>
                  <a:cubicBezTo>
                    <a:pt x="435" y="508"/>
                    <a:pt x="399" y="509"/>
                    <a:pt x="399" y="509"/>
                  </a:cubicBezTo>
                  <a:cubicBezTo>
                    <a:pt x="399" y="509"/>
                    <a:pt x="414" y="496"/>
                    <a:pt x="416" y="491"/>
                  </a:cubicBezTo>
                  <a:cubicBezTo>
                    <a:pt x="418" y="486"/>
                    <a:pt x="396" y="471"/>
                    <a:pt x="391" y="465"/>
                  </a:cubicBezTo>
                  <a:cubicBezTo>
                    <a:pt x="386" y="459"/>
                    <a:pt x="373" y="438"/>
                    <a:pt x="373" y="438"/>
                  </a:cubicBezTo>
                  <a:cubicBezTo>
                    <a:pt x="371" y="420"/>
                    <a:pt x="371" y="420"/>
                    <a:pt x="371" y="420"/>
                  </a:cubicBezTo>
                  <a:cubicBezTo>
                    <a:pt x="371" y="420"/>
                    <a:pt x="356" y="414"/>
                    <a:pt x="356" y="409"/>
                  </a:cubicBezTo>
                  <a:cubicBezTo>
                    <a:pt x="356" y="404"/>
                    <a:pt x="371" y="396"/>
                    <a:pt x="371" y="396"/>
                  </a:cubicBezTo>
                  <a:cubicBezTo>
                    <a:pt x="365" y="392"/>
                    <a:pt x="365" y="392"/>
                    <a:pt x="365" y="392"/>
                  </a:cubicBezTo>
                  <a:cubicBezTo>
                    <a:pt x="365" y="392"/>
                    <a:pt x="360" y="378"/>
                    <a:pt x="368" y="370"/>
                  </a:cubicBezTo>
                  <a:cubicBezTo>
                    <a:pt x="376" y="362"/>
                    <a:pt x="389" y="345"/>
                    <a:pt x="395" y="354"/>
                  </a:cubicBezTo>
                  <a:cubicBezTo>
                    <a:pt x="401" y="363"/>
                    <a:pt x="391" y="338"/>
                    <a:pt x="389" y="331"/>
                  </a:cubicBezTo>
                  <a:cubicBezTo>
                    <a:pt x="387" y="324"/>
                    <a:pt x="402" y="315"/>
                    <a:pt x="402" y="315"/>
                  </a:cubicBezTo>
                  <a:cubicBezTo>
                    <a:pt x="403" y="277"/>
                    <a:pt x="403" y="277"/>
                    <a:pt x="403" y="277"/>
                  </a:cubicBezTo>
                  <a:cubicBezTo>
                    <a:pt x="419" y="277"/>
                    <a:pt x="419" y="277"/>
                    <a:pt x="419" y="277"/>
                  </a:cubicBezTo>
                  <a:cubicBezTo>
                    <a:pt x="419" y="277"/>
                    <a:pt x="420" y="269"/>
                    <a:pt x="422" y="265"/>
                  </a:cubicBezTo>
                  <a:cubicBezTo>
                    <a:pt x="424" y="261"/>
                    <a:pt x="450" y="244"/>
                    <a:pt x="450" y="244"/>
                  </a:cubicBezTo>
                  <a:cubicBezTo>
                    <a:pt x="471" y="244"/>
                    <a:pt x="471" y="244"/>
                    <a:pt x="471" y="244"/>
                  </a:cubicBezTo>
                  <a:cubicBezTo>
                    <a:pt x="473" y="237"/>
                    <a:pt x="473" y="237"/>
                    <a:pt x="473" y="237"/>
                  </a:cubicBezTo>
                  <a:cubicBezTo>
                    <a:pt x="492" y="240"/>
                    <a:pt x="492" y="240"/>
                    <a:pt x="492" y="240"/>
                  </a:cubicBezTo>
                  <a:cubicBezTo>
                    <a:pt x="492" y="240"/>
                    <a:pt x="503" y="225"/>
                    <a:pt x="513" y="224"/>
                  </a:cubicBezTo>
                  <a:cubicBezTo>
                    <a:pt x="523" y="223"/>
                    <a:pt x="527" y="236"/>
                    <a:pt x="527" y="236"/>
                  </a:cubicBezTo>
                  <a:cubicBezTo>
                    <a:pt x="527" y="236"/>
                    <a:pt x="534" y="239"/>
                    <a:pt x="539" y="236"/>
                  </a:cubicBezTo>
                  <a:cubicBezTo>
                    <a:pt x="541" y="235"/>
                    <a:pt x="542" y="231"/>
                    <a:pt x="543" y="227"/>
                  </a:cubicBezTo>
                  <a:cubicBezTo>
                    <a:pt x="532" y="223"/>
                    <a:pt x="532" y="223"/>
                    <a:pt x="532" y="223"/>
                  </a:cubicBezTo>
                  <a:cubicBezTo>
                    <a:pt x="526" y="207"/>
                    <a:pt x="526" y="207"/>
                    <a:pt x="526" y="207"/>
                  </a:cubicBezTo>
                  <a:cubicBezTo>
                    <a:pt x="526" y="207"/>
                    <a:pt x="512" y="212"/>
                    <a:pt x="509" y="206"/>
                  </a:cubicBezTo>
                  <a:cubicBezTo>
                    <a:pt x="506" y="201"/>
                    <a:pt x="515" y="171"/>
                    <a:pt x="520" y="171"/>
                  </a:cubicBezTo>
                  <a:cubicBezTo>
                    <a:pt x="525" y="171"/>
                    <a:pt x="533" y="163"/>
                    <a:pt x="533" y="148"/>
                  </a:cubicBezTo>
                  <a:cubicBezTo>
                    <a:pt x="533" y="134"/>
                    <a:pt x="505" y="135"/>
                    <a:pt x="505" y="135"/>
                  </a:cubicBezTo>
                  <a:cubicBezTo>
                    <a:pt x="505" y="135"/>
                    <a:pt x="497" y="123"/>
                    <a:pt x="493" y="122"/>
                  </a:cubicBezTo>
                  <a:cubicBezTo>
                    <a:pt x="489" y="121"/>
                    <a:pt x="481" y="130"/>
                    <a:pt x="472" y="130"/>
                  </a:cubicBezTo>
                  <a:cubicBezTo>
                    <a:pt x="464" y="130"/>
                    <a:pt x="463" y="123"/>
                    <a:pt x="449" y="120"/>
                  </a:cubicBezTo>
                  <a:cubicBezTo>
                    <a:pt x="435" y="117"/>
                    <a:pt x="434" y="138"/>
                    <a:pt x="434" y="138"/>
                  </a:cubicBezTo>
                  <a:cubicBezTo>
                    <a:pt x="434" y="138"/>
                    <a:pt x="412" y="138"/>
                    <a:pt x="393" y="133"/>
                  </a:cubicBezTo>
                  <a:cubicBezTo>
                    <a:pt x="374" y="128"/>
                    <a:pt x="389" y="113"/>
                    <a:pt x="388" y="106"/>
                  </a:cubicBezTo>
                  <a:cubicBezTo>
                    <a:pt x="387" y="98"/>
                    <a:pt x="369" y="97"/>
                    <a:pt x="369" y="97"/>
                  </a:cubicBezTo>
                  <a:cubicBezTo>
                    <a:pt x="369" y="97"/>
                    <a:pt x="367" y="79"/>
                    <a:pt x="364" y="73"/>
                  </a:cubicBezTo>
                  <a:cubicBezTo>
                    <a:pt x="362" y="67"/>
                    <a:pt x="354" y="70"/>
                    <a:pt x="354" y="70"/>
                  </a:cubicBezTo>
                  <a:cubicBezTo>
                    <a:pt x="343" y="57"/>
                    <a:pt x="343" y="57"/>
                    <a:pt x="343" y="57"/>
                  </a:cubicBezTo>
                  <a:cubicBezTo>
                    <a:pt x="335" y="57"/>
                    <a:pt x="335" y="57"/>
                    <a:pt x="335" y="57"/>
                  </a:cubicBezTo>
                  <a:cubicBezTo>
                    <a:pt x="327" y="33"/>
                    <a:pt x="327" y="33"/>
                    <a:pt x="327" y="33"/>
                  </a:cubicBezTo>
                  <a:cubicBezTo>
                    <a:pt x="327" y="33"/>
                    <a:pt x="297" y="9"/>
                    <a:pt x="290" y="5"/>
                  </a:cubicBezTo>
                  <a:cubicBezTo>
                    <a:pt x="284" y="1"/>
                    <a:pt x="274" y="1"/>
                    <a:pt x="26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69" y="0"/>
                    <a:pt x="273" y="1"/>
                    <a:pt x="278" y="1"/>
                  </a:cubicBezTo>
                  <a:cubicBezTo>
                    <a:pt x="279" y="19"/>
                    <a:pt x="268" y="19"/>
                    <a:pt x="268" y="19"/>
                  </a:cubicBezTo>
                  <a:cubicBezTo>
                    <a:pt x="284" y="31"/>
                    <a:pt x="284" y="31"/>
                    <a:pt x="284" y="31"/>
                  </a:cubicBezTo>
                  <a:cubicBezTo>
                    <a:pt x="287" y="53"/>
                    <a:pt x="287" y="53"/>
                    <a:pt x="287" y="53"/>
                  </a:cubicBezTo>
                  <a:cubicBezTo>
                    <a:pt x="277" y="58"/>
                    <a:pt x="277" y="58"/>
                    <a:pt x="277" y="58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69" y="87"/>
                    <a:pt x="241" y="128"/>
                    <a:pt x="218" y="143"/>
                  </a:cubicBezTo>
                  <a:cubicBezTo>
                    <a:pt x="195" y="157"/>
                    <a:pt x="174" y="157"/>
                    <a:pt x="161" y="168"/>
                  </a:cubicBezTo>
                  <a:cubicBezTo>
                    <a:pt x="147" y="179"/>
                    <a:pt x="147" y="186"/>
                    <a:pt x="147" y="186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42" y="201"/>
                    <a:pt x="142" y="201"/>
                    <a:pt x="142" y="201"/>
                  </a:cubicBezTo>
                  <a:cubicBezTo>
                    <a:pt x="142" y="201"/>
                    <a:pt x="134" y="206"/>
                    <a:pt x="132" y="216"/>
                  </a:cubicBezTo>
                  <a:cubicBezTo>
                    <a:pt x="131" y="225"/>
                    <a:pt x="128" y="252"/>
                    <a:pt x="128" y="252"/>
                  </a:cubicBezTo>
                  <a:cubicBezTo>
                    <a:pt x="128" y="252"/>
                    <a:pt x="119" y="254"/>
                    <a:pt x="115" y="256"/>
                  </a:cubicBezTo>
                  <a:cubicBezTo>
                    <a:pt x="111" y="259"/>
                    <a:pt x="116" y="270"/>
                    <a:pt x="103" y="270"/>
                  </a:cubicBezTo>
                  <a:cubicBezTo>
                    <a:pt x="89" y="270"/>
                    <a:pt x="93" y="246"/>
                    <a:pt x="88" y="241"/>
                  </a:cubicBezTo>
                  <a:cubicBezTo>
                    <a:pt x="82" y="237"/>
                    <a:pt x="69" y="243"/>
                    <a:pt x="69" y="243"/>
                  </a:cubicBezTo>
                  <a:cubicBezTo>
                    <a:pt x="60" y="232"/>
                    <a:pt x="60" y="232"/>
                    <a:pt x="60" y="232"/>
                  </a:cubicBezTo>
                  <a:cubicBezTo>
                    <a:pt x="60" y="232"/>
                    <a:pt x="50" y="250"/>
                    <a:pt x="40" y="246"/>
                  </a:cubicBezTo>
                  <a:cubicBezTo>
                    <a:pt x="31" y="241"/>
                    <a:pt x="47" y="232"/>
                    <a:pt x="47" y="232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37" y="224"/>
                    <a:pt x="50" y="212"/>
                    <a:pt x="58" y="203"/>
                  </a:cubicBezTo>
                  <a:cubicBezTo>
                    <a:pt x="67" y="194"/>
                    <a:pt x="43" y="188"/>
                    <a:pt x="43" y="188"/>
                  </a:cubicBezTo>
                  <a:cubicBezTo>
                    <a:pt x="43" y="188"/>
                    <a:pt x="17" y="216"/>
                    <a:pt x="9" y="223"/>
                  </a:cubicBezTo>
                  <a:cubicBezTo>
                    <a:pt x="1" y="230"/>
                    <a:pt x="0" y="241"/>
                    <a:pt x="0" y="254"/>
                  </a:cubicBezTo>
                  <a:cubicBezTo>
                    <a:pt x="0" y="267"/>
                    <a:pt x="12" y="264"/>
                    <a:pt x="12" y="264"/>
                  </a:cubicBezTo>
                  <a:cubicBezTo>
                    <a:pt x="9" y="282"/>
                    <a:pt x="9" y="282"/>
                    <a:pt x="9" y="282"/>
                  </a:cubicBezTo>
                  <a:cubicBezTo>
                    <a:pt x="9" y="282"/>
                    <a:pt x="26" y="292"/>
                    <a:pt x="27" y="304"/>
                  </a:cubicBezTo>
                  <a:cubicBezTo>
                    <a:pt x="28" y="316"/>
                    <a:pt x="8" y="317"/>
                    <a:pt x="8" y="331"/>
                  </a:cubicBezTo>
                  <a:cubicBezTo>
                    <a:pt x="8" y="345"/>
                    <a:pt x="42" y="347"/>
                    <a:pt x="51" y="352"/>
                  </a:cubicBezTo>
                  <a:cubicBezTo>
                    <a:pt x="59" y="357"/>
                    <a:pt x="82" y="389"/>
                    <a:pt x="85" y="394"/>
                  </a:cubicBezTo>
                  <a:cubicBezTo>
                    <a:pt x="87" y="398"/>
                    <a:pt x="99" y="418"/>
                    <a:pt x="99" y="424"/>
                  </a:cubicBezTo>
                  <a:cubicBezTo>
                    <a:pt x="99" y="430"/>
                    <a:pt x="123" y="456"/>
                    <a:pt x="126" y="462"/>
                  </a:cubicBezTo>
                  <a:cubicBezTo>
                    <a:pt x="130" y="468"/>
                    <a:pt x="164" y="522"/>
                    <a:pt x="164" y="522"/>
                  </a:cubicBezTo>
                  <a:cubicBezTo>
                    <a:pt x="169" y="547"/>
                    <a:pt x="169" y="547"/>
                    <a:pt x="169" y="547"/>
                  </a:cubicBezTo>
                  <a:cubicBezTo>
                    <a:pt x="169" y="547"/>
                    <a:pt x="197" y="602"/>
                    <a:pt x="197" y="609"/>
                  </a:cubicBezTo>
                  <a:cubicBezTo>
                    <a:pt x="197" y="616"/>
                    <a:pt x="205" y="616"/>
                    <a:pt x="214" y="622"/>
                  </a:cubicBezTo>
                  <a:cubicBezTo>
                    <a:pt x="222" y="628"/>
                    <a:pt x="218" y="635"/>
                    <a:pt x="220" y="647"/>
                  </a:cubicBezTo>
                  <a:cubicBezTo>
                    <a:pt x="221" y="658"/>
                    <a:pt x="255" y="699"/>
                    <a:pt x="267" y="715"/>
                  </a:cubicBezTo>
                  <a:cubicBezTo>
                    <a:pt x="279" y="732"/>
                    <a:pt x="270" y="754"/>
                    <a:pt x="270" y="762"/>
                  </a:cubicBezTo>
                  <a:cubicBezTo>
                    <a:pt x="270" y="771"/>
                    <a:pt x="293" y="796"/>
                    <a:pt x="304" y="803"/>
                  </a:cubicBezTo>
                  <a:cubicBezTo>
                    <a:pt x="314" y="810"/>
                    <a:pt x="324" y="826"/>
                    <a:pt x="332" y="835"/>
                  </a:cubicBezTo>
                  <a:cubicBezTo>
                    <a:pt x="340" y="843"/>
                    <a:pt x="386" y="861"/>
                    <a:pt x="400" y="869"/>
                  </a:cubicBezTo>
                  <a:cubicBezTo>
                    <a:pt x="415" y="877"/>
                    <a:pt x="442" y="883"/>
                    <a:pt x="463" y="901"/>
                  </a:cubicBezTo>
                  <a:cubicBezTo>
                    <a:pt x="484" y="919"/>
                    <a:pt x="516" y="939"/>
                    <a:pt x="516" y="939"/>
                  </a:cubicBezTo>
                  <a:cubicBezTo>
                    <a:pt x="522" y="954"/>
                    <a:pt x="522" y="954"/>
                    <a:pt x="522" y="954"/>
                  </a:cubicBezTo>
                  <a:cubicBezTo>
                    <a:pt x="522" y="954"/>
                    <a:pt x="533" y="962"/>
                    <a:pt x="540" y="968"/>
                  </a:cubicBezTo>
                  <a:cubicBezTo>
                    <a:pt x="547" y="974"/>
                    <a:pt x="574" y="992"/>
                    <a:pt x="574" y="992"/>
                  </a:cubicBezTo>
                  <a:cubicBezTo>
                    <a:pt x="574" y="993"/>
                    <a:pt x="574" y="993"/>
                    <a:pt x="574" y="993"/>
                  </a:cubicBezTo>
                  <a:cubicBezTo>
                    <a:pt x="580" y="989"/>
                    <a:pt x="589" y="983"/>
                    <a:pt x="596" y="977"/>
                  </a:cubicBezTo>
                  <a:cubicBezTo>
                    <a:pt x="608" y="968"/>
                    <a:pt x="596" y="954"/>
                    <a:pt x="596" y="954"/>
                  </a:cubicBezTo>
                  <a:cubicBezTo>
                    <a:pt x="608" y="946"/>
                    <a:pt x="608" y="946"/>
                    <a:pt x="608" y="946"/>
                  </a:cubicBezTo>
                  <a:cubicBezTo>
                    <a:pt x="601" y="929"/>
                    <a:pt x="601" y="929"/>
                    <a:pt x="601" y="929"/>
                  </a:cubicBezTo>
                  <a:cubicBezTo>
                    <a:pt x="601" y="929"/>
                    <a:pt x="611" y="919"/>
                    <a:pt x="620" y="912"/>
                  </a:cubicBezTo>
                  <a:cubicBezTo>
                    <a:pt x="626" y="908"/>
                    <a:pt x="629" y="897"/>
                    <a:pt x="630" y="889"/>
                  </a:cubicBezTo>
                  <a:lnTo>
                    <a:pt x="622" y="880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44" name="Freeform 160"/>
            <p:cNvSpPr>
              <a:spLocks noEditPoints="1"/>
            </p:cNvSpPr>
            <p:nvPr/>
          </p:nvSpPr>
          <p:spPr bwMode="auto">
            <a:xfrm>
              <a:off x="1424" y="2950"/>
              <a:ext cx="229" cy="270"/>
            </a:xfrm>
            <a:custGeom>
              <a:avLst/>
              <a:gdLst>
                <a:gd name="T0" fmla="*/ 0 w 604"/>
                <a:gd name="T1" fmla="*/ 0 h 712"/>
                <a:gd name="T2" fmla="*/ 0 w 604"/>
                <a:gd name="T3" fmla="*/ 0 h 712"/>
                <a:gd name="T4" fmla="*/ 0 w 604"/>
                <a:gd name="T5" fmla="*/ 0 h 712"/>
                <a:gd name="T6" fmla="*/ 0 w 604"/>
                <a:gd name="T7" fmla="*/ 0 h 712"/>
                <a:gd name="T8" fmla="*/ 0 w 604"/>
                <a:gd name="T9" fmla="*/ 0 h 712"/>
                <a:gd name="T10" fmla="*/ 0 w 604"/>
                <a:gd name="T11" fmla="*/ 0 h 712"/>
                <a:gd name="T12" fmla="*/ 0 w 604"/>
                <a:gd name="T13" fmla="*/ 0 h 712"/>
                <a:gd name="T14" fmla="*/ 0 w 604"/>
                <a:gd name="T15" fmla="*/ 0 h 712"/>
                <a:gd name="T16" fmla="*/ 0 w 604"/>
                <a:gd name="T17" fmla="*/ 0 h 712"/>
                <a:gd name="T18" fmla="*/ 0 w 604"/>
                <a:gd name="T19" fmla="*/ 0 h 712"/>
                <a:gd name="T20" fmla="*/ 0 w 604"/>
                <a:gd name="T21" fmla="*/ 0 h 712"/>
                <a:gd name="T22" fmla="*/ 0 w 604"/>
                <a:gd name="T23" fmla="*/ 0 h 712"/>
                <a:gd name="T24" fmla="*/ 0 w 604"/>
                <a:gd name="T25" fmla="*/ 0 h 712"/>
                <a:gd name="T26" fmla="*/ 0 w 604"/>
                <a:gd name="T27" fmla="*/ 0 h 712"/>
                <a:gd name="T28" fmla="*/ 0 w 604"/>
                <a:gd name="T29" fmla="*/ 0 h 712"/>
                <a:gd name="T30" fmla="*/ 0 w 604"/>
                <a:gd name="T31" fmla="*/ 0 h 712"/>
                <a:gd name="T32" fmla="*/ 0 w 604"/>
                <a:gd name="T33" fmla="*/ 0 h 712"/>
                <a:gd name="T34" fmla="*/ 0 w 604"/>
                <a:gd name="T35" fmla="*/ 0 h 712"/>
                <a:gd name="T36" fmla="*/ 0 w 604"/>
                <a:gd name="T37" fmla="*/ 0 h 712"/>
                <a:gd name="T38" fmla="*/ 0 w 604"/>
                <a:gd name="T39" fmla="*/ 0 h 712"/>
                <a:gd name="T40" fmla="*/ 0 w 604"/>
                <a:gd name="T41" fmla="*/ 0 h 712"/>
                <a:gd name="T42" fmla="*/ 0 w 604"/>
                <a:gd name="T43" fmla="*/ 0 h 712"/>
                <a:gd name="T44" fmla="*/ 0 w 604"/>
                <a:gd name="T45" fmla="*/ 0 h 712"/>
                <a:gd name="T46" fmla="*/ 0 w 604"/>
                <a:gd name="T47" fmla="*/ 0 h 712"/>
                <a:gd name="T48" fmla="*/ 0 w 604"/>
                <a:gd name="T49" fmla="*/ 0 h 712"/>
                <a:gd name="T50" fmla="*/ 0 w 604"/>
                <a:gd name="T51" fmla="*/ 0 h 712"/>
                <a:gd name="T52" fmla="*/ 0 w 604"/>
                <a:gd name="T53" fmla="*/ 0 h 712"/>
                <a:gd name="T54" fmla="*/ 0 w 604"/>
                <a:gd name="T55" fmla="*/ 0 h 712"/>
                <a:gd name="T56" fmla="*/ 0 w 604"/>
                <a:gd name="T57" fmla="*/ 0 h 712"/>
                <a:gd name="T58" fmla="*/ 0 w 604"/>
                <a:gd name="T59" fmla="*/ 0 h 712"/>
                <a:gd name="T60" fmla="*/ 0 w 604"/>
                <a:gd name="T61" fmla="*/ 0 h 712"/>
                <a:gd name="T62" fmla="*/ 0 w 604"/>
                <a:gd name="T63" fmla="*/ 0 h 712"/>
                <a:gd name="T64" fmla="*/ 0 w 604"/>
                <a:gd name="T65" fmla="*/ 0 h 712"/>
                <a:gd name="T66" fmla="*/ 0 w 604"/>
                <a:gd name="T67" fmla="*/ 0 h 712"/>
                <a:gd name="T68" fmla="*/ 0 w 604"/>
                <a:gd name="T69" fmla="*/ 0 h 712"/>
                <a:gd name="T70" fmla="*/ 0 w 604"/>
                <a:gd name="T71" fmla="*/ 0 h 712"/>
                <a:gd name="T72" fmla="*/ 0 w 604"/>
                <a:gd name="T73" fmla="*/ 0 h 712"/>
                <a:gd name="T74" fmla="*/ 0 w 604"/>
                <a:gd name="T75" fmla="*/ 0 h 712"/>
                <a:gd name="T76" fmla="*/ 0 w 604"/>
                <a:gd name="T77" fmla="*/ 0 h 712"/>
                <a:gd name="T78" fmla="*/ 0 w 604"/>
                <a:gd name="T79" fmla="*/ 0 h 712"/>
                <a:gd name="T80" fmla="*/ 0 w 604"/>
                <a:gd name="T81" fmla="*/ 0 h 712"/>
                <a:gd name="T82" fmla="*/ 0 w 604"/>
                <a:gd name="T83" fmla="*/ 0 h 712"/>
                <a:gd name="T84" fmla="*/ 0 w 604"/>
                <a:gd name="T85" fmla="*/ 0 h 712"/>
                <a:gd name="T86" fmla="*/ 0 w 604"/>
                <a:gd name="T87" fmla="*/ 0 h 712"/>
                <a:gd name="T88" fmla="*/ 0 w 604"/>
                <a:gd name="T89" fmla="*/ 0 h 712"/>
                <a:gd name="T90" fmla="*/ 0 w 604"/>
                <a:gd name="T91" fmla="*/ 0 h 712"/>
                <a:gd name="T92" fmla="*/ 0 w 604"/>
                <a:gd name="T93" fmla="*/ 0 h 712"/>
                <a:gd name="T94" fmla="*/ 0 w 604"/>
                <a:gd name="T95" fmla="*/ 0 h 712"/>
                <a:gd name="T96" fmla="*/ 0 w 604"/>
                <a:gd name="T97" fmla="*/ 0 h 712"/>
                <a:gd name="T98" fmla="*/ 0 w 604"/>
                <a:gd name="T99" fmla="*/ 0 h 71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04"/>
                <a:gd name="T151" fmla="*/ 0 h 712"/>
                <a:gd name="T152" fmla="*/ 604 w 604"/>
                <a:gd name="T153" fmla="*/ 712 h 71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04" h="712">
                  <a:moveTo>
                    <a:pt x="0" y="70"/>
                  </a:moveTo>
                  <a:cubicBezTo>
                    <a:pt x="1" y="70"/>
                    <a:pt x="1" y="70"/>
                    <a:pt x="1" y="70"/>
                  </a:cubicBezTo>
                  <a:cubicBezTo>
                    <a:pt x="1" y="70"/>
                    <a:pt x="1" y="70"/>
                    <a:pt x="0" y="70"/>
                  </a:cubicBezTo>
                  <a:close/>
                  <a:moveTo>
                    <a:pt x="599" y="500"/>
                  </a:moveTo>
                  <a:cubicBezTo>
                    <a:pt x="599" y="500"/>
                    <a:pt x="604" y="474"/>
                    <a:pt x="604" y="460"/>
                  </a:cubicBezTo>
                  <a:cubicBezTo>
                    <a:pt x="604" y="446"/>
                    <a:pt x="595" y="428"/>
                    <a:pt x="584" y="421"/>
                  </a:cubicBezTo>
                  <a:cubicBezTo>
                    <a:pt x="573" y="414"/>
                    <a:pt x="564" y="413"/>
                    <a:pt x="557" y="404"/>
                  </a:cubicBezTo>
                  <a:cubicBezTo>
                    <a:pt x="550" y="395"/>
                    <a:pt x="561" y="361"/>
                    <a:pt x="561" y="361"/>
                  </a:cubicBezTo>
                  <a:cubicBezTo>
                    <a:pt x="561" y="361"/>
                    <a:pt x="484" y="363"/>
                    <a:pt x="471" y="354"/>
                  </a:cubicBezTo>
                  <a:cubicBezTo>
                    <a:pt x="458" y="345"/>
                    <a:pt x="468" y="314"/>
                    <a:pt x="468" y="314"/>
                  </a:cubicBezTo>
                  <a:cubicBezTo>
                    <a:pt x="468" y="314"/>
                    <a:pt x="452" y="300"/>
                    <a:pt x="450" y="294"/>
                  </a:cubicBezTo>
                  <a:cubicBezTo>
                    <a:pt x="448" y="288"/>
                    <a:pt x="463" y="290"/>
                    <a:pt x="463" y="290"/>
                  </a:cubicBezTo>
                  <a:cubicBezTo>
                    <a:pt x="461" y="269"/>
                    <a:pt x="461" y="269"/>
                    <a:pt x="461" y="269"/>
                  </a:cubicBezTo>
                  <a:cubicBezTo>
                    <a:pt x="461" y="269"/>
                    <a:pt x="454" y="257"/>
                    <a:pt x="450" y="250"/>
                  </a:cubicBezTo>
                  <a:cubicBezTo>
                    <a:pt x="446" y="243"/>
                    <a:pt x="451" y="240"/>
                    <a:pt x="450" y="230"/>
                  </a:cubicBezTo>
                  <a:cubicBezTo>
                    <a:pt x="449" y="220"/>
                    <a:pt x="429" y="211"/>
                    <a:pt x="418" y="209"/>
                  </a:cubicBezTo>
                  <a:cubicBezTo>
                    <a:pt x="407" y="207"/>
                    <a:pt x="396" y="212"/>
                    <a:pt x="386" y="211"/>
                  </a:cubicBezTo>
                  <a:cubicBezTo>
                    <a:pt x="376" y="210"/>
                    <a:pt x="367" y="190"/>
                    <a:pt x="367" y="190"/>
                  </a:cubicBezTo>
                  <a:cubicBezTo>
                    <a:pt x="367" y="190"/>
                    <a:pt x="351" y="189"/>
                    <a:pt x="340" y="184"/>
                  </a:cubicBezTo>
                  <a:cubicBezTo>
                    <a:pt x="329" y="179"/>
                    <a:pt x="321" y="167"/>
                    <a:pt x="320" y="163"/>
                  </a:cubicBezTo>
                  <a:cubicBezTo>
                    <a:pt x="319" y="159"/>
                    <a:pt x="312" y="166"/>
                    <a:pt x="304" y="166"/>
                  </a:cubicBezTo>
                  <a:cubicBezTo>
                    <a:pt x="296" y="166"/>
                    <a:pt x="290" y="152"/>
                    <a:pt x="290" y="152"/>
                  </a:cubicBezTo>
                  <a:cubicBezTo>
                    <a:pt x="290" y="152"/>
                    <a:pt x="280" y="159"/>
                    <a:pt x="276" y="158"/>
                  </a:cubicBezTo>
                  <a:cubicBezTo>
                    <a:pt x="272" y="157"/>
                    <a:pt x="268" y="157"/>
                    <a:pt x="258" y="153"/>
                  </a:cubicBezTo>
                  <a:cubicBezTo>
                    <a:pt x="248" y="149"/>
                    <a:pt x="252" y="138"/>
                    <a:pt x="249" y="133"/>
                  </a:cubicBezTo>
                  <a:cubicBezTo>
                    <a:pt x="246" y="128"/>
                    <a:pt x="230" y="130"/>
                    <a:pt x="230" y="130"/>
                  </a:cubicBezTo>
                  <a:cubicBezTo>
                    <a:pt x="224" y="110"/>
                    <a:pt x="224" y="110"/>
                    <a:pt x="224" y="110"/>
                  </a:cubicBezTo>
                  <a:cubicBezTo>
                    <a:pt x="224" y="110"/>
                    <a:pt x="217" y="106"/>
                    <a:pt x="210" y="97"/>
                  </a:cubicBezTo>
                  <a:cubicBezTo>
                    <a:pt x="203" y="88"/>
                    <a:pt x="210" y="82"/>
                    <a:pt x="210" y="73"/>
                  </a:cubicBezTo>
                  <a:cubicBezTo>
                    <a:pt x="210" y="64"/>
                    <a:pt x="201" y="56"/>
                    <a:pt x="200" y="52"/>
                  </a:cubicBezTo>
                  <a:cubicBezTo>
                    <a:pt x="199" y="48"/>
                    <a:pt x="207" y="35"/>
                    <a:pt x="207" y="35"/>
                  </a:cubicBezTo>
                  <a:cubicBezTo>
                    <a:pt x="207" y="35"/>
                    <a:pt x="215" y="8"/>
                    <a:pt x="211" y="4"/>
                  </a:cubicBezTo>
                  <a:cubicBezTo>
                    <a:pt x="207" y="0"/>
                    <a:pt x="194" y="8"/>
                    <a:pt x="193" y="12"/>
                  </a:cubicBezTo>
                  <a:cubicBezTo>
                    <a:pt x="192" y="16"/>
                    <a:pt x="183" y="6"/>
                    <a:pt x="183" y="6"/>
                  </a:cubicBezTo>
                  <a:cubicBezTo>
                    <a:pt x="174" y="14"/>
                    <a:pt x="174" y="14"/>
                    <a:pt x="174" y="14"/>
                  </a:cubicBezTo>
                  <a:cubicBezTo>
                    <a:pt x="174" y="14"/>
                    <a:pt x="164" y="13"/>
                    <a:pt x="151" y="13"/>
                  </a:cubicBezTo>
                  <a:cubicBezTo>
                    <a:pt x="138" y="13"/>
                    <a:pt x="128" y="39"/>
                    <a:pt x="128" y="39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63" y="78"/>
                    <a:pt x="50" y="81"/>
                  </a:cubicBezTo>
                  <a:cubicBezTo>
                    <a:pt x="37" y="84"/>
                    <a:pt x="34" y="73"/>
                    <a:pt x="34" y="73"/>
                  </a:cubicBezTo>
                  <a:cubicBezTo>
                    <a:pt x="34" y="73"/>
                    <a:pt x="21" y="72"/>
                    <a:pt x="9" y="71"/>
                  </a:cubicBezTo>
                  <a:cubicBezTo>
                    <a:pt x="11" y="80"/>
                    <a:pt x="18" y="101"/>
                    <a:pt x="29" y="112"/>
                  </a:cubicBezTo>
                  <a:cubicBezTo>
                    <a:pt x="44" y="125"/>
                    <a:pt x="54" y="150"/>
                    <a:pt x="52" y="157"/>
                  </a:cubicBezTo>
                  <a:cubicBezTo>
                    <a:pt x="51" y="163"/>
                    <a:pt x="41" y="174"/>
                    <a:pt x="41" y="174"/>
                  </a:cubicBezTo>
                  <a:cubicBezTo>
                    <a:pt x="50" y="204"/>
                    <a:pt x="50" y="204"/>
                    <a:pt x="50" y="204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37" y="224"/>
                    <a:pt x="56" y="237"/>
                    <a:pt x="52" y="246"/>
                  </a:cubicBezTo>
                  <a:cubicBezTo>
                    <a:pt x="48" y="256"/>
                    <a:pt x="33" y="264"/>
                    <a:pt x="35" y="279"/>
                  </a:cubicBezTo>
                  <a:cubicBezTo>
                    <a:pt x="36" y="293"/>
                    <a:pt x="44" y="304"/>
                    <a:pt x="44" y="304"/>
                  </a:cubicBezTo>
                  <a:cubicBezTo>
                    <a:pt x="39" y="315"/>
                    <a:pt x="39" y="315"/>
                    <a:pt x="39" y="315"/>
                  </a:cubicBezTo>
                  <a:cubicBezTo>
                    <a:pt x="39" y="315"/>
                    <a:pt x="39" y="316"/>
                    <a:pt x="39" y="318"/>
                  </a:cubicBezTo>
                  <a:cubicBezTo>
                    <a:pt x="44" y="322"/>
                    <a:pt x="47" y="326"/>
                    <a:pt x="47" y="326"/>
                  </a:cubicBezTo>
                  <a:cubicBezTo>
                    <a:pt x="62" y="339"/>
                    <a:pt x="62" y="339"/>
                    <a:pt x="62" y="339"/>
                  </a:cubicBezTo>
                  <a:cubicBezTo>
                    <a:pt x="63" y="351"/>
                    <a:pt x="63" y="351"/>
                    <a:pt x="63" y="351"/>
                  </a:cubicBezTo>
                  <a:cubicBezTo>
                    <a:pt x="76" y="359"/>
                    <a:pt x="76" y="359"/>
                    <a:pt x="76" y="359"/>
                  </a:cubicBezTo>
                  <a:cubicBezTo>
                    <a:pt x="68" y="376"/>
                    <a:pt x="68" y="376"/>
                    <a:pt x="68" y="376"/>
                  </a:cubicBezTo>
                  <a:cubicBezTo>
                    <a:pt x="62" y="369"/>
                    <a:pt x="62" y="369"/>
                    <a:pt x="62" y="369"/>
                  </a:cubicBezTo>
                  <a:cubicBezTo>
                    <a:pt x="61" y="377"/>
                    <a:pt x="58" y="388"/>
                    <a:pt x="52" y="392"/>
                  </a:cubicBezTo>
                  <a:cubicBezTo>
                    <a:pt x="43" y="399"/>
                    <a:pt x="33" y="409"/>
                    <a:pt x="33" y="409"/>
                  </a:cubicBezTo>
                  <a:cubicBezTo>
                    <a:pt x="40" y="426"/>
                    <a:pt x="40" y="426"/>
                    <a:pt x="40" y="426"/>
                  </a:cubicBezTo>
                  <a:cubicBezTo>
                    <a:pt x="39" y="427"/>
                    <a:pt x="39" y="427"/>
                    <a:pt x="39" y="427"/>
                  </a:cubicBezTo>
                  <a:cubicBezTo>
                    <a:pt x="50" y="449"/>
                    <a:pt x="50" y="449"/>
                    <a:pt x="50" y="449"/>
                  </a:cubicBezTo>
                  <a:cubicBezTo>
                    <a:pt x="64" y="449"/>
                    <a:pt x="64" y="449"/>
                    <a:pt x="64" y="449"/>
                  </a:cubicBezTo>
                  <a:cubicBezTo>
                    <a:pt x="73" y="501"/>
                    <a:pt x="73" y="501"/>
                    <a:pt x="73" y="501"/>
                  </a:cubicBezTo>
                  <a:cubicBezTo>
                    <a:pt x="73" y="501"/>
                    <a:pt x="109" y="513"/>
                    <a:pt x="105" y="525"/>
                  </a:cubicBezTo>
                  <a:cubicBezTo>
                    <a:pt x="101" y="537"/>
                    <a:pt x="93" y="543"/>
                    <a:pt x="93" y="543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4" y="554"/>
                    <a:pt x="89" y="566"/>
                    <a:pt x="93" y="575"/>
                  </a:cubicBezTo>
                  <a:cubicBezTo>
                    <a:pt x="97" y="585"/>
                    <a:pt x="102" y="588"/>
                    <a:pt x="102" y="588"/>
                  </a:cubicBezTo>
                  <a:cubicBezTo>
                    <a:pt x="102" y="605"/>
                    <a:pt x="102" y="605"/>
                    <a:pt x="102" y="605"/>
                  </a:cubicBezTo>
                  <a:cubicBezTo>
                    <a:pt x="102" y="605"/>
                    <a:pt x="131" y="616"/>
                    <a:pt x="134" y="627"/>
                  </a:cubicBezTo>
                  <a:cubicBezTo>
                    <a:pt x="136" y="638"/>
                    <a:pt x="134" y="668"/>
                    <a:pt x="134" y="668"/>
                  </a:cubicBezTo>
                  <a:cubicBezTo>
                    <a:pt x="147" y="684"/>
                    <a:pt x="147" y="684"/>
                    <a:pt x="147" y="684"/>
                  </a:cubicBezTo>
                  <a:cubicBezTo>
                    <a:pt x="147" y="684"/>
                    <a:pt x="146" y="710"/>
                    <a:pt x="158" y="711"/>
                  </a:cubicBezTo>
                  <a:cubicBezTo>
                    <a:pt x="170" y="712"/>
                    <a:pt x="188" y="708"/>
                    <a:pt x="188" y="708"/>
                  </a:cubicBezTo>
                  <a:cubicBezTo>
                    <a:pt x="188" y="689"/>
                    <a:pt x="188" y="689"/>
                    <a:pt x="188" y="689"/>
                  </a:cubicBezTo>
                  <a:cubicBezTo>
                    <a:pt x="199" y="691"/>
                    <a:pt x="199" y="691"/>
                    <a:pt x="199" y="691"/>
                  </a:cubicBezTo>
                  <a:cubicBezTo>
                    <a:pt x="199" y="677"/>
                    <a:pt x="199" y="677"/>
                    <a:pt x="199" y="677"/>
                  </a:cubicBezTo>
                  <a:cubicBezTo>
                    <a:pt x="214" y="674"/>
                    <a:pt x="214" y="674"/>
                    <a:pt x="214" y="674"/>
                  </a:cubicBezTo>
                  <a:cubicBezTo>
                    <a:pt x="222" y="657"/>
                    <a:pt x="222" y="657"/>
                    <a:pt x="222" y="657"/>
                  </a:cubicBezTo>
                  <a:cubicBezTo>
                    <a:pt x="222" y="657"/>
                    <a:pt x="227" y="666"/>
                    <a:pt x="241" y="670"/>
                  </a:cubicBezTo>
                  <a:cubicBezTo>
                    <a:pt x="254" y="674"/>
                    <a:pt x="296" y="673"/>
                    <a:pt x="296" y="673"/>
                  </a:cubicBezTo>
                  <a:cubicBezTo>
                    <a:pt x="318" y="707"/>
                    <a:pt x="318" y="707"/>
                    <a:pt x="318" y="707"/>
                  </a:cubicBezTo>
                  <a:cubicBezTo>
                    <a:pt x="323" y="670"/>
                    <a:pt x="323" y="670"/>
                    <a:pt x="323" y="670"/>
                  </a:cubicBezTo>
                  <a:cubicBezTo>
                    <a:pt x="374" y="664"/>
                    <a:pt x="374" y="664"/>
                    <a:pt x="374" y="664"/>
                  </a:cubicBezTo>
                  <a:cubicBezTo>
                    <a:pt x="397" y="681"/>
                    <a:pt x="397" y="681"/>
                    <a:pt x="397" y="681"/>
                  </a:cubicBezTo>
                  <a:cubicBezTo>
                    <a:pt x="397" y="681"/>
                    <a:pt x="405" y="613"/>
                    <a:pt x="403" y="607"/>
                  </a:cubicBezTo>
                  <a:cubicBezTo>
                    <a:pt x="402" y="600"/>
                    <a:pt x="387" y="578"/>
                    <a:pt x="394" y="574"/>
                  </a:cubicBezTo>
                  <a:cubicBezTo>
                    <a:pt x="401" y="570"/>
                    <a:pt x="413" y="558"/>
                    <a:pt x="413" y="558"/>
                  </a:cubicBezTo>
                  <a:cubicBezTo>
                    <a:pt x="417" y="539"/>
                    <a:pt x="417" y="539"/>
                    <a:pt x="417" y="539"/>
                  </a:cubicBezTo>
                  <a:cubicBezTo>
                    <a:pt x="486" y="527"/>
                    <a:pt x="486" y="527"/>
                    <a:pt x="486" y="527"/>
                  </a:cubicBezTo>
                  <a:cubicBezTo>
                    <a:pt x="539" y="518"/>
                    <a:pt x="539" y="518"/>
                    <a:pt x="539" y="518"/>
                  </a:cubicBezTo>
                  <a:cubicBezTo>
                    <a:pt x="574" y="546"/>
                    <a:pt x="574" y="546"/>
                    <a:pt x="574" y="546"/>
                  </a:cubicBezTo>
                  <a:cubicBezTo>
                    <a:pt x="587" y="569"/>
                    <a:pt x="587" y="569"/>
                    <a:pt x="587" y="569"/>
                  </a:cubicBezTo>
                  <a:cubicBezTo>
                    <a:pt x="587" y="563"/>
                    <a:pt x="602" y="555"/>
                    <a:pt x="602" y="555"/>
                  </a:cubicBezTo>
                  <a:cubicBezTo>
                    <a:pt x="602" y="555"/>
                    <a:pt x="590" y="545"/>
                    <a:pt x="588" y="540"/>
                  </a:cubicBezTo>
                  <a:cubicBezTo>
                    <a:pt x="586" y="535"/>
                    <a:pt x="603" y="508"/>
                    <a:pt x="603" y="508"/>
                  </a:cubicBezTo>
                  <a:lnTo>
                    <a:pt x="599" y="500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45" name="Freeform 161"/>
            <p:cNvSpPr>
              <a:spLocks/>
            </p:cNvSpPr>
            <p:nvPr/>
          </p:nvSpPr>
          <p:spPr bwMode="auto">
            <a:xfrm>
              <a:off x="3595" y="1827"/>
              <a:ext cx="303" cy="169"/>
            </a:xfrm>
            <a:custGeom>
              <a:avLst/>
              <a:gdLst>
                <a:gd name="T0" fmla="*/ 0 w 798"/>
                <a:gd name="T1" fmla="*/ 0 h 447"/>
                <a:gd name="T2" fmla="*/ 0 w 798"/>
                <a:gd name="T3" fmla="*/ 0 h 447"/>
                <a:gd name="T4" fmla="*/ 0 w 798"/>
                <a:gd name="T5" fmla="*/ 0 h 447"/>
                <a:gd name="T6" fmla="*/ 0 w 798"/>
                <a:gd name="T7" fmla="*/ 0 h 447"/>
                <a:gd name="T8" fmla="*/ 0 w 798"/>
                <a:gd name="T9" fmla="*/ 0 h 447"/>
                <a:gd name="T10" fmla="*/ 0 w 798"/>
                <a:gd name="T11" fmla="*/ 0 h 447"/>
                <a:gd name="T12" fmla="*/ 0 w 798"/>
                <a:gd name="T13" fmla="*/ 0 h 447"/>
                <a:gd name="T14" fmla="*/ 0 w 798"/>
                <a:gd name="T15" fmla="*/ 0 h 447"/>
                <a:gd name="T16" fmla="*/ 0 w 798"/>
                <a:gd name="T17" fmla="*/ 0 h 447"/>
                <a:gd name="T18" fmla="*/ 0 w 798"/>
                <a:gd name="T19" fmla="*/ 0 h 447"/>
                <a:gd name="T20" fmla="*/ 0 w 798"/>
                <a:gd name="T21" fmla="*/ 0 h 447"/>
                <a:gd name="T22" fmla="*/ 0 w 798"/>
                <a:gd name="T23" fmla="*/ 0 h 447"/>
                <a:gd name="T24" fmla="*/ 0 w 798"/>
                <a:gd name="T25" fmla="*/ 0 h 447"/>
                <a:gd name="T26" fmla="*/ 0 w 798"/>
                <a:gd name="T27" fmla="*/ 0 h 447"/>
                <a:gd name="T28" fmla="*/ 0 w 798"/>
                <a:gd name="T29" fmla="*/ 0 h 447"/>
                <a:gd name="T30" fmla="*/ 0 w 798"/>
                <a:gd name="T31" fmla="*/ 0 h 447"/>
                <a:gd name="T32" fmla="*/ 0 w 798"/>
                <a:gd name="T33" fmla="*/ 0 h 447"/>
                <a:gd name="T34" fmla="*/ 0 w 798"/>
                <a:gd name="T35" fmla="*/ 0 h 447"/>
                <a:gd name="T36" fmla="*/ 0 w 798"/>
                <a:gd name="T37" fmla="*/ 0 h 447"/>
                <a:gd name="T38" fmla="*/ 0 w 798"/>
                <a:gd name="T39" fmla="*/ 0 h 447"/>
                <a:gd name="T40" fmla="*/ 0 w 798"/>
                <a:gd name="T41" fmla="*/ 0 h 447"/>
                <a:gd name="T42" fmla="*/ 0 w 798"/>
                <a:gd name="T43" fmla="*/ 0 h 447"/>
                <a:gd name="T44" fmla="*/ 0 w 798"/>
                <a:gd name="T45" fmla="*/ 0 h 447"/>
                <a:gd name="T46" fmla="*/ 0 w 798"/>
                <a:gd name="T47" fmla="*/ 0 h 447"/>
                <a:gd name="T48" fmla="*/ 0 w 798"/>
                <a:gd name="T49" fmla="*/ 0 h 447"/>
                <a:gd name="T50" fmla="*/ 0 w 798"/>
                <a:gd name="T51" fmla="*/ 0 h 447"/>
                <a:gd name="T52" fmla="*/ 0 w 798"/>
                <a:gd name="T53" fmla="*/ 0 h 447"/>
                <a:gd name="T54" fmla="*/ 0 w 798"/>
                <a:gd name="T55" fmla="*/ 0 h 447"/>
                <a:gd name="T56" fmla="*/ 0 w 798"/>
                <a:gd name="T57" fmla="*/ 0 h 447"/>
                <a:gd name="T58" fmla="*/ 0 w 798"/>
                <a:gd name="T59" fmla="*/ 0 h 447"/>
                <a:gd name="T60" fmla="*/ 0 w 798"/>
                <a:gd name="T61" fmla="*/ 0 h 447"/>
                <a:gd name="T62" fmla="*/ 0 w 798"/>
                <a:gd name="T63" fmla="*/ 0 h 447"/>
                <a:gd name="T64" fmla="*/ 0 w 798"/>
                <a:gd name="T65" fmla="*/ 0 h 447"/>
                <a:gd name="T66" fmla="*/ 0 w 798"/>
                <a:gd name="T67" fmla="*/ 0 h 447"/>
                <a:gd name="T68" fmla="*/ 0 w 798"/>
                <a:gd name="T69" fmla="*/ 0 h 447"/>
                <a:gd name="T70" fmla="*/ 0 w 798"/>
                <a:gd name="T71" fmla="*/ 0 h 447"/>
                <a:gd name="T72" fmla="*/ 0 w 798"/>
                <a:gd name="T73" fmla="*/ 0 h 447"/>
                <a:gd name="T74" fmla="*/ 0 w 798"/>
                <a:gd name="T75" fmla="*/ 0 h 447"/>
                <a:gd name="T76" fmla="*/ 0 w 798"/>
                <a:gd name="T77" fmla="*/ 0 h 447"/>
                <a:gd name="T78" fmla="*/ 0 w 798"/>
                <a:gd name="T79" fmla="*/ 0 h 447"/>
                <a:gd name="T80" fmla="*/ 0 w 798"/>
                <a:gd name="T81" fmla="*/ 0 h 447"/>
                <a:gd name="T82" fmla="*/ 0 w 798"/>
                <a:gd name="T83" fmla="*/ 0 h 447"/>
                <a:gd name="T84" fmla="*/ 0 w 798"/>
                <a:gd name="T85" fmla="*/ 0 h 447"/>
                <a:gd name="T86" fmla="*/ 0 w 798"/>
                <a:gd name="T87" fmla="*/ 0 h 447"/>
                <a:gd name="T88" fmla="*/ 0 w 798"/>
                <a:gd name="T89" fmla="*/ 0 h 447"/>
                <a:gd name="T90" fmla="*/ 0 w 798"/>
                <a:gd name="T91" fmla="*/ 0 h 447"/>
                <a:gd name="T92" fmla="*/ 0 w 798"/>
                <a:gd name="T93" fmla="*/ 0 h 447"/>
                <a:gd name="T94" fmla="*/ 0 w 798"/>
                <a:gd name="T95" fmla="*/ 0 h 447"/>
                <a:gd name="T96" fmla="*/ 0 w 798"/>
                <a:gd name="T97" fmla="*/ 0 h 447"/>
                <a:gd name="T98" fmla="*/ 0 w 798"/>
                <a:gd name="T99" fmla="*/ 0 h 447"/>
                <a:gd name="T100" fmla="*/ 0 w 798"/>
                <a:gd name="T101" fmla="*/ 0 h 447"/>
                <a:gd name="T102" fmla="*/ 0 w 798"/>
                <a:gd name="T103" fmla="*/ 0 h 447"/>
                <a:gd name="T104" fmla="*/ 0 w 798"/>
                <a:gd name="T105" fmla="*/ 0 h 447"/>
                <a:gd name="T106" fmla="*/ 0 w 798"/>
                <a:gd name="T107" fmla="*/ 0 h 447"/>
                <a:gd name="T108" fmla="*/ 0 w 798"/>
                <a:gd name="T109" fmla="*/ 0 h 447"/>
                <a:gd name="T110" fmla="*/ 0 w 798"/>
                <a:gd name="T111" fmla="*/ 0 h 447"/>
                <a:gd name="T112" fmla="*/ 0 w 798"/>
                <a:gd name="T113" fmla="*/ 0 h 447"/>
                <a:gd name="T114" fmla="*/ 0 w 798"/>
                <a:gd name="T115" fmla="*/ 0 h 447"/>
                <a:gd name="T116" fmla="*/ 0 w 798"/>
                <a:gd name="T117" fmla="*/ 0 h 447"/>
                <a:gd name="T118" fmla="*/ 0 w 798"/>
                <a:gd name="T119" fmla="*/ 0 h 447"/>
                <a:gd name="T120" fmla="*/ 0 w 798"/>
                <a:gd name="T121" fmla="*/ 0 h 44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98"/>
                <a:gd name="T184" fmla="*/ 0 h 447"/>
                <a:gd name="T185" fmla="*/ 798 w 798"/>
                <a:gd name="T186" fmla="*/ 447 h 44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98" h="447">
                  <a:moveTo>
                    <a:pt x="769" y="248"/>
                  </a:moveTo>
                  <a:cubicBezTo>
                    <a:pt x="764" y="243"/>
                    <a:pt x="764" y="243"/>
                    <a:pt x="764" y="243"/>
                  </a:cubicBezTo>
                  <a:cubicBezTo>
                    <a:pt x="751" y="241"/>
                    <a:pt x="751" y="241"/>
                    <a:pt x="751" y="241"/>
                  </a:cubicBezTo>
                  <a:cubicBezTo>
                    <a:pt x="745" y="230"/>
                    <a:pt x="745" y="230"/>
                    <a:pt x="745" y="230"/>
                  </a:cubicBezTo>
                  <a:cubicBezTo>
                    <a:pt x="732" y="230"/>
                    <a:pt x="732" y="230"/>
                    <a:pt x="732" y="230"/>
                  </a:cubicBezTo>
                  <a:cubicBezTo>
                    <a:pt x="721" y="212"/>
                    <a:pt x="721" y="212"/>
                    <a:pt x="721" y="212"/>
                  </a:cubicBezTo>
                  <a:cubicBezTo>
                    <a:pt x="721" y="222"/>
                    <a:pt x="721" y="222"/>
                    <a:pt x="721" y="222"/>
                  </a:cubicBezTo>
                  <a:cubicBezTo>
                    <a:pt x="712" y="222"/>
                    <a:pt x="712" y="222"/>
                    <a:pt x="712" y="222"/>
                  </a:cubicBezTo>
                  <a:cubicBezTo>
                    <a:pt x="713" y="231"/>
                    <a:pt x="713" y="231"/>
                    <a:pt x="713" y="231"/>
                  </a:cubicBezTo>
                  <a:cubicBezTo>
                    <a:pt x="713" y="231"/>
                    <a:pt x="694" y="233"/>
                    <a:pt x="689" y="229"/>
                  </a:cubicBezTo>
                  <a:cubicBezTo>
                    <a:pt x="684" y="225"/>
                    <a:pt x="683" y="220"/>
                    <a:pt x="683" y="220"/>
                  </a:cubicBezTo>
                  <a:cubicBezTo>
                    <a:pt x="660" y="212"/>
                    <a:pt x="660" y="212"/>
                    <a:pt x="660" y="212"/>
                  </a:cubicBezTo>
                  <a:cubicBezTo>
                    <a:pt x="660" y="212"/>
                    <a:pt x="696" y="183"/>
                    <a:pt x="694" y="178"/>
                  </a:cubicBezTo>
                  <a:cubicBezTo>
                    <a:pt x="693" y="177"/>
                    <a:pt x="692" y="176"/>
                    <a:pt x="690" y="175"/>
                  </a:cubicBezTo>
                  <a:cubicBezTo>
                    <a:pt x="671" y="184"/>
                    <a:pt x="671" y="184"/>
                    <a:pt x="671" y="184"/>
                  </a:cubicBezTo>
                  <a:cubicBezTo>
                    <a:pt x="653" y="185"/>
                    <a:pt x="653" y="185"/>
                    <a:pt x="653" y="185"/>
                  </a:cubicBezTo>
                  <a:cubicBezTo>
                    <a:pt x="645" y="203"/>
                    <a:pt x="645" y="203"/>
                    <a:pt x="645" y="203"/>
                  </a:cubicBezTo>
                  <a:cubicBezTo>
                    <a:pt x="645" y="203"/>
                    <a:pt x="633" y="205"/>
                    <a:pt x="623" y="208"/>
                  </a:cubicBezTo>
                  <a:cubicBezTo>
                    <a:pt x="612" y="211"/>
                    <a:pt x="613" y="229"/>
                    <a:pt x="613" y="229"/>
                  </a:cubicBezTo>
                  <a:cubicBezTo>
                    <a:pt x="613" y="229"/>
                    <a:pt x="605" y="229"/>
                    <a:pt x="596" y="236"/>
                  </a:cubicBezTo>
                  <a:cubicBezTo>
                    <a:pt x="587" y="243"/>
                    <a:pt x="595" y="267"/>
                    <a:pt x="595" y="267"/>
                  </a:cubicBezTo>
                  <a:cubicBezTo>
                    <a:pt x="595" y="267"/>
                    <a:pt x="584" y="261"/>
                    <a:pt x="573" y="259"/>
                  </a:cubicBezTo>
                  <a:cubicBezTo>
                    <a:pt x="563" y="256"/>
                    <a:pt x="580" y="243"/>
                    <a:pt x="573" y="233"/>
                  </a:cubicBezTo>
                  <a:cubicBezTo>
                    <a:pt x="567" y="224"/>
                    <a:pt x="520" y="233"/>
                    <a:pt x="509" y="228"/>
                  </a:cubicBezTo>
                  <a:cubicBezTo>
                    <a:pt x="499" y="223"/>
                    <a:pt x="497" y="199"/>
                    <a:pt x="488" y="188"/>
                  </a:cubicBezTo>
                  <a:cubicBezTo>
                    <a:pt x="479" y="177"/>
                    <a:pt x="479" y="191"/>
                    <a:pt x="469" y="188"/>
                  </a:cubicBezTo>
                  <a:cubicBezTo>
                    <a:pt x="460" y="185"/>
                    <a:pt x="467" y="137"/>
                    <a:pt x="461" y="136"/>
                  </a:cubicBezTo>
                  <a:cubicBezTo>
                    <a:pt x="456" y="135"/>
                    <a:pt x="441" y="136"/>
                    <a:pt x="441" y="136"/>
                  </a:cubicBezTo>
                  <a:cubicBezTo>
                    <a:pt x="441" y="136"/>
                    <a:pt x="411" y="93"/>
                    <a:pt x="404" y="93"/>
                  </a:cubicBezTo>
                  <a:cubicBezTo>
                    <a:pt x="397" y="93"/>
                    <a:pt x="379" y="105"/>
                    <a:pt x="379" y="105"/>
                  </a:cubicBezTo>
                  <a:cubicBezTo>
                    <a:pt x="379" y="105"/>
                    <a:pt x="341" y="101"/>
                    <a:pt x="325" y="101"/>
                  </a:cubicBezTo>
                  <a:cubicBezTo>
                    <a:pt x="309" y="101"/>
                    <a:pt x="272" y="108"/>
                    <a:pt x="272" y="108"/>
                  </a:cubicBezTo>
                  <a:cubicBezTo>
                    <a:pt x="223" y="60"/>
                    <a:pt x="223" y="60"/>
                    <a:pt x="223" y="60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81" y="47"/>
                    <a:pt x="186" y="56"/>
                    <a:pt x="183" y="61"/>
                  </a:cubicBezTo>
                  <a:cubicBezTo>
                    <a:pt x="178" y="70"/>
                    <a:pt x="174" y="75"/>
                    <a:pt x="174" y="75"/>
                  </a:cubicBezTo>
                  <a:cubicBezTo>
                    <a:pt x="174" y="75"/>
                    <a:pt x="162" y="76"/>
                    <a:pt x="154" y="70"/>
                  </a:cubicBezTo>
                  <a:cubicBezTo>
                    <a:pt x="146" y="64"/>
                    <a:pt x="149" y="55"/>
                    <a:pt x="149" y="55"/>
                  </a:cubicBezTo>
                  <a:cubicBezTo>
                    <a:pt x="142" y="36"/>
                    <a:pt x="142" y="36"/>
                    <a:pt x="142" y="36"/>
                  </a:cubicBezTo>
                  <a:cubicBezTo>
                    <a:pt x="145" y="23"/>
                    <a:pt x="145" y="23"/>
                    <a:pt x="145" y="23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06" y="20"/>
                    <a:pt x="106" y="20"/>
                    <a:pt x="106" y="20"/>
                  </a:cubicBezTo>
                  <a:cubicBezTo>
                    <a:pt x="106" y="20"/>
                    <a:pt x="119" y="28"/>
                    <a:pt x="119" y="37"/>
                  </a:cubicBezTo>
                  <a:cubicBezTo>
                    <a:pt x="119" y="46"/>
                    <a:pt x="116" y="45"/>
                    <a:pt x="116" y="45"/>
                  </a:cubicBezTo>
                  <a:cubicBezTo>
                    <a:pt x="116" y="45"/>
                    <a:pt x="117" y="55"/>
                    <a:pt x="106" y="57"/>
                  </a:cubicBezTo>
                  <a:cubicBezTo>
                    <a:pt x="95" y="59"/>
                    <a:pt x="98" y="39"/>
                    <a:pt x="92" y="37"/>
                  </a:cubicBezTo>
                  <a:cubicBezTo>
                    <a:pt x="86" y="35"/>
                    <a:pt x="99" y="21"/>
                    <a:pt x="99" y="21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35" y="218"/>
                    <a:pt x="35" y="218"/>
                    <a:pt x="35" y="218"/>
                  </a:cubicBezTo>
                  <a:cubicBezTo>
                    <a:pt x="36" y="218"/>
                    <a:pt x="36" y="217"/>
                    <a:pt x="37" y="217"/>
                  </a:cubicBezTo>
                  <a:cubicBezTo>
                    <a:pt x="44" y="217"/>
                    <a:pt x="48" y="224"/>
                    <a:pt x="48" y="224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92" y="224"/>
                    <a:pt x="77" y="208"/>
                    <a:pt x="79" y="195"/>
                  </a:cubicBezTo>
                  <a:cubicBezTo>
                    <a:pt x="80" y="181"/>
                    <a:pt x="112" y="175"/>
                    <a:pt x="112" y="175"/>
                  </a:cubicBezTo>
                  <a:cubicBezTo>
                    <a:pt x="112" y="175"/>
                    <a:pt x="112" y="164"/>
                    <a:pt x="116" y="163"/>
                  </a:cubicBezTo>
                  <a:cubicBezTo>
                    <a:pt x="120" y="161"/>
                    <a:pt x="139" y="169"/>
                    <a:pt x="139" y="169"/>
                  </a:cubicBezTo>
                  <a:cubicBezTo>
                    <a:pt x="119" y="151"/>
                    <a:pt x="119" y="151"/>
                    <a:pt x="119" y="151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43" y="145"/>
                    <a:pt x="143" y="145"/>
                    <a:pt x="143" y="145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79" y="172"/>
                    <a:pt x="179" y="172"/>
                    <a:pt x="179" y="172"/>
                  </a:cubicBezTo>
                  <a:cubicBezTo>
                    <a:pt x="179" y="172"/>
                    <a:pt x="192" y="169"/>
                    <a:pt x="201" y="173"/>
                  </a:cubicBezTo>
                  <a:cubicBezTo>
                    <a:pt x="211" y="177"/>
                    <a:pt x="209" y="192"/>
                    <a:pt x="209" y="192"/>
                  </a:cubicBezTo>
                  <a:cubicBezTo>
                    <a:pt x="219" y="197"/>
                    <a:pt x="219" y="197"/>
                    <a:pt x="219" y="197"/>
                  </a:cubicBezTo>
                  <a:cubicBezTo>
                    <a:pt x="219" y="197"/>
                    <a:pt x="207" y="209"/>
                    <a:pt x="212" y="219"/>
                  </a:cubicBezTo>
                  <a:cubicBezTo>
                    <a:pt x="217" y="228"/>
                    <a:pt x="243" y="227"/>
                    <a:pt x="243" y="227"/>
                  </a:cubicBezTo>
                  <a:cubicBezTo>
                    <a:pt x="279" y="231"/>
                    <a:pt x="279" y="231"/>
                    <a:pt x="279" y="231"/>
                  </a:cubicBezTo>
                  <a:cubicBezTo>
                    <a:pt x="279" y="225"/>
                    <a:pt x="279" y="225"/>
                    <a:pt x="279" y="225"/>
                  </a:cubicBezTo>
                  <a:cubicBezTo>
                    <a:pt x="303" y="237"/>
                    <a:pt x="303" y="237"/>
                    <a:pt x="303" y="237"/>
                  </a:cubicBezTo>
                  <a:cubicBezTo>
                    <a:pt x="312" y="256"/>
                    <a:pt x="312" y="256"/>
                    <a:pt x="312" y="256"/>
                  </a:cubicBezTo>
                  <a:cubicBezTo>
                    <a:pt x="325" y="271"/>
                    <a:pt x="325" y="271"/>
                    <a:pt x="325" y="271"/>
                  </a:cubicBezTo>
                  <a:cubicBezTo>
                    <a:pt x="325" y="271"/>
                    <a:pt x="333" y="283"/>
                    <a:pt x="336" y="293"/>
                  </a:cubicBezTo>
                  <a:cubicBezTo>
                    <a:pt x="339" y="304"/>
                    <a:pt x="351" y="309"/>
                    <a:pt x="357" y="312"/>
                  </a:cubicBezTo>
                  <a:cubicBezTo>
                    <a:pt x="364" y="315"/>
                    <a:pt x="377" y="317"/>
                    <a:pt x="381" y="319"/>
                  </a:cubicBezTo>
                  <a:cubicBezTo>
                    <a:pt x="385" y="320"/>
                    <a:pt x="397" y="336"/>
                    <a:pt x="397" y="336"/>
                  </a:cubicBezTo>
                  <a:cubicBezTo>
                    <a:pt x="417" y="348"/>
                    <a:pt x="417" y="348"/>
                    <a:pt x="417" y="348"/>
                  </a:cubicBezTo>
                  <a:cubicBezTo>
                    <a:pt x="435" y="349"/>
                    <a:pt x="435" y="349"/>
                    <a:pt x="435" y="349"/>
                  </a:cubicBezTo>
                  <a:cubicBezTo>
                    <a:pt x="444" y="357"/>
                    <a:pt x="444" y="357"/>
                    <a:pt x="444" y="357"/>
                  </a:cubicBezTo>
                  <a:cubicBezTo>
                    <a:pt x="455" y="360"/>
                    <a:pt x="455" y="360"/>
                    <a:pt x="455" y="360"/>
                  </a:cubicBezTo>
                  <a:cubicBezTo>
                    <a:pt x="455" y="360"/>
                    <a:pt x="469" y="371"/>
                    <a:pt x="476" y="376"/>
                  </a:cubicBezTo>
                  <a:cubicBezTo>
                    <a:pt x="483" y="381"/>
                    <a:pt x="501" y="389"/>
                    <a:pt x="501" y="389"/>
                  </a:cubicBezTo>
                  <a:cubicBezTo>
                    <a:pt x="516" y="387"/>
                    <a:pt x="516" y="387"/>
                    <a:pt x="516" y="387"/>
                  </a:cubicBezTo>
                  <a:cubicBezTo>
                    <a:pt x="549" y="405"/>
                    <a:pt x="549" y="405"/>
                    <a:pt x="549" y="405"/>
                  </a:cubicBezTo>
                  <a:cubicBezTo>
                    <a:pt x="549" y="405"/>
                    <a:pt x="537" y="417"/>
                    <a:pt x="548" y="425"/>
                  </a:cubicBezTo>
                  <a:cubicBezTo>
                    <a:pt x="554" y="430"/>
                    <a:pt x="555" y="434"/>
                    <a:pt x="555" y="437"/>
                  </a:cubicBezTo>
                  <a:cubicBezTo>
                    <a:pt x="563" y="437"/>
                    <a:pt x="563" y="437"/>
                    <a:pt x="563" y="437"/>
                  </a:cubicBezTo>
                  <a:cubicBezTo>
                    <a:pt x="571" y="431"/>
                    <a:pt x="571" y="431"/>
                    <a:pt x="571" y="431"/>
                  </a:cubicBezTo>
                  <a:cubicBezTo>
                    <a:pt x="580" y="445"/>
                    <a:pt x="580" y="445"/>
                    <a:pt x="580" y="445"/>
                  </a:cubicBezTo>
                  <a:cubicBezTo>
                    <a:pt x="591" y="440"/>
                    <a:pt x="591" y="440"/>
                    <a:pt x="591" y="440"/>
                  </a:cubicBezTo>
                  <a:cubicBezTo>
                    <a:pt x="596" y="440"/>
                    <a:pt x="596" y="440"/>
                    <a:pt x="596" y="440"/>
                  </a:cubicBezTo>
                  <a:cubicBezTo>
                    <a:pt x="596" y="440"/>
                    <a:pt x="600" y="443"/>
                    <a:pt x="605" y="447"/>
                  </a:cubicBezTo>
                  <a:cubicBezTo>
                    <a:pt x="604" y="446"/>
                    <a:pt x="603" y="446"/>
                    <a:pt x="603" y="445"/>
                  </a:cubicBezTo>
                  <a:cubicBezTo>
                    <a:pt x="602" y="439"/>
                    <a:pt x="601" y="430"/>
                    <a:pt x="605" y="426"/>
                  </a:cubicBezTo>
                  <a:cubicBezTo>
                    <a:pt x="612" y="418"/>
                    <a:pt x="622" y="408"/>
                    <a:pt x="622" y="397"/>
                  </a:cubicBezTo>
                  <a:cubicBezTo>
                    <a:pt x="622" y="386"/>
                    <a:pt x="609" y="387"/>
                    <a:pt x="603" y="377"/>
                  </a:cubicBezTo>
                  <a:cubicBezTo>
                    <a:pt x="597" y="367"/>
                    <a:pt x="608" y="358"/>
                    <a:pt x="603" y="353"/>
                  </a:cubicBezTo>
                  <a:cubicBezTo>
                    <a:pt x="598" y="348"/>
                    <a:pt x="582" y="347"/>
                    <a:pt x="582" y="347"/>
                  </a:cubicBezTo>
                  <a:cubicBezTo>
                    <a:pt x="575" y="339"/>
                    <a:pt x="575" y="339"/>
                    <a:pt x="575" y="339"/>
                  </a:cubicBezTo>
                  <a:cubicBezTo>
                    <a:pt x="561" y="336"/>
                    <a:pt x="561" y="336"/>
                    <a:pt x="561" y="336"/>
                  </a:cubicBezTo>
                  <a:cubicBezTo>
                    <a:pt x="561" y="336"/>
                    <a:pt x="561" y="326"/>
                    <a:pt x="567" y="321"/>
                  </a:cubicBezTo>
                  <a:cubicBezTo>
                    <a:pt x="573" y="316"/>
                    <a:pt x="592" y="328"/>
                    <a:pt x="607" y="319"/>
                  </a:cubicBezTo>
                  <a:cubicBezTo>
                    <a:pt x="622" y="310"/>
                    <a:pt x="610" y="305"/>
                    <a:pt x="610" y="305"/>
                  </a:cubicBezTo>
                  <a:cubicBezTo>
                    <a:pt x="620" y="296"/>
                    <a:pt x="620" y="296"/>
                    <a:pt x="620" y="296"/>
                  </a:cubicBezTo>
                  <a:cubicBezTo>
                    <a:pt x="607" y="282"/>
                    <a:pt x="607" y="282"/>
                    <a:pt x="607" y="282"/>
                  </a:cubicBezTo>
                  <a:cubicBezTo>
                    <a:pt x="607" y="282"/>
                    <a:pt x="626" y="287"/>
                    <a:pt x="632" y="281"/>
                  </a:cubicBezTo>
                  <a:cubicBezTo>
                    <a:pt x="638" y="275"/>
                    <a:pt x="625" y="268"/>
                    <a:pt x="626" y="264"/>
                  </a:cubicBezTo>
                  <a:cubicBezTo>
                    <a:pt x="627" y="260"/>
                    <a:pt x="629" y="251"/>
                    <a:pt x="635" y="251"/>
                  </a:cubicBezTo>
                  <a:cubicBezTo>
                    <a:pt x="641" y="251"/>
                    <a:pt x="644" y="265"/>
                    <a:pt x="652" y="260"/>
                  </a:cubicBezTo>
                  <a:cubicBezTo>
                    <a:pt x="660" y="255"/>
                    <a:pt x="671" y="243"/>
                    <a:pt x="675" y="241"/>
                  </a:cubicBezTo>
                  <a:cubicBezTo>
                    <a:pt x="679" y="239"/>
                    <a:pt x="694" y="251"/>
                    <a:pt x="694" y="251"/>
                  </a:cubicBezTo>
                  <a:cubicBezTo>
                    <a:pt x="678" y="272"/>
                    <a:pt x="678" y="272"/>
                    <a:pt x="678" y="272"/>
                  </a:cubicBezTo>
                  <a:cubicBezTo>
                    <a:pt x="678" y="272"/>
                    <a:pt x="698" y="278"/>
                    <a:pt x="701" y="283"/>
                  </a:cubicBezTo>
                  <a:cubicBezTo>
                    <a:pt x="708" y="280"/>
                    <a:pt x="717" y="277"/>
                    <a:pt x="721" y="276"/>
                  </a:cubicBezTo>
                  <a:cubicBezTo>
                    <a:pt x="728" y="274"/>
                    <a:pt x="732" y="290"/>
                    <a:pt x="741" y="286"/>
                  </a:cubicBezTo>
                  <a:cubicBezTo>
                    <a:pt x="750" y="282"/>
                    <a:pt x="752" y="273"/>
                    <a:pt x="752" y="273"/>
                  </a:cubicBezTo>
                  <a:cubicBezTo>
                    <a:pt x="766" y="271"/>
                    <a:pt x="766" y="271"/>
                    <a:pt x="766" y="271"/>
                  </a:cubicBezTo>
                  <a:cubicBezTo>
                    <a:pt x="766" y="265"/>
                    <a:pt x="766" y="265"/>
                    <a:pt x="766" y="265"/>
                  </a:cubicBezTo>
                  <a:cubicBezTo>
                    <a:pt x="766" y="265"/>
                    <a:pt x="778" y="266"/>
                    <a:pt x="788" y="254"/>
                  </a:cubicBezTo>
                  <a:cubicBezTo>
                    <a:pt x="798" y="242"/>
                    <a:pt x="769" y="248"/>
                    <a:pt x="769" y="248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46" name="Freeform 162"/>
            <p:cNvSpPr>
              <a:spLocks noEditPoints="1"/>
            </p:cNvSpPr>
            <p:nvPr/>
          </p:nvSpPr>
          <p:spPr bwMode="auto">
            <a:xfrm>
              <a:off x="3431" y="1633"/>
              <a:ext cx="635" cy="295"/>
            </a:xfrm>
            <a:custGeom>
              <a:avLst/>
              <a:gdLst>
                <a:gd name="T0" fmla="*/ 0 w 1673"/>
                <a:gd name="T1" fmla="*/ 0 h 778"/>
                <a:gd name="T2" fmla="*/ 0 w 1673"/>
                <a:gd name="T3" fmla="*/ 0 h 778"/>
                <a:gd name="T4" fmla="*/ 0 w 1673"/>
                <a:gd name="T5" fmla="*/ 0 h 778"/>
                <a:gd name="T6" fmla="*/ 0 w 1673"/>
                <a:gd name="T7" fmla="*/ 0 h 778"/>
                <a:gd name="T8" fmla="*/ 0 w 1673"/>
                <a:gd name="T9" fmla="*/ 0 h 778"/>
                <a:gd name="T10" fmla="*/ 0 w 1673"/>
                <a:gd name="T11" fmla="*/ 0 h 778"/>
                <a:gd name="T12" fmla="*/ 0 w 1673"/>
                <a:gd name="T13" fmla="*/ 0 h 778"/>
                <a:gd name="T14" fmla="*/ 0 w 1673"/>
                <a:gd name="T15" fmla="*/ 0 h 778"/>
                <a:gd name="T16" fmla="*/ 0 w 1673"/>
                <a:gd name="T17" fmla="*/ 0 h 778"/>
                <a:gd name="T18" fmla="*/ 0 w 1673"/>
                <a:gd name="T19" fmla="*/ 0 h 778"/>
                <a:gd name="T20" fmla="*/ 0 w 1673"/>
                <a:gd name="T21" fmla="*/ 0 h 778"/>
                <a:gd name="T22" fmla="*/ 0 w 1673"/>
                <a:gd name="T23" fmla="*/ 0 h 778"/>
                <a:gd name="T24" fmla="*/ 0 w 1673"/>
                <a:gd name="T25" fmla="*/ 0 h 778"/>
                <a:gd name="T26" fmla="*/ 0 w 1673"/>
                <a:gd name="T27" fmla="*/ 0 h 778"/>
                <a:gd name="T28" fmla="*/ 0 w 1673"/>
                <a:gd name="T29" fmla="*/ 0 h 778"/>
                <a:gd name="T30" fmla="*/ 0 w 1673"/>
                <a:gd name="T31" fmla="*/ 0 h 778"/>
                <a:gd name="T32" fmla="*/ 0 w 1673"/>
                <a:gd name="T33" fmla="*/ 0 h 778"/>
                <a:gd name="T34" fmla="*/ 0 w 1673"/>
                <a:gd name="T35" fmla="*/ 0 h 778"/>
                <a:gd name="T36" fmla="*/ 0 w 1673"/>
                <a:gd name="T37" fmla="*/ 0 h 778"/>
                <a:gd name="T38" fmla="*/ 0 w 1673"/>
                <a:gd name="T39" fmla="*/ 0 h 778"/>
                <a:gd name="T40" fmla="*/ 0 w 1673"/>
                <a:gd name="T41" fmla="*/ 0 h 778"/>
                <a:gd name="T42" fmla="*/ 0 w 1673"/>
                <a:gd name="T43" fmla="*/ 0 h 778"/>
                <a:gd name="T44" fmla="*/ 0 w 1673"/>
                <a:gd name="T45" fmla="*/ 0 h 778"/>
                <a:gd name="T46" fmla="*/ 0 w 1673"/>
                <a:gd name="T47" fmla="*/ 0 h 778"/>
                <a:gd name="T48" fmla="*/ 0 w 1673"/>
                <a:gd name="T49" fmla="*/ 0 h 778"/>
                <a:gd name="T50" fmla="*/ 0 w 1673"/>
                <a:gd name="T51" fmla="*/ 0 h 778"/>
                <a:gd name="T52" fmla="*/ 0 w 1673"/>
                <a:gd name="T53" fmla="*/ 0 h 778"/>
                <a:gd name="T54" fmla="*/ 0 w 1673"/>
                <a:gd name="T55" fmla="*/ 0 h 778"/>
                <a:gd name="T56" fmla="*/ 0 w 1673"/>
                <a:gd name="T57" fmla="*/ 0 h 778"/>
                <a:gd name="T58" fmla="*/ 0 w 1673"/>
                <a:gd name="T59" fmla="*/ 0 h 778"/>
                <a:gd name="T60" fmla="*/ 0 w 1673"/>
                <a:gd name="T61" fmla="*/ 0 h 778"/>
                <a:gd name="T62" fmla="*/ 0 w 1673"/>
                <a:gd name="T63" fmla="*/ 0 h 778"/>
                <a:gd name="T64" fmla="*/ 0 w 1673"/>
                <a:gd name="T65" fmla="*/ 0 h 778"/>
                <a:gd name="T66" fmla="*/ 0 w 1673"/>
                <a:gd name="T67" fmla="*/ 0 h 778"/>
                <a:gd name="T68" fmla="*/ 0 w 1673"/>
                <a:gd name="T69" fmla="*/ 0 h 778"/>
                <a:gd name="T70" fmla="*/ 0 w 1673"/>
                <a:gd name="T71" fmla="*/ 0 h 778"/>
                <a:gd name="T72" fmla="*/ 0 w 1673"/>
                <a:gd name="T73" fmla="*/ 0 h 778"/>
                <a:gd name="T74" fmla="*/ 0 w 1673"/>
                <a:gd name="T75" fmla="*/ 0 h 778"/>
                <a:gd name="T76" fmla="*/ 0 w 1673"/>
                <a:gd name="T77" fmla="*/ 0 h 778"/>
                <a:gd name="T78" fmla="*/ 0 w 1673"/>
                <a:gd name="T79" fmla="*/ 0 h 778"/>
                <a:gd name="T80" fmla="*/ 0 w 1673"/>
                <a:gd name="T81" fmla="*/ 0 h 778"/>
                <a:gd name="T82" fmla="*/ 0 w 1673"/>
                <a:gd name="T83" fmla="*/ 0 h 778"/>
                <a:gd name="T84" fmla="*/ 0 w 1673"/>
                <a:gd name="T85" fmla="*/ 0 h 778"/>
                <a:gd name="T86" fmla="*/ 0 w 1673"/>
                <a:gd name="T87" fmla="*/ 0 h 778"/>
                <a:gd name="T88" fmla="*/ 0 w 1673"/>
                <a:gd name="T89" fmla="*/ 0 h 778"/>
                <a:gd name="T90" fmla="*/ 0 w 1673"/>
                <a:gd name="T91" fmla="*/ 0 h 778"/>
                <a:gd name="T92" fmla="*/ 0 w 1673"/>
                <a:gd name="T93" fmla="*/ 0 h 778"/>
                <a:gd name="T94" fmla="*/ 0 w 1673"/>
                <a:gd name="T95" fmla="*/ 0 h 778"/>
                <a:gd name="T96" fmla="*/ 0 w 1673"/>
                <a:gd name="T97" fmla="*/ 0 h 778"/>
                <a:gd name="T98" fmla="*/ 0 w 1673"/>
                <a:gd name="T99" fmla="*/ 0 h 778"/>
                <a:gd name="T100" fmla="*/ 0 w 1673"/>
                <a:gd name="T101" fmla="*/ 0 h 778"/>
                <a:gd name="T102" fmla="*/ 0 w 1673"/>
                <a:gd name="T103" fmla="*/ 0 h 778"/>
                <a:gd name="T104" fmla="*/ 0 w 1673"/>
                <a:gd name="T105" fmla="*/ 0 h 778"/>
                <a:gd name="T106" fmla="*/ 0 w 1673"/>
                <a:gd name="T107" fmla="*/ 0 h 778"/>
                <a:gd name="T108" fmla="*/ 0 w 1673"/>
                <a:gd name="T109" fmla="*/ 0 h 778"/>
                <a:gd name="T110" fmla="*/ 0 w 1673"/>
                <a:gd name="T111" fmla="*/ 0 h 778"/>
                <a:gd name="T112" fmla="*/ 0 w 1673"/>
                <a:gd name="T113" fmla="*/ 0 h 778"/>
                <a:gd name="T114" fmla="*/ 0 w 1673"/>
                <a:gd name="T115" fmla="*/ 0 h 778"/>
                <a:gd name="T116" fmla="*/ 0 w 1673"/>
                <a:gd name="T117" fmla="*/ 0 h 778"/>
                <a:gd name="T118" fmla="*/ 0 w 1673"/>
                <a:gd name="T119" fmla="*/ 0 h 778"/>
                <a:gd name="T120" fmla="*/ 0 w 1673"/>
                <a:gd name="T121" fmla="*/ 0 h 778"/>
                <a:gd name="T122" fmla="*/ 0 w 1673"/>
                <a:gd name="T123" fmla="*/ 0 h 778"/>
                <a:gd name="T124" fmla="*/ 0 w 1673"/>
                <a:gd name="T125" fmla="*/ 0 h 7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73"/>
                <a:gd name="T190" fmla="*/ 0 h 778"/>
                <a:gd name="T191" fmla="*/ 1673 w 1673"/>
                <a:gd name="T192" fmla="*/ 778 h 77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73" h="778">
                  <a:moveTo>
                    <a:pt x="565" y="505"/>
                  </a:moveTo>
                  <a:cubicBezTo>
                    <a:pt x="558" y="500"/>
                    <a:pt x="557" y="497"/>
                    <a:pt x="557" y="497"/>
                  </a:cubicBezTo>
                  <a:cubicBezTo>
                    <a:pt x="548" y="511"/>
                    <a:pt x="548" y="511"/>
                    <a:pt x="548" y="511"/>
                  </a:cubicBezTo>
                  <a:cubicBezTo>
                    <a:pt x="545" y="518"/>
                    <a:pt x="545" y="518"/>
                    <a:pt x="545" y="518"/>
                  </a:cubicBezTo>
                  <a:cubicBezTo>
                    <a:pt x="578" y="534"/>
                    <a:pt x="578" y="534"/>
                    <a:pt x="578" y="534"/>
                  </a:cubicBezTo>
                  <a:cubicBezTo>
                    <a:pt x="580" y="525"/>
                    <a:pt x="580" y="525"/>
                    <a:pt x="580" y="525"/>
                  </a:cubicBezTo>
                  <a:cubicBezTo>
                    <a:pt x="580" y="525"/>
                    <a:pt x="572" y="510"/>
                    <a:pt x="565" y="505"/>
                  </a:cubicBezTo>
                  <a:close/>
                  <a:moveTo>
                    <a:pt x="1655" y="327"/>
                  </a:moveTo>
                  <a:cubicBezTo>
                    <a:pt x="1656" y="321"/>
                    <a:pt x="1666" y="322"/>
                    <a:pt x="1673" y="324"/>
                  </a:cubicBezTo>
                  <a:cubicBezTo>
                    <a:pt x="1649" y="298"/>
                    <a:pt x="1649" y="298"/>
                    <a:pt x="1649" y="298"/>
                  </a:cubicBezTo>
                  <a:cubicBezTo>
                    <a:pt x="1636" y="282"/>
                    <a:pt x="1636" y="282"/>
                    <a:pt x="1636" y="282"/>
                  </a:cubicBezTo>
                  <a:cubicBezTo>
                    <a:pt x="1625" y="304"/>
                    <a:pt x="1625" y="304"/>
                    <a:pt x="1625" y="304"/>
                  </a:cubicBezTo>
                  <a:cubicBezTo>
                    <a:pt x="1578" y="300"/>
                    <a:pt x="1578" y="300"/>
                    <a:pt x="1578" y="300"/>
                  </a:cubicBezTo>
                  <a:cubicBezTo>
                    <a:pt x="1578" y="300"/>
                    <a:pt x="1562" y="272"/>
                    <a:pt x="1561" y="268"/>
                  </a:cubicBezTo>
                  <a:cubicBezTo>
                    <a:pt x="1560" y="264"/>
                    <a:pt x="1525" y="259"/>
                    <a:pt x="1525" y="259"/>
                  </a:cubicBezTo>
                  <a:cubicBezTo>
                    <a:pt x="1525" y="259"/>
                    <a:pt x="1504" y="230"/>
                    <a:pt x="1481" y="226"/>
                  </a:cubicBezTo>
                  <a:cubicBezTo>
                    <a:pt x="1458" y="222"/>
                    <a:pt x="1442" y="243"/>
                    <a:pt x="1430" y="244"/>
                  </a:cubicBezTo>
                  <a:cubicBezTo>
                    <a:pt x="1418" y="246"/>
                    <a:pt x="1404" y="230"/>
                    <a:pt x="1404" y="230"/>
                  </a:cubicBezTo>
                  <a:cubicBezTo>
                    <a:pt x="1404" y="230"/>
                    <a:pt x="1386" y="228"/>
                    <a:pt x="1382" y="227"/>
                  </a:cubicBezTo>
                  <a:cubicBezTo>
                    <a:pt x="1378" y="226"/>
                    <a:pt x="1382" y="210"/>
                    <a:pt x="1372" y="207"/>
                  </a:cubicBezTo>
                  <a:cubicBezTo>
                    <a:pt x="1361" y="204"/>
                    <a:pt x="1365" y="234"/>
                    <a:pt x="1348" y="236"/>
                  </a:cubicBezTo>
                  <a:cubicBezTo>
                    <a:pt x="1330" y="239"/>
                    <a:pt x="1306" y="200"/>
                    <a:pt x="1292" y="187"/>
                  </a:cubicBezTo>
                  <a:cubicBezTo>
                    <a:pt x="1277" y="174"/>
                    <a:pt x="1205" y="107"/>
                    <a:pt x="1200" y="104"/>
                  </a:cubicBezTo>
                  <a:cubicBezTo>
                    <a:pt x="1194" y="102"/>
                    <a:pt x="1126" y="70"/>
                    <a:pt x="1126" y="70"/>
                  </a:cubicBezTo>
                  <a:cubicBezTo>
                    <a:pt x="1126" y="70"/>
                    <a:pt x="1146" y="58"/>
                    <a:pt x="1138" y="47"/>
                  </a:cubicBezTo>
                  <a:cubicBezTo>
                    <a:pt x="1130" y="36"/>
                    <a:pt x="1118" y="58"/>
                    <a:pt x="1118" y="58"/>
                  </a:cubicBezTo>
                  <a:cubicBezTo>
                    <a:pt x="1094" y="66"/>
                    <a:pt x="1094" y="66"/>
                    <a:pt x="1094" y="66"/>
                  </a:cubicBezTo>
                  <a:cubicBezTo>
                    <a:pt x="1085" y="76"/>
                    <a:pt x="1085" y="76"/>
                    <a:pt x="1085" y="76"/>
                  </a:cubicBezTo>
                  <a:cubicBezTo>
                    <a:pt x="1085" y="76"/>
                    <a:pt x="1077" y="78"/>
                    <a:pt x="1070" y="82"/>
                  </a:cubicBezTo>
                  <a:cubicBezTo>
                    <a:pt x="1064" y="86"/>
                    <a:pt x="1072" y="94"/>
                    <a:pt x="1064" y="100"/>
                  </a:cubicBezTo>
                  <a:cubicBezTo>
                    <a:pt x="1056" y="107"/>
                    <a:pt x="1041" y="91"/>
                    <a:pt x="1034" y="88"/>
                  </a:cubicBezTo>
                  <a:cubicBezTo>
                    <a:pt x="1028" y="86"/>
                    <a:pt x="1026" y="99"/>
                    <a:pt x="1016" y="98"/>
                  </a:cubicBezTo>
                  <a:cubicBezTo>
                    <a:pt x="1005" y="96"/>
                    <a:pt x="1026" y="80"/>
                    <a:pt x="1017" y="71"/>
                  </a:cubicBezTo>
                  <a:cubicBezTo>
                    <a:pt x="1008" y="62"/>
                    <a:pt x="1002" y="74"/>
                    <a:pt x="1002" y="74"/>
                  </a:cubicBezTo>
                  <a:cubicBezTo>
                    <a:pt x="985" y="63"/>
                    <a:pt x="985" y="63"/>
                    <a:pt x="985" y="63"/>
                  </a:cubicBezTo>
                  <a:cubicBezTo>
                    <a:pt x="972" y="71"/>
                    <a:pt x="972" y="71"/>
                    <a:pt x="972" y="71"/>
                  </a:cubicBezTo>
                  <a:cubicBezTo>
                    <a:pt x="953" y="50"/>
                    <a:pt x="953" y="50"/>
                    <a:pt x="953" y="50"/>
                  </a:cubicBezTo>
                  <a:cubicBezTo>
                    <a:pt x="946" y="60"/>
                    <a:pt x="946" y="60"/>
                    <a:pt x="946" y="60"/>
                  </a:cubicBezTo>
                  <a:cubicBezTo>
                    <a:pt x="946" y="60"/>
                    <a:pt x="918" y="64"/>
                    <a:pt x="913" y="64"/>
                  </a:cubicBezTo>
                  <a:cubicBezTo>
                    <a:pt x="908" y="64"/>
                    <a:pt x="909" y="43"/>
                    <a:pt x="909" y="36"/>
                  </a:cubicBezTo>
                  <a:cubicBezTo>
                    <a:pt x="909" y="30"/>
                    <a:pt x="897" y="30"/>
                    <a:pt x="897" y="30"/>
                  </a:cubicBezTo>
                  <a:cubicBezTo>
                    <a:pt x="897" y="30"/>
                    <a:pt x="892" y="12"/>
                    <a:pt x="884" y="7"/>
                  </a:cubicBezTo>
                  <a:cubicBezTo>
                    <a:pt x="876" y="2"/>
                    <a:pt x="869" y="11"/>
                    <a:pt x="864" y="11"/>
                  </a:cubicBezTo>
                  <a:cubicBezTo>
                    <a:pt x="858" y="11"/>
                    <a:pt x="845" y="0"/>
                    <a:pt x="812" y="2"/>
                  </a:cubicBezTo>
                  <a:cubicBezTo>
                    <a:pt x="778" y="3"/>
                    <a:pt x="781" y="23"/>
                    <a:pt x="781" y="23"/>
                  </a:cubicBezTo>
                  <a:cubicBezTo>
                    <a:pt x="781" y="23"/>
                    <a:pt x="761" y="30"/>
                    <a:pt x="740" y="35"/>
                  </a:cubicBezTo>
                  <a:cubicBezTo>
                    <a:pt x="718" y="40"/>
                    <a:pt x="690" y="36"/>
                    <a:pt x="682" y="36"/>
                  </a:cubicBezTo>
                  <a:cubicBezTo>
                    <a:pt x="674" y="36"/>
                    <a:pt x="674" y="52"/>
                    <a:pt x="674" y="52"/>
                  </a:cubicBezTo>
                  <a:cubicBezTo>
                    <a:pt x="632" y="52"/>
                    <a:pt x="632" y="52"/>
                    <a:pt x="632" y="52"/>
                  </a:cubicBezTo>
                  <a:cubicBezTo>
                    <a:pt x="628" y="64"/>
                    <a:pt x="628" y="64"/>
                    <a:pt x="628" y="64"/>
                  </a:cubicBezTo>
                  <a:cubicBezTo>
                    <a:pt x="628" y="64"/>
                    <a:pt x="596" y="63"/>
                    <a:pt x="550" y="70"/>
                  </a:cubicBezTo>
                  <a:cubicBezTo>
                    <a:pt x="505" y="76"/>
                    <a:pt x="521" y="95"/>
                    <a:pt x="521" y="95"/>
                  </a:cubicBezTo>
                  <a:cubicBezTo>
                    <a:pt x="540" y="96"/>
                    <a:pt x="540" y="96"/>
                    <a:pt x="540" y="96"/>
                  </a:cubicBezTo>
                  <a:cubicBezTo>
                    <a:pt x="529" y="108"/>
                    <a:pt x="529" y="108"/>
                    <a:pt x="529" y="108"/>
                  </a:cubicBezTo>
                  <a:cubicBezTo>
                    <a:pt x="529" y="108"/>
                    <a:pt x="572" y="116"/>
                    <a:pt x="572" y="123"/>
                  </a:cubicBezTo>
                  <a:cubicBezTo>
                    <a:pt x="572" y="130"/>
                    <a:pt x="534" y="123"/>
                    <a:pt x="534" y="123"/>
                  </a:cubicBezTo>
                  <a:cubicBezTo>
                    <a:pt x="528" y="134"/>
                    <a:pt x="528" y="134"/>
                    <a:pt x="528" y="134"/>
                  </a:cubicBezTo>
                  <a:cubicBezTo>
                    <a:pt x="528" y="134"/>
                    <a:pt x="541" y="151"/>
                    <a:pt x="540" y="158"/>
                  </a:cubicBezTo>
                  <a:cubicBezTo>
                    <a:pt x="538" y="164"/>
                    <a:pt x="505" y="170"/>
                    <a:pt x="505" y="170"/>
                  </a:cubicBezTo>
                  <a:cubicBezTo>
                    <a:pt x="528" y="190"/>
                    <a:pt x="528" y="190"/>
                    <a:pt x="528" y="190"/>
                  </a:cubicBezTo>
                  <a:cubicBezTo>
                    <a:pt x="528" y="190"/>
                    <a:pt x="578" y="187"/>
                    <a:pt x="582" y="226"/>
                  </a:cubicBezTo>
                  <a:cubicBezTo>
                    <a:pt x="586" y="264"/>
                    <a:pt x="526" y="234"/>
                    <a:pt x="526" y="234"/>
                  </a:cubicBezTo>
                  <a:cubicBezTo>
                    <a:pt x="520" y="250"/>
                    <a:pt x="520" y="250"/>
                    <a:pt x="520" y="250"/>
                  </a:cubicBezTo>
                  <a:cubicBezTo>
                    <a:pt x="520" y="250"/>
                    <a:pt x="497" y="246"/>
                    <a:pt x="486" y="244"/>
                  </a:cubicBezTo>
                  <a:cubicBezTo>
                    <a:pt x="476" y="243"/>
                    <a:pt x="464" y="222"/>
                    <a:pt x="456" y="220"/>
                  </a:cubicBezTo>
                  <a:cubicBezTo>
                    <a:pt x="448" y="219"/>
                    <a:pt x="437" y="228"/>
                    <a:pt x="421" y="232"/>
                  </a:cubicBezTo>
                  <a:cubicBezTo>
                    <a:pt x="405" y="236"/>
                    <a:pt x="394" y="220"/>
                    <a:pt x="385" y="222"/>
                  </a:cubicBezTo>
                  <a:cubicBezTo>
                    <a:pt x="376" y="223"/>
                    <a:pt x="358" y="243"/>
                    <a:pt x="356" y="247"/>
                  </a:cubicBezTo>
                  <a:cubicBezTo>
                    <a:pt x="353" y="251"/>
                    <a:pt x="312" y="220"/>
                    <a:pt x="301" y="223"/>
                  </a:cubicBezTo>
                  <a:cubicBezTo>
                    <a:pt x="290" y="226"/>
                    <a:pt x="313" y="243"/>
                    <a:pt x="305" y="250"/>
                  </a:cubicBezTo>
                  <a:cubicBezTo>
                    <a:pt x="297" y="256"/>
                    <a:pt x="289" y="236"/>
                    <a:pt x="289" y="236"/>
                  </a:cubicBezTo>
                  <a:cubicBezTo>
                    <a:pt x="282" y="216"/>
                    <a:pt x="282" y="216"/>
                    <a:pt x="282" y="216"/>
                  </a:cubicBezTo>
                  <a:cubicBezTo>
                    <a:pt x="258" y="218"/>
                    <a:pt x="258" y="218"/>
                    <a:pt x="258" y="218"/>
                  </a:cubicBezTo>
                  <a:cubicBezTo>
                    <a:pt x="258" y="218"/>
                    <a:pt x="256" y="206"/>
                    <a:pt x="252" y="202"/>
                  </a:cubicBezTo>
                  <a:cubicBezTo>
                    <a:pt x="248" y="198"/>
                    <a:pt x="224" y="203"/>
                    <a:pt x="214" y="202"/>
                  </a:cubicBezTo>
                  <a:cubicBezTo>
                    <a:pt x="205" y="200"/>
                    <a:pt x="204" y="187"/>
                    <a:pt x="197" y="187"/>
                  </a:cubicBezTo>
                  <a:cubicBezTo>
                    <a:pt x="190" y="187"/>
                    <a:pt x="177" y="200"/>
                    <a:pt x="161" y="200"/>
                  </a:cubicBezTo>
                  <a:cubicBezTo>
                    <a:pt x="145" y="200"/>
                    <a:pt x="153" y="187"/>
                    <a:pt x="130" y="188"/>
                  </a:cubicBezTo>
                  <a:cubicBezTo>
                    <a:pt x="108" y="190"/>
                    <a:pt x="130" y="198"/>
                    <a:pt x="122" y="208"/>
                  </a:cubicBezTo>
                  <a:cubicBezTo>
                    <a:pt x="114" y="219"/>
                    <a:pt x="86" y="224"/>
                    <a:pt x="86" y="224"/>
                  </a:cubicBezTo>
                  <a:cubicBezTo>
                    <a:pt x="86" y="239"/>
                    <a:pt x="86" y="239"/>
                    <a:pt x="86" y="239"/>
                  </a:cubicBezTo>
                  <a:cubicBezTo>
                    <a:pt x="68" y="248"/>
                    <a:pt x="68" y="248"/>
                    <a:pt x="68" y="248"/>
                  </a:cubicBezTo>
                  <a:cubicBezTo>
                    <a:pt x="68" y="248"/>
                    <a:pt x="86" y="263"/>
                    <a:pt x="72" y="278"/>
                  </a:cubicBezTo>
                  <a:cubicBezTo>
                    <a:pt x="57" y="292"/>
                    <a:pt x="29" y="250"/>
                    <a:pt x="17" y="251"/>
                  </a:cubicBezTo>
                  <a:cubicBezTo>
                    <a:pt x="5" y="252"/>
                    <a:pt x="13" y="271"/>
                    <a:pt x="13" y="279"/>
                  </a:cubicBezTo>
                  <a:cubicBezTo>
                    <a:pt x="13" y="287"/>
                    <a:pt x="0" y="284"/>
                    <a:pt x="0" y="284"/>
                  </a:cubicBezTo>
                  <a:cubicBezTo>
                    <a:pt x="2" y="308"/>
                    <a:pt x="2" y="308"/>
                    <a:pt x="2" y="308"/>
                  </a:cubicBezTo>
                  <a:cubicBezTo>
                    <a:pt x="2" y="308"/>
                    <a:pt x="8" y="314"/>
                    <a:pt x="8" y="322"/>
                  </a:cubicBezTo>
                  <a:cubicBezTo>
                    <a:pt x="8" y="330"/>
                    <a:pt x="0" y="342"/>
                    <a:pt x="0" y="358"/>
                  </a:cubicBezTo>
                  <a:cubicBezTo>
                    <a:pt x="0" y="374"/>
                    <a:pt x="10" y="364"/>
                    <a:pt x="22" y="370"/>
                  </a:cubicBezTo>
                  <a:cubicBezTo>
                    <a:pt x="34" y="375"/>
                    <a:pt x="20" y="390"/>
                    <a:pt x="32" y="395"/>
                  </a:cubicBezTo>
                  <a:cubicBezTo>
                    <a:pt x="44" y="400"/>
                    <a:pt x="68" y="391"/>
                    <a:pt x="73" y="394"/>
                  </a:cubicBezTo>
                  <a:cubicBezTo>
                    <a:pt x="78" y="396"/>
                    <a:pt x="117" y="436"/>
                    <a:pt x="117" y="444"/>
                  </a:cubicBezTo>
                  <a:cubicBezTo>
                    <a:pt x="117" y="452"/>
                    <a:pt x="94" y="443"/>
                    <a:pt x="94" y="451"/>
                  </a:cubicBezTo>
                  <a:cubicBezTo>
                    <a:pt x="94" y="459"/>
                    <a:pt x="129" y="470"/>
                    <a:pt x="129" y="470"/>
                  </a:cubicBezTo>
                  <a:cubicBezTo>
                    <a:pt x="136" y="460"/>
                    <a:pt x="136" y="460"/>
                    <a:pt x="136" y="460"/>
                  </a:cubicBezTo>
                  <a:cubicBezTo>
                    <a:pt x="136" y="460"/>
                    <a:pt x="145" y="462"/>
                    <a:pt x="152" y="455"/>
                  </a:cubicBezTo>
                  <a:cubicBezTo>
                    <a:pt x="158" y="448"/>
                    <a:pt x="208" y="427"/>
                    <a:pt x="214" y="430"/>
                  </a:cubicBezTo>
                  <a:cubicBezTo>
                    <a:pt x="221" y="432"/>
                    <a:pt x="242" y="448"/>
                    <a:pt x="252" y="448"/>
                  </a:cubicBezTo>
                  <a:cubicBezTo>
                    <a:pt x="261" y="448"/>
                    <a:pt x="269" y="430"/>
                    <a:pt x="289" y="455"/>
                  </a:cubicBezTo>
                  <a:cubicBezTo>
                    <a:pt x="309" y="480"/>
                    <a:pt x="293" y="488"/>
                    <a:pt x="290" y="496"/>
                  </a:cubicBezTo>
                  <a:cubicBezTo>
                    <a:pt x="288" y="504"/>
                    <a:pt x="309" y="520"/>
                    <a:pt x="316" y="523"/>
                  </a:cubicBezTo>
                  <a:cubicBezTo>
                    <a:pt x="322" y="526"/>
                    <a:pt x="333" y="511"/>
                    <a:pt x="341" y="507"/>
                  </a:cubicBezTo>
                  <a:cubicBezTo>
                    <a:pt x="349" y="503"/>
                    <a:pt x="352" y="516"/>
                    <a:pt x="352" y="524"/>
                  </a:cubicBezTo>
                  <a:cubicBezTo>
                    <a:pt x="352" y="532"/>
                    <a:pt x="364" y="542"/>
                    <a:pt x="364" y="542"/>
                  </a:cubicBezTo>
                  <a:cubicBezTo>
                    <a:pt x="337" y="543"/>
                    <a:pt x="337" y="543"/>
                    <a:pt x="337" y="543"/>
                  </a:cubicBezTo>
                  <a:cubicBezTo>
                    <a:pt x="337" y="543"/>
                    <a:pt x="338" y="563"/>
                    <a:pt x="325" y="554"/>
                  </a:cubicBezTo>
                  <a:cubicBezTo>
                    <a:pt x="312" y="544"/>
                    <a:pt x="338" y="531"/>
                    <a:pt x="338" y="531"/>
                  </a:cubicBezTo>
                  <a:cubicBezTo>
                    <a:pt x="338" y="531"/>
                    <a:pt x="290" y="528"/>
                    <a:pt x="282" y="526"/>
                  </a:cubicBezTo>
                  <a:cubicBezTo>
                    <a:pt x="274" y="523"/>
                    <a:pt x="232" y="515"/>
                    <a:pt x="232" y="515"/>
                  </a:cubicBezTo>
                  <a:cubicBezTo>
                    <a:pt x="240" y="538"/>
                    <a:pt x="240" y="538"/>
                    <a:pt x="240" y="538"/>
                  </a:cubicBezTo>
                  <a:cubicBezTo>
                    <a:pt x="240" y="538"/>
                    <a:pt x="224" y="531"/>
                    <a:pt x="218" y="544"/>
                  </a:cubicBezTo>
                  <a:cubicBezTo>
                    <a:pt x="213" y="558"/>
                    <a:pt x="249" y="559"/>
                    <a:pt x="248" y="567"/>
                  </a:cubicBezTo>
                  <a:cubicBezTo>
                    <a:pt x="246" y="575"/>
                    <a:pt x="198" y="550"/>
                    <a:pt x="193" y="562"/>
                  </a:cubicBezTo>
                  <a:cubicBezTo>
                    <a:pt x="188" y="574"/>
                    <a:pt x="221" y="582"/>
                    <a:pt x="221" y="582"/>
                  </a:cubicBezTo>
                  <a:cubicBezTo>
                    <a:pt x="221" y="582"/>
                    <a:pt x="221" y="590"/>
                    <a:pt x="228" y="598"/>
                  </a:cubicBezTo>
                  <a:cubicBezTo>
                    <a:pt x="234" y="606"/>
                    <a:pt x="248" y="622"/>
                    <a:pt x="248" y="622"/>
                  </a:cubicBezTo>
                  <a:cubicBezTo>
                    <a:pt x="246" y="636"/>
                    <a:pt x="246" y="636"/>
                    <a:pt x="246" y="636"/>
                  </a:cubicBezTo>
                  <a:cubicBezTo>
                    <a:pt x="269" y="639"/>
                    <a:pt x="269" y="639"/>
                    <a:pt x="269" y="639"/>
                  </a:cubicBezTo>
                  <a:cubicBezTo>
                    <a:pt x="274" y="654"/>
                    <a:pt x="274" y="654"/>
                    <a:pt x="274" y="654"/>
                  </a:cubicBezTo>
                  <a:cubicBezTo>
                    <a:pt x="274" y="654"/>
                    <a:pt x="309" y="654"/>
                    <a:pt x="320" y="664"/>
                  </a:cubicBezTo>
                  <a:cubicBezTo>
                    <a:pt x="330" y="675"/>
                    <a:pt x="308" y="686"/>
                    <a:pt x="306" y="696"/>
                  </a:cubicBezTo>
                  <a:cubicBezTo>
                    <a:pt x="305" y="707"/>
                    <a:pt x="316" y="708"/>
                    <a:pt x="316" y="708"/>
                  </a:cubicBezTo>
                  <a:cubicBezTo>
                    <a:pt x="317" y="704"/>
                    <a:pt x="323" y="707"/>
                    <a:pt x="328" y="709"/>
                  </a:cubicBezTo>
                  <a:cubicBezTo>
                    <a:pt x="330" y="703"/>
                    <a:pt x="336" y="683"/>
                    <a:pt x="344" y="682"/>
                  </a:cubicBezTo>
                  <a:cubicBezTo>
                    <a:pt x="349" y="681"/>
                    <a:pt x="357" y="682"/>
                    <a:pt x="363" y="683"/>
                  </a:cubicBezTo>
                  <a:cubicBezTo>
                    <a:pt x="364" y="681"/>
                    <a:pt x="364" y="679"/>
                    <a:pt x="365" y="678"/>
                  </a:cubicBezTo>
                  <a:cubicBezTo>
                    <a:pt x="368" y="674"/>
                    <a:pt x="400" y="686"/>
                    <a:pt x="408" y="690"/>
                  </a:cubicBezTo>
                  <a:cubicBezTo>
                    <a:pt x="416" y="694"/>
                    <a:pt x="426" y="707"/>
                    <a:pt x="426" y="707"/>
                  </a:cubicBezTo>
                  <a:cubicBezTo>
                    <a:pt x="426" y="707"/>
                    <a:pt x="444" y="732"/>
                    <a:pt x="454" y="738"/>
                  </a:cubicBezTo>
                  <a:cubicBezTo>
                    <a:pt x="463" y="742"/>
                    <a:pt x="464" y="732"/>
                    <a:pt x="468" y="729"/>
                  </a:cubicBezTo>
                  <a:cubicBezTo>
                    <a:pt x="468" y="729"/>
                    <a:pt x="468" y="729"/>
                    <a:pt x="468" y="729"/>
                  </a:cubicBezTo>
                  <a:cubicBezTo>
                    <a:pt x="433" y="542"/>
                    <a:pt x="433" y="542"/>
                    <a:pt x="433" y="542"/>
                  </a:cubicBezTo>
                  <a:cubicBezTo>
                    <a:pt x="529" y="511"/>
                    <a:pt x="529" y="511"/>
                    <a:pt x="529" y="511"/>
                  </a:cubicBezTo>
                  <a:cubicBezTo>
                    <a:pt x="536" y="514"/>
                    <a:pt x="536" y="514"/>
                    <a:pt x="536" y="514"/>
                  </a:cubicBezTo>
                  <a:cubicBezTo>
                    <a:pt x="536" y="513"/>
                    <a:pt x="536" y="513"/>
                    <a:pt x="536" y="513"/>
                  </a:cubicBezTo>
                  <a:cubicBezTo>
                    <a:pt x="536" y="513"/>
                    <a:pt x="540" y="501"/>
                    <a:pt x="541" y="491"/>
                  </a:cubicBezTo>
                  <a:cubicBezTo>
                    <a:pt x="542" y="481"/>
                    <a:pt x="561" y="486"/>
                    <a:pt x="561" y="486"/>
                  </a:cubicBezTo>
                  <a:cubicBezTo>
                    <a:pt x="566" y="501"/>
                    <a:pt x="566" y="501"/>
                    <a:pt x="566" y="501"/>
                  </a:cubicBezTo>
                  <a:cubicBezTo>
                    <a:pt x="566" y="501"/>
                    <a:pt x="580" y="495"/>
                    <a:pt x="582" y="492"/>
                  </a:cubicBezTo>
                  <a:cubicBezTo>
                    <a:pt x="584" y="489"/>
                    <a:pt x="568" y="471"/>
                    <a:pt x="568" y="471"/>
                  </a:cubicBezTo>
                  <a:cubicBezTo>
                    <a:pt x="578" y="471"/>
                    <a:pt x="578" y="471"/>
                    <a:pt x="578" y="471"/>
                  </a:cubicBezTo>
                  <a:cubicBezTo>
                    <a:pt x="587" y="480"/>
                    <a:pt x="587" y="480"/>
                    <a:pt x="587" y="480"/>
                  </a:cubicBezTo>
                  <a:cubicBezTo>
                    <a:pt x="604" y="479"/>
                    <a:pt x="604" y="479"/>
                    <a:pt x="604" y="479"/>
                  </a:cubicBezTo>
                  <a:cubicBezTo>
                    <a:pt x="604" y="479"/>
                    <a:pt x="618" y="483"/>
                    <a:pt x="621" y="479"/>
                  </a:cubicBezTo>
                  <a:cubicBezTo>
                    <a:pt x="624" y="475"/>
                    <a:pt x="619" y="471"/>
                    <a:pt x="615" y="471"/>
                  </a:cubicBezTo>
                  <a:cubicBezTo>
                    <a:pt x="611" y="471"/>
                    <a:pt x="603" y="466"/>
                    <a:pt x="603" y="466"/>
                  </a:cubicBezTo>
                  <a:cubicBezTo>
                    <a:pt x="603" y="466"/>
                    <a:pt x="587" y="470"/>
                    <a:pt x="584" y="460"/>
                  </a:cubicBezTo>
                  <a:cubicBezTo>
                    <a:pt x="581" y="450"/>
                    <a:pt x="604" y="452"/>
                    <a:pt x="604" y="452"/>
                  </a:cubicBezTo>
                  <a:cubicBezTo>
                    <a:pt x="613" y="444"/>
                    <a:pt x="613" y="444"/>
                    <a:pt x="613" y="444"/>
                  </a:cubicBezTo>
                  <a:cubicBezTo>
                    <a:pt x="613" y="444"/>
                    <a:pt x="625" y="461"/>
                    <a:pt x="628" y="461"/>
                  </a:cubicBezTo>
                  <a:cubicBezTo>
                    <a:pt x="631" y="461"/>
                    <a:pt x="636" y="455"/>
                    <a:pt x="636" y="455"/>
                  </a:cubicBezTo>
                  <a:cubicBezTo>
                    <a:pt x="636" y="455"/>
                    <a:pt x="645" y="465"/>
                    <a:pt x="642" y="471"/>
                  </a:cubicBezTo>
                  <a:cubicBezTo>
                    <a:pt x="639" y="477"/>
                    <a:pt x="625" y="481"/>
                    <a:pt x="625" y="481"/>
                  </a:cubicBezTo>
                  <a:cubicBezTo>
                    <a:pt x="625" y="481"/>
                    <a:pt x="617" y="488"/>
                    <a:pt x="613" y="492"/>
                  </a:cubicBezTo>
                  <a:cubicBezTo>
                    <a:pt x="609" y="496"/>
                    <a:pt x="593" y="491"/>
                    <a:pt x="590" y="493"/>
                  </a:cubicBezTo>
                  <a:cubicBezTo>
                    <a:pt x="587" y="495"/>
                    <a:pt x="587" y="506"/>
                    <a:pt x="587" y="506"/>
                  </a:cubicBezTo>
                  <a:cubicBezTo>
                    <a:pt x="587" y="506"/>
                    <a:pt x="602" y="512"/>
                    <a:pt x="606" y="513"/>
                  </a:cubicBezTo>
                  <a:cubicBezTo>
                    <a:pt x="610" y="514"/>
                    <a:pt x="613" y="523"/>
                    <a:pt x="607" y="532"/>
                  </a:cubicBezTo>
                  <a:cubicBezTo>
                    <a:pt x="604" y="536"/>
                    <a:pt x="607" y="542"/>
                    <a:pt x="610" y="549"/>
                  </a:cubicBezTo>
                  <a:cubicBezTo>
                    <a:pt x="656" y="571"/>
                    <a:pt x="656" y="571"/>
                    <a:pt x="656" y="571"/>
                  </a:cubicBezTo>
                  <a:cubicBezTo>
                    <a:pt x="705" y="619"/>
                    <a:pt x="705" y="619"/>
                    <a:pt x="705" y="619"/>
                  </a:cubicBezTo>
                  <a:cubicBezTo>
                    <a:pt x="705" y="619"/>
                    <a:pt x="742" y="612"/>
                    <a:pt x="758" y="612"/>
                  </a:cubicBezTo>
                  <a:cubicBezTo>
                    <a:pt x="774" y="612"/>
                    <a:pt x="812" y="616"/>
                    <a:pt x="812" y="616"/>
                  </a:cubicBezTo>
                  <a:cubicBezTo>
                    <a:pt x="812" y="616"/>
                    <a:pt x="830" y="604"/>
                    <a:pt x="837" y="604"/>
                  </a:cubicBezTo>
                  <a:cubicBezTo>
                    <a:pt x="844" y="604"/>
                    <a:pt x="874" y="647"/>
                    <a:pt x="874" y="647"/>
                  </a:cubicBezTo>
                  <a:cubicBezTo>
                    <a:pt x="874" y="647"/>
                    <a:pt x="889" y="646"/>
                    <a:pt x="894" y="647"/>
                  </a:cubicBezTo>
                  <a:cubicBezTo>
                    <a:pt x="900" y="648"/>
                    <a:pt x="893" y="696"/>
                    <a:pt x="902" y="699"/>
                  </a:cubicBezTo>
                  <a:cubicBezTo>
                    <a:pt x="912" y="702"/>
                    <a:pt x="912" y="688"/>
                    <a:pt x="921" y="699"/>
                  </a:cubicBezTo>
                  <a:cubicBezTo>
                    <a:pt x="930" y="710"/>
                    <a:pt x="932" y="734"/>
                    <a:pt x="942" y="739"/>
                  </a:cubicBezTo>
                  <a:cubicBezTo>
                    <a:pt x="953" y="744"/>
                    <a:pt x="1000" y="735"/>
                    <a:pt x="1006" y="744"/>
                  </a:cubicBezTo>
                  <a:cubicBezTo>
                    <a:pt x="1013" y="754"/>
                    <a:pt x="996" y="767"/>
                    <a:pt x="1006" y="770"/>
                  </a:cubicBezTo>
                  <a:cubicBezTo>
                    <a:pt x="1017" y="772"/>
                    <a:pt x="1028" y="778"/>
                    <a:pt x="1028" y="778"/>
                  </a:cubicBezTo>
                  <a:cubicBezTo>
                    <a:pt x="1028" y="778"/>
                    <a:pt x="1020" y="754"/>
                    <a:pt x="1029" y="747"/>
                  </a:cubicBezTo>
                  <a:cubicBezTo>
                    <a:pt x="1038" y="740"/>
                    <a:pt x="1046" y="740"/>
                    <a:pt x="1046" y="740"/>
                  </a:cubicBezTo>
                  <a:cubicBezTo>
                    <a:pt x="1046" y="740"/>
                    <a:pt x="1045" y="722"/>
                    <a:pt x="1056" y="719"/>
                  </a:cubicBezTo>
                  <a:cubicBezTo>
                    <a:pt x="1066" y="716"/>
                    <a:pt x="1078" y="714"/>
                    <a:pt x="1078" y="714"/>
                  </a:cubicBezTo>
                  <a:cubicBezTo>
                    <a:pt x="1086" y="696"/>
                    <a:pt x="1086" y="696"/>
                    <a:pt x="1086" y="696"/>
                  </a:cubicBezTo>
                  <a:cubicBezTo>
                    <a:pt x="1104" y="695"/>
                    <a:pt x="1104" y="695"/>
                    <a:pt x="1104" y="695"/>
                  </a:cubicBezTo>
                  <a:cubicBezTo>
                    <a:pt x="1123" y="686"/>
                    <a:pt x="1123" y="686"/>
                    <a:pt x="1123" y="686"/>
                  </a:cubicBezTo>
                  <a:cubicBezTo>
                    <a:pt x="1117" y="683"/>
                    <a:pt x="1107" y="683"/>
                    <a:pt x="1107" y="683"/>
                  </a:cubicBezTo>
                  <a:cubicBezTo>
                    <a:pt x="1107" y="683"/>
                    <a:pt x="1108" y="654"/>
                    <a:pt x="1131" y="653"/>
                  </a:cubicBezTo>
                  <a:cubicBezTo>
                    <a:pt x="1154" y="652"/>
                    <a:pt x="1185" y="672"/>
                    <a:pt x="1185" y="672"/>
                  </a:cubicBezTo>
                  <a:cubicBezTo>
                    <a:pt x="1208" y="672"/>
                    <a:pt x="1208" y="672"/>
                    <a:pt x="1208" y="672"/>
                  </a:cubicBezTo>
                  <a:cubicBezTo>
                    <a:pt x="1219" y="678"/>
                    <a:pt x="1219" y="678"/>
                    <a:pt x="1219" y="678"/>
                  </a:cubicBezTo>
                  <a:cubicBezTo>
                    <a:pt x="1219" y="678"/>
                    <a:pt x="1211" y="643"/>
                    <a:pt x="1214" y="640"/>
                  </a:cubicBezTo>
                  <a:cubicBezTo>
                    <a:pt x="1217" y="637"/>
                    <a:pt x="1230" y="635"/>
                    <a:pt x="1240" y="635"/>
                  </a:cubicBezTo>
                  <a:cubicBezTo>
                    <a:pt x="1250" y="635"/>
                    <a:pt x="1260" y="647"/>
                    <a:pt x="1264" y="647"/>
                  </a:cubicBezTo>
                  <a:cubicBezTo>
                    <a:pt x="1268" y="647"/>
                    <a:pt x="1296" y="653"/>
                    <a:pt x="1296" y="653"/>
                  </a:cubicBezTo>
                  <a:cubicBezTo>
                    <a:pt x="1308" y="649"/>
                    <a:pt x="1308" y="649"/>
                    <a:pt x="1308" y="649"/>
                  </a:cubicBezTo>
                  <a:cubicBezTo>
                    <a:pt x="1308" y="649"/>
                    <a:pt x="1356" y="649"/>
                    <a:pt x="1364" y="648"/>
                  </a:cubicBezTo>
                  <a:cubicBezTo>
                    <a:pt x="1372" y="647"/>
                    <a:pt x="1402" y="651"/>
                    <a:pt x="1402" y="651"/>
                  </a:cubicBezTo>
                  <a:cubicBezTo>
                    <a:pt x="1434" y="650"/>
                    <a:pt x="1434" y="650"/>
                    <a:pt x="1434" y="650"/>
                  </a:cubicBezTo>
                  <a:cubicBezTo>
                    <a:pt x="1442" y="658"/>
                    <a:pt x="1442" y="658"/>
                    <a:pt x="1442" y="658"/>
                  </a:cubicBezTo>
                  <a:cubicBezTo>
                    <a:pt x="1454" y="658"/>
                    <a:pt x="1454" y="658"/>
                    <a:pt x="1454" y="658"/>
                  </a:cubicBezTo>
                  <a:cubicBezTo>
                    <a:pt x="1471" y="676"/>
                    <a:pt x="1471" y="676"/>
                    <a:pt x="1471" y="676"/>
                  </a:cubicBezTo>
                  <a:cubicBezTo>
                    <a:pt x="1499" y="676"/>
                    <a:pt x="1499" y="676"/>
                    <a:pt x="1499" y="676"/>
                  </a:cubicBezTo>
                  <a:cubicBezTo>
                    <a:pt x="1513" y="681"/>
                    <a:pt x="1513" y="681"/>
                    <a:pt x="1513" y="681"/>
                  </a:cubicBezTo>
                  <a:cubicBezTo>
                    <a:pt x="1512" y="680"/>
                    <a:pt x="1512" y="680"/>
                    <a:pt x="1512" y="680"/>
                  </a:cubicBezTo>
                  <a:cubicBezTo>
                    <a:pt x="1507" y="675"/>
                    <a:pt x="1503" y="664"/>
                    <a:pt x="1503" y="659"/>
                  </a:cubicBezTo>
                  <a:cubicBezTo>
                    <a:pt x="1503" y="654"/>
                    <a:pt x="1517" y="656"/>
                    <a:pt x="1517" y="656"/>
                  </a:cubicBezTo>
                  <a:cubicBezTo>
                    <a:pt x="1517" y="656"/>
                    <a:pt x="1506" y="644"/>
                    <a:pt x="1506" y="641"/>
                  </a:cubicBezTo>
                  <a:cubicBezTo>
                    <a:pt x="1506" y="638"/>
                    <a:pt x="1522" y="641"/>
                    <a:pt x="1522" y="634"/>
                  </a:cubicBezTo>
                  <a:cubicBezTo>
                    <a:pt x="1522" y="627"/>
                    <a:pt x="1492" y="596"/>
                    <a:pt x="1484" y="587"/>
                  </a:cubicBezTo>
                  <a:cubicBezTo>
                    <a:pt x="1476" y="578"/>
                    <a:pt x="1476" y="552"/>
                    <a:pt x="1476" y="552"/>
                  </a:cubicBezTo>
                  <a:cubicBezTo>
                    <a:pt x="1476" y="552"/>
                    <a:pt x="1458" y="555"/>
                    <a:pt x="1451" y="546"/>
                  </a:cubicBezTo>
                  <a:cubicBezTo>
                    <a:pt x="1444" y="537"/>
                    <a:pt x="1475" y="530"/>
                    <a:pt x="1481" y="529"/>
                  </a:cubicBezTo>
                  <a:cubicBezTo>
                    <a:pt x="1487" y="528"/>
                    <a:pt x="1511" y="518"/>
                    <a:pt x="1516" y="518"/>
                  </a:cubicBezTo>
                  <a:cubicBezTo>
                    <a:pt x="1521" y="518"/>
                    <a:pt x="1530" y="532"/>
                    <a:pt x="1530" y="532"/>
                  </a:cubicBezTo>
                  <a:cubicBezTo>
                    <a:pt x="1543" y="525"/>
                    <a:pt x="1543" y="525"/>
                    <a:pt x="1543" y="525"/>
                  </a:cubicBezTo>
                  <a:cubicBezTo>
                    <a:pt x="1543" y="525"/>
                    <a:pt x="1550" y="539"/>
                    <a:pt x="1559" y="528"/>
                  </a:cubicBezTo>
                  <a:cubicBezTo>
                    <a:pt x="1568" y="517"/>
                    <a:pt x="1545" y="515"/>
                    <a:pt x="1541" y="513"/>
                  </a:cubicBezTo>
                  <a:cubicBezTo>
                    <a:pt x="1537" y="511"/>
                    <a:pt x="1541" y="459"/>
                    <a:pt x="1541" y="447"/>
                  </a:cubicBezTo>
                  <a:cubicBezTo>
                    <a:pt x="1541" y="435"/>
                    <a:pt x="1540" y="420"/>
                    <a:pt x="1546" y="420"/>
                  </a:cubicBezTo>
                  <a:cubicBezTo>
                    <a:pt x="1552" y="420"/>
                    <a:pt x="1577" y="432"/>
                    <a:pt x="1585" y="434"/>
                  </a:cubicBezTo>
                  <a:cubicBezTo>
                    <a:pt x="1593" y="436"/>
                    <a:pt x="1614" y="434"/>
                    <a:pt x="1614" y="434"/>
                  </a:cubicBezTo>
                  <a:cubicBezTo>
                    <a:pt x="1623" y="442"/>
                    <a:pt x="1623" y="442"/>
                    <a:pt x="1623" y="442"/>
                  </a:cubicBezTo>
                  <a:cubicBezTo>
                    <a:pt x="1634" y="430"/>
                    <a:pt x="1634" y="430"/>
                    <a:pt x="1634" y="430"/>
                  </a:cubicBezTo>
                  <a:cubicBezTo>
                    <a:pt x="1634" y="430"/>
                    <a:pt x="1642" y="431"/>
                    <a:pt x="1649" y="426"/>
                  </a:cubicBezTo>
                  <a:cubicBezTo>
                    <a:pt x="1656" y="421"/>
                    <a:pt x="1650" y="410"/>
                    <a:pt x="1641" y="397"/>
                  </a:cubicBezTo>
                  <a:cubicBezTo>
                    <a:pt x="1632" y="384"/>
                    <a:pt x="1622" y="375"/>
                    <a:pt x="1627" y="361"/>
                  </a:cubicBezTo>
                  <a:cubicBezTo>
                    <a:pt x="1632" y="347"/>
                    <a:pt x="1661" y="357"/>
                    <a:pt x="1667" y="348"/>
                  </a:cubicBezTo>
                  <a:cubicBezTo>
                    <a:pt x="1673" y="339"/>
                    <a:pt x="1654" y="336"/>
                    <a:pt x="1655" y="327"/>
                  </a:cubicBezTo>
                  <a:close/>
                  <a:moveTo>
                    <a:pt x="1385" y="465"/>
                  </a:moveTo>
                  <a:cubicBezTo>
                    <a:pt x="1380" y="470"/>
                    <a:pt x="1363" y="466"/>
                    <a:pt x="1363" y="466"/>
                  </a:cubicBezTo>
                  <a:cubicBezTo>
                    <a:pt x="1363" y="466"/>
                    <a:pt x="1361" y="472"/>
                    <a:pt x="1356" y="473"/>
                  </a:cubicBezTo>
                  <a:cubicBezTo>
                    <a:pt x="1351" y="474"/>
                    <a:pt x="1340" y="464"/>
                    <a:pt x="1340" y="464"/>
                  </a:cubicBezTo>
                  <a:cubicBezTo>
                    <a:pt x="1320" y="467"/>
                    <a:pt x="1320" y="467"/>
                    <a:pt x="1320" y="467"/>
                  </a:cubicBezTo>
                  <a:cubicBezTo>
                    <a:pt x="1299" y="463"/>
                    <a:pt x="1299" y="463"/>
                    <a:pt x="1299" y="463"/>
                  </a:cubicBezTo>
                  <a:cubicBezTo>
                    <a:pt x="1287" y="464"/>
                    <a:pt x="1287" y="464"/>
                    <a:pt x="1287" y="464"/>
                  </a:cubicBezTo>
                  <a:cubicBezTo>
                    <a:pt x="1270" y="459"/>
                    <a:pt x="1270" y="459"/>
                    <a:pt x="1270" y="459"/>
                  </a:cubicBezTo>
                  <a:cubicBezTo>
                    <a:pt x="1270" y="459"/>
                    <a:pt x="1259" y="460"/>
                    <a:pt x="1246" y="460"/>
                  </a:cubicBezTo>
                  <a:cubicBezTo>
                    <a:pt x="1233" y="460"/>
                    <a:pt x="1236" y="454"/>
                    <a:pt x="1236" y="454"/>
                  </a:cubicBezTo>
                  <a:cubicBezTo>
                    <a:pt x="1236" y="454"/>
                    <a:pt x="1228" y="462"/>
                    <a:pt x="1222" y="464"/>
                  </a:cubicBezTo>
                  <a:cubicBezTo>
                    <a:pt x="1216" y="466"/>
                    <a:pt x="1215" y="476"/>
                    <a:pt x="1209" y="484"/>
                  </a:cubicBezTo>
                  <a:cubicBezTo>
                    <a:pt x="1203" y="492"/>
                    <a:pt x="1195" y="489"/>
                    <a:pt x="1195" y="489"/>
                  </a:cubicBezTo>
                  <a:cubicBezTo>
                    <a:pt x="1199" y="507"/>
                    <a:pt x="1199" y="507"/>
                    <a:pt x="1199" y="507"/>
                  </a:cubicBezTo>
                  <a:cubicBezTo>
                    <a:pt x="1191" y="514"/>
                    <a:pt x="1191" y="514"/>
                    <a:pt x="1191" y="514"/>
                  </a:cubicBezTo>
                  <a:cubicBezTo>
                    <a:pt x="1201" y="525"/>
                    <a:pt x="1201" y="525"/>
                    <a:pt x="1201" y="525"/>
                  </a:cubicBezTo>
                  <a:cubicBezTo>
                    <a:pt x="1200" y="542"/>
                    <a:pt x="1200" y="542"/>
                    <a:pt x="1200" y="542"/>
                  </a:cubicBezTo>
                  <a:cubicBezTo>
                    <a:pt x="1196" y="541"/>
                    <a:pt x="1167" y="507"/>
                    <a:pt x="1167" y="507"/>
                  </a:cubicBezTo>
                  <a:cubicBezTo>
                    <a:pt x="1167" y="507"/>
                    <a:pt x="1163" y="492"/>
                    <a:pt x="1163" y="481"/>
                  </a:cubicBezTo>
                  <a:cubicBezTo>
                    <a:pt x="1163" y="470"/>
                    <a:pt x="1181" y="467"/>
                    <a:pt x="1185" y="466"/>
                  </a:cubicBezTo>
                  <a:cubicBezTo>
                    <a:pt x="1189" y="465"/>
                    <a:pt x="1187" y="454"/>
                    <a:pt x="1193" y="448"/>
                  </a:cubicBezTo>
                  <a:cubicBezTo>
                    <a:pt x="1199" y="442"/>
                    <a:pt x="1224" y="448"/>
                    <a:pt x="1228" y="448"/>
                  </a:cubicBezTo>
                  <a:cubicBezTo>
                    <a:pt x="1232" y="448"/>
                    <a:pt x="1240" y="442"/>
                    <a:pt x="1253" y="443"/>
                  </a:cubicBezTo>
                  <a:cubicBezTo>
                    <a:pt x="1266" y="444"/>
                    <a:pt x="1274" y="451"/>
                    <a:pt x="1281" y="452"/>
                  </a:cubicBezTo>
                  <a:cubicBezTo>
                    <a:pt x="1288" y="453"/>
                    <a:pt x="1293" y="456"/>
                    <a:pt x="1306" y="458"/>
                  </a:cubicBezTo>
                  <a:cubicBezTo>
                    <a:pt x="1319" y="460"/>
                    <a:pt x="1315" y="449"/>
                    <a:pt x="1328" y="449"/>
                  </a:cubicBezTo>
                  <a:cubicBezTo>
                    <a:pt x="1341" y="449"/>
                    <a:pt x="1360" y="454"/>
                    <a:pt x="1360" y="454"/>
                  </a:cubicBezTo>
                  <a:cubicBezTo>
                    <a:pt x="1360" y="454"/>
                    <a:pt x="1370" y="445"/>
                    <a:pt x="1384" y="443"/>
                  </a:cubicBezTo>
                  <a:cubicBezTo>
                    <a:pt x="1398" y="441"/>
                    <a:pt x="1390" y="460"/>
                    <a:pt x="1385" y="465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47" name="Freeform 163"/>
            <p:cNvSpPr>
              <a:spLocks/>
            </p:cNvSpPr>
            <p:nvPr/>
          </p:nvSpPr>
          <p:spPr bwMode="auto">
            <a:xfrm>
              <a:off x="3210" y="2967"/>
              <a:ext cx="192" cy="338"/>
            </a:xfrm>
            <a:custGeom>
              <a:avLst/>
              <a:gdLst>
                <a:gd name="T0" fmla="*/ 0 w 508"/>
                <a:gd name="T1" fmla="*/ 0 h 891"/>
                <a:gd name="T2" fmla="*/ 0 w 508"/>
                <a:gd name="T3" fmla="*/ 0 h 891"/>
                <a:gd name="T4" fmla="*/ 0 w 508"/>
                <a:gd name="T5" fmla="*/ 0 h 891"/>
                <a:gd name="T6" fmla="*/ 0 w 508"/>
                <a:gd name="T7" fmla="*/ 0 h 891"/>
                <a:gd name="T8" fmla="*/ 0 w 508"/>
                <a:gd name="T9" fmla="*/ 0 h 891"/>
                <a:gd name="T10" fmla="*/ 0 w 508"/>
                <a:gd name="T11" fmla="*/ 0 h 891"/>
                <a:gd name="T12" fmla="*/ 0 w 508"/>
                <a:gd name="T13" fmla="*/ 0 h 891"/>
                <a:gd name="T14" fmla="*/ 0 w 508"/>
                <a:gd name="T15" fmla="*/ 0 h 891"/>
                <a:gd name="T16" fmla="*/ 0 w 508"/>
                <a:gd name="T17" fmla="*/ 0 h 891"/>
                <a:gd name="T18" fmla="*/ 0 w 508"/>
                <a:gd name="T19" fmla="*/ 0 h 891"/>
                <a:gd name="T20" fmla="*/ 0 w 508"/>
                <a:gd name="T21" fmla="*/ 0 h 891"/>
                <a:gd name="T22" fmla="*/ 0 w 508"/>
                <a:gd name="T23" fmla="*/ 0 h 891"/>
                <a:gd name="T24" fmla="*/ 0 w 508"/>
                <a:gd name="T25" fmla="*/ 0 h 891"/>
                <a:gd name="T26" fmla="*/ 0 w 508"/>
                <a:gd name="T27" fmla="*/ 0 h 891"/>
                <a:gd name="T28" fmla="*/ 0 w 508"/>
                <a:gd name="T29" fmla="*/ 0 h 891"/>
                <a:gd name="T30" fmla="*/ 0 w 508"/>
                <a:gd name="T31" fmla="*/ 0 h 891"/>
                <a:gd name="T32" fmla="*/ 0 w 508"/>
                <a:gd name="T33" fmla="*/ 0 h 891"/>
                <a:gd name="T34" fmla="*/ 0 w 508"/>
                <a:gd name="T35" fmla="*/ 0 h 891"/>
                <a:gd name="T36" fmla="*/ 0 w 508"/>
                <a:gd name="T37" fmla="*/ 0 h 891"/>
                <a:gd name="T38" fmla="*/ 0 w 508"/>
                <a:gd name="T39" fmla="*/ 0 h 891"/>
                <a:gd name="T40" fmla="*/ 0 w 508"/>
                <a:gd name="T41" fmla="*/ 0 h 891"/>
                <a:gd name="T42" fmla="*/ 0 w 508"/>
                <a:gd name="T43" fmla="*/ 0 h 891"/>
                <a:gd name="T44" fmla="*/ 0 w 508"/>
                <a:gd name="T45" fmla="*/ 0 h 891"/>
                <a:gd name="T46" fmla="*/ 0 w 508"/>
                <a:gd name="T47" fmla="*/ 0 h 891"/>
                <a:gd name="T48" fmla="*/ 0 w 508"/>
                <a:gd name="T49" fmla="*/ 0 h 891"/>
                <a:gd name="T50" fmla="*/ 0 w 508"/>
                <a:gd name="T51" fmla="*/ 0 h 891"/>
                <a:gd name="T52" fmla="*/ 0 w 508"/>
                <a:gd name="T53" fmla="*/ 0 h 891"/>
                <a:gd name="T54" fmla="*/ 0 w 508"/>
                <a:gd name="T55" fmla="*/ 0 h 891"/>
                <a:gd name="T56" fmla="*/ 0 w 508"/>
                <a:gd name="T57" fmla="*/ 0 h 891"/>
                <a:gd name="T58" fmla="*/ 0 w 508"/>
                <a:gd name="T59" fmla="*/ 0 h 891"/>
                <a:gd name="T60" fmla="*/ 0 w 508"/>
                <a:gd name="T61" fmla="*/ 0 h 891"/>
                <a:gd name="T62" fmla="*/ 0 w 508"/>
                <a:gd name="T63" fmla="*/ 0 h 891"/>
                <a:gd name="T64" fmla="*/ 0 w 508"/>
                <a:gd name="T65" fmla="*/ 0 h 891"/>
                <a:gd name="T66" fmla="*/ 0 w 508"/>
                <a:gd name="T67" fmla="*/ 0 h 891"/>
                <a:gd name="T68" fmla="*/ 0 w 508"/>
                <a:gd name="T69" fmla="*/ 0 h 891"/>
                <a:gd name="T70" fmla="*/ 0 w 508"/>
                <a:gd name="T71" fmla="*/ 0 h 891"/>
                <a:gd name="T72" fmla="*/ 0 w 508"/>
                <a:gd name="T73" fmla="*/ 0 h 891"/>
                <a:gd name="T74" fmla="*/ 0 w 508"/>
                <a:gd name="T75" fmla="*/ 0 h 891"/>
                <a:gd name="T76" fmla="*/ 0 w 508"/>
                <a:gd name="T77" fmla="*/ 0 h 891"/>
                <a:gd name="T78" fmla="*/ 0 w 508"/>
                <a:gd name="T79" fmla="*/ 0 h 891"/>
                <a:gd name="T80" fmla="*/ 0 w 508"/>
                <a:gd name="T81" fmla="*/ 0 h 891"/>
                <a:gd name="T82" fmla="*/ 0 w 508"/>
                <a:gd name="T83" fmla="*/ 0 h 891"/>
                <a:gd name="T84" fmla="*/ 0 w 508"/>
                <a:gd name="T85" fmla="*/ 0 h 891"/>
                <a:gd name="T86" fmla="*/ 0 w 508"/>
                <a:gd name="T87" fmla="*/ 0 h 891"/>
                <a:gd name="T88" fmla="*/ 0 w 508"/>
                <a:gd name="T89" fmla="*/ 0 h 891"/>
                <a:gd name="T90" fmla="*/ 0 w 508"/>
                <a:gd name="T91" fmla="*/ 0 h 891"/>
                <a:gd name="T92" fmla="*/ 0 w 508"/>
                <a:gd name="T93" fmla="*/ 0 h 891"/>
                <a:gd name="T94" fmla="*/ 0 w 508"/>
                <a:gd name="T95" fmla="*/ 0 h 891"/>
                <a:gd name="T96" fmla="*/ 0 w 508"/>
                <a:gd name="T97" fmla="*/ 0 h 891"/>
                <a:gd name="T98" fmla="*/ 0 w 508"/>
                <a:gd name="T99" fmla="*/ 0 h 891"/>
                <a:gd name="T100" fmla="*/ 0 w 508"/>
                <a:gd name="T101" fmla="*/ 0 h 891"/>
                <a:gd name="T102" fmla="*/ 0 w 508"/>
                <a:gd name="T103" fmla="*/ 0 h 891"/>
                <a:gd name="T104" fmla="*/ 0 w 508"/>
                <a:gd name="T105" fmla="*/ 0 h 891"/>
                <a:gd name="T106" fmla="*/ 0 w 508"/>
                <a:gd name="T107" fmla="*/ 0 h 891"/>
                <a:gd name="T108" fmla="*/ 0 w 508"/>
                <a:gd name="T109" fmla="*/ 0 h 891"/>
                <a:gd name="T110" fmla="*/ 0 w 508"/>
                <a:gd name="T111" fmla="*/ 0 h 891"/>
                <a:gd name="T112" fmla="*/ 0 w 508"/>
                <a:gd name="T113" fmla="*/ 0 h 891"/>
                <a:gd name="T114" fmla="*/ 0 w 508"/>
                <a:gd name="T115" fmla="*/ 0 h 891"/>
                <a:gd name="T116" fmla="*/ 0 w 508"/>
                <a:gd name="T117" fmla="*/ 0 h 891"/>
                <a:gd name="T118" fmla="*/ 0 w 508"/>
                <a:gd name="T119" fmla="*/ 0 h 891"/>
                <a:gd name="T120" fmla="*/ 0 w 508"/>
                <a:gd name="T121" fmla="*/ 0 h 89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08"/>
                <a:gd name="T184" fmla="*/ 0 h 891"/>
                <a:gd name="T185" fmla="*/ 508 w 508"/>
                <a:gd name="T186" fmla="*/ 891 h 89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08" h="891">
                  <a:moveTo>
                    <a:pt x="508" y="229"/>
                  </a:moveTo>
                  <a:cubicBezTo>
                    <a:pt x="508" y="221"/>
                    <a:pt x="507" y="210"/>
                    <a:pt x="507" y="210"/>
                  </a:cubicBezTo>
                  <a:cubicBezTo>
                    <a:pt x="499" y="211"/>
                    <a:pt x="499" y="211"/>
                    <a:pt x="499" y="211"/>
                  </a:cubicBezTo>
                  <a:cubicBezTo>
                    <a:pt x="499" y="170"/>
                    <a:pt x="499" y="170"/>
                    <a:pt x="499" y="170"/>
                  </a:cubicBezTo>
                  <a:cubicBezTo>
                    <a:pt x="491" y="162"/>
                    <a:pt x="491" y="162"/>
                    <a:pt x="491" y="162"/>
                  </a:cubicBezTo>
                  <a:cubicBezTo>
                    <a:pt x="502" y="155"/>
                    <a:pt x="502" y="155"/>
                    <a:pt x="502" y="155"/>
                  </a:cubicBezTo>
                  <a:cubicBezTo>
                    <a:pt x="495" y="124"/>
                    <a:pt x="495" y="124"/>
                    <a:pt x="495" y="124"/>
                  </a:cubicBezTo>
                  <a:cubicBezTo>
                    <a:pt x="503" y="104"/>
                    <a:pt x="503" y="104"/>
                    <a:pt x="503" y="104"/>
                  </a:cubicBezTo>
                  <a:cubicBezTo>
                    <a:pt x="493" y="78"/>
                    <a:pt x="493" y="78"/>
                    <a:pt x="493" y="78"/>
                  </a:cubicBezTo>
                  <a:cubicBezTo>
                    <a:pt x="493" y="78"/>
                    <a:pt x="505" y="21"/>
                    <a:pt x="505" y="13"/>
                  </a:cubicBezTo>
                  <a:cubicBezTo>
                    <a:pt x="505" y="5"/>
                    <a:pt x="497" y="0"/>
                    <a:pt x="497" y="0"/>
                  </a:cubicBezTo>
                  <a:cubicBezTo>
                    <a:pt x="497" y="0"/>
                    <a:pt x="497" y="0"/>
                    <a:pt x="497" y="0"/>
                  </a:cubicBezTo>
                  <a:cubicBezTo>
                    <a:pt x="444" y="37"/>
                    <a:pt x="444" y="37"/>
                    <a:pt x="444" y="37"/>
                  </a:cubicBezTo>
                  <a:cubicBezTo>
                    <a:pt x="425" y="38"/>
                    <a:pt x="425" y="38"/>
                    <a:pt x="425" y="38"/>
                  </a:cubicBezTo>
                  <a:cubicBezTo>
                    <a:pt x="425" y="38"/>
                    <a:pt x="404" y="51"/>
                    <a:pt x="400" y="52"/>
                  </a:cubicBezTo>
                  <a:cubicBezTo>
                    <a:pt x="396" y="53"/>
                    <a:pt x="393" y="45"/>
                    <a:pt x="393" y="45"/>
                  </a:cubicBezTo>
                  <a:cubicBezTo>
                    <a:pt x="377" y="45"/>
                    <a:pt x="377" y="45"/>
                    <a:pt x="377" y="45"/>
                  </a:cubicBezTo>
                  <a:cubicBezTo>
                    <a:pt x="377" y="45"/>
                    <a:pt x="361" y="63"/>
                    <a:pt x="354" y="66"/>
                  </a:cubicBezTo>
                  <a:cubicBezTo>
                    <a:pt x="347" y="69"/>
                    <a:pt x="343" y="67"/>
                    <a:pt x="343" y="67"/>
                  </a:cubicBezTo>
                  <a:cubicBezTo>
                    <a:pt x="343" y="67"/>
                    <a:pt x="329" y="59"/>
                    <a:pt x="325" y="61"/>
                  </a:cubicBezTo>
                  <a:cubicBezTo>
                    <a:pt x="321" y="63"/>
                    <a:pt x="316" y="72"/>
                    <a:pt x="311" y="72"/>
                  </a:cubicBezTo>
                  <a:cubicBezTo>
                    <a:pt x="306" y="72"/>
                    <a:pt x="287" y="51"/>
                    <a:pt x="279" y="51"/>
                  </a:cubicBezTo>
                  <a:cubicBezTo>
                    <a:pt x="271" y="51"/>
                    <a:pt x="267" y="61"/>
                    <a:pt x="267" y="61"/>
                  </a:cubicBezTo>
                  <a:cubicBezTo>
                    <a:pt x="267" y="61"/>
                    <a:pt x="250" y="62"/>
                    <a:pt x="237" y="62"/>
                  </a:cubicBezTo>
                  <a:cubicBezTo>
                    <a:pt x="236" y="66"/>
                    <a:pt x="236" y="70"/>
                    <a:pt x="236" y="72"/>
                  </a:cubicBezTo>
                  <a:cubicBezTo>
                    <a:pt x="236" y="75"/>
                    <a:pt x="233" y="81"/>
                    <a:pt x="224" y="89"/>
                  </a:cubicBezTo>
                  <a:cubicBezTo>
                    <a:pt x="215" y="97"/>
                    <a:pt x="225" y="104"/>
                    <a:pt x="229" y="109"/>
                  </a:cubicBezTo>
                  <a:cubicBezTo>
                    <a:pt x="233" y="114"/>
                    <a:pt x="233" y="132"/>
                    <a:pt x="228" y="144"/>
                  </a:cubicBezTo>
                  <a:cubicBezTo>
                    <a:pt x="225" y="151"/>
                    <a:pt x="225" y="159"/>
                    <a:pt x="226" y="164"/>
                  </a:cubicBezTo>
                  <a:cubicBezTo>
                    <a:pt x="229" y="165"/>
                    <a:pt x="233" y="165"/>
                    <a:pt x="235" y="166"/>
                  </a:cubicBezTo>
                  <a:cubicBezTo>
                    <a:pt x="239" y="169"/>
                    <a:pt x="257" y="196"/>
                    <a:pt x="261" y="204"/>
                  </a:cubicBezTo>
                  <a:cubicBezTo>
                    <a:pt x="265" y="212"/>
                    <a:pt x="275" y="222"/>
                    <a:pt x="281" y="231"/>
                  </a:cubicBezTo>
                  <a:cubicBezTo>
                    <a:pt x="287" y="240"/>
                    <a:pt x="270" y="258"/>
                    <a:pt x="270" y="258"/>
                  </a:cubicBezTo>
                  <a:cubicBezTo>
                    <a:pt x="270" y="258"/>
                    <a:pt x="274" y="293"/>
                    <a:pt x="268" y="300"/>
                  </a:cubicBezTo>
                  <a:cubicBezTo>
                    <a:pt x="262" y="307"/>
                    <a:pt x="244" y="299"/>
                    <a:pt x="238" y="317"/>
                  </a:cubicBezTo>
                  <a:cubicBezTo>
                    <a:pt x="232" y="335"/>
                    <a:pt x="242" y="323"/>
                    <a:pt x="246" y="333"/>
                  </a:cubicBezTo>
                  <a:cubicBezTo>
                    <a:pt x="250" y="343"/>
                    <a:pt x="243" y="360"/>
                    <a:pt x="232" y="358"/>
                  </a:cubicBezTo>
                  <a:cubicBezTo>
                    <a:pt x="221" y="356"/>
                    <a:pt x="235" y="346"/>
                    <a:pt x="234" y="340"/>
                  </a:cubicBezTo>
                  <a:cubicBezTo>
                    <a:pt x="233" y="334"/>
                    <a:pt x="202" y="314"/>
                    <a:pt x="202" y="314"/>
                  </a:cubicBezTo>
                  <a:cubicBezTo>
                    <a:pt x="202" y="297"/>
                    <a:pt x="202" y="297"/>
                    <a:pt x="202" y="297"/>
                  </a:cubicBezTo>
                  <a:cubicBezTo>
                    <a:pt x="202" y="297"/>
                    <a:pt x="197" y="297"/>
                    <a:pt x="195" y="294"/>
                  </a:cubicBezTo>
                  <a:cubicBezTo>
                    <a:pt x="193" y="291"/>
                    <a:pt x="208" y="279"/>
                    <a:pt x="208" y="279"/>
                  </a:cubicBezTo>
                  <a:cubicBezTo>
                    <a:pt x="200" y="266"/>
                    <a:pt x="200" y="266"/>
                    <a:pt x="200" y="266"/>
                  </a:cubicBezTo>
                  <a:cubicBezTo>
                    <a:pt x="210" y="263"/>
                    <a:pt x="210" y="263"/>
                    <a:pt x="210" y="263"/>
                  </a:cubicBezTo>
                  <a:cubicBezTo>
                    <a:pt x="213" y="242"/>
                    <a:pt x="213" y="242"/>
                    <a:pt x="213" y="242"/>
                  </a:cubicBezTo>
                  <a:cubicBezTo>
                    <a:pt x="213" y="242"/>
                    <a:pt x="207" y="243"/>
                    <a:pt x="208" y="234"/>
                  </a:cubicBezTo>
                  <a:cubicBezTo>
                    <a:pt x="209" y="225"/>
                    <a:pt x="205" y="214"/>
                    <a:pt x="205" y="214"/>
                  </a:cubicBezTo>
                  <a:cubicBezTo>
                    <a:pt x="199" y="211"/>
                    <a:pt x="189" y="218"/>
                    <a:pt x="189" y="218"/>
                  </a:cubicBezTo>
                  <a:cubicBezTo>
                    <a:pt x="169" y="221"/>
                    <a:pt x="169" y="221"/>
                    <a:pt x="169" y="221"/>
                  </a:cubicBezTo>
                  <a:cubicBezTo>
                    <a:pt x="148" y="189"/>
                    <a:pt x="148" y="189"/>
                    <a:pt x="148" y="189"/>
                  </a:cubicBezTo>
                  <a:cubicBezTo>
                    <a:pt x="148" y="189"/>
                    <a:pt x="104" y="209"/>
                    <a:pt x="95" y="214"/>
                  </a:cubicBezTo>
                  <a:cubicBezTo>
                    <a:pt x="85" y="219"/>
                    <a:pt x="43" y="227"/>
                    <a:pt x="43" y="227"/>
                  </a:cubicBezTo>
                  <a:cubicBezTo>
                    <a:pt x="31" y="238"/>
                    <a:pt x="31" y="238"/>
                    <a:pt x="31" y="238"/>
                  </a:cubicBezTo>
                  <a:cubicBezTo>
                    <a:pt x="31" y="238"/>
                    <a:pt x="11" y="239"/>
                    <a:pt x="5" y="243"/>
                  </a:cubicBezTo>
                  <a:cubicBezTo>
                    <a:pt x="0" y="247"/>
                    <a:pt x="15" y="261"/>
                    <a:pt x="15" y="261"/>
                  </a:cubicBezTo>
                  <a:cubicBezTo>
                    <a:pt x="17" y="297"/>
                    <a:pt x="17" y="297"/>
                    <a:pt x="17" y="297"/>
                  </a:cubicBezTo>
                  <a:cubicBezTo>
                    <a:pt x="56" y="297"/>
                    <a:pt x="56" y="297"/>
                    <a:pt x="56" y="297"/>
                  </a:cubicBezTo>
                  <a:cubicBezTo>
                    <a:pt x="64" y="309"/>
                    <a:pt x="64" y="309"/>
                    <a:pt x="64" y="309"/>
                  </a:cubicBezTo>
                  <a:cubicBezTo>
                    <a:pt x="79" y="306"/>
                    <a:pt x="79" y="306"/>
                    <a:pt x="79" y="306"/>
                  </a:cubicBezTo>
                  <a:cubicBezTo>
                    <a:pt x="89" y="322"/>
                    <a:pt x="89" y="322"/>
                    <a:pt x="89" y="322"/>
                  </a:cubicBezTo>
                  <a:cubicBezTo>
                    <a:pt x="89" y="322"/>
                    <a:pt x="99" y="319"/>
                    <a:pt x="107" y="319"/>
                  </a:cubicBezTo>
                  <a:cubicBezTo>
                    <a:pt x="115" y="319"/>
                    <a:pt x="120" y="331"/>
                    <a:pt x="120" y="331"/>
                  </a:cubicBezTo>
                  <a:cubicBezTo>
                    <a:pt x="120" y="331"/>
                    <a:pt x="135" y="331"/>
                    <a:pt x="139" y="339"/>
                  </a:cubicBezTo>
                  <a:cubicBezTo>
                    <a:pt x="143" y="347"/>
                    <a:pt x="129" y="357"/>
                    <a:pt x="129" y="357"/>
                  </a:cubicBezTo>
                  <a:cubicBezTo>
                    <a:pt x="137" y="366"/>
                    <a:pt x="137" y="366"/>
                    <a:pt x="137" y="366"/>
                  </a:cubicBezTo>
                  <a:cubicBezTo>
                    <a:pt x="131" y="375"/>
                    <a:pt x="131" y="375"/>
                    <a:pt x="131" y="375"/>
                  </a:cubicBezTo>
                  <a:cubicBezTo>
                    <a:pt x="137" y="383"/>
                    <a:pt x="137" y="383"/>
                    <a:pt x="137" y="383"/>
                  </a:cubicBezTo>
                  <a:cubicBezTo>
                    <a:pt x="137" y="383"/>
                    <a:pt x="132" y="390"/>
                    <a:pt x="129" y="395"/>
                  </a:cubicBezTo>
                  <a:cubicBezTo>
                    <a:pt x="127" y="401"/>
                    <a:pt x="135" y="407"/>
                    <a:pt x="137" y="421"/>
                  </a:cubicBezTo>
                  <a:cubicBezTo>
                    <a:pt x="140" y="434"/>
                    <a:pt x="131" y="434"/>
                    <a:pt x="131" y="434"/>
                  </a:cubicBezTo>
                  <a:cubicBezTo>
                    <a:pt x="131" y="443"/>
                    <a:pt x="131" y="443"/>
                    <a:pt x="131" y="443"/>
                  </a:cubicBezTo>
                  <a:cubicBezTo>
                    <a:pt x="117" y="450"/>
                    <a:pt x="117" y="450"/>
                    <a:pt x="117" y="450"/>
                  </a:cubicBezTo>
                  <a:cubicBezTo>
                    <a:pt x="131" y="466"/>
                    <a:pt x="131" y="466"/>
                    <a:pt x="131" y="466"/>
                  </a:cubicBezTo>
                  <a:cubicBezTo>
                    <a:pt x="131" y="466"/>
                    <a:pt x="119" y="477"/>
                    <a:pt x="117" y="482"/>
                  </a:cubicBezTo>
                  <a:cubicBezTo>
                    <a:pt x="116" y="487"/>
                    <a:pt x="133" y="498"/>
                    <a:pt x="135" y="505"/>
                  </a:cubicBezTo>
                  <a:cubicBezTo>
                    <a:pt x="136" y="511"/>
                    <a:pt x="125" y="518"/>
                    <a:pt x="125" y="518"/>
                  </a:cubicBezTo>
                  <a:cubicBezTo>
                    <a:pt x="125" y="518"/>
                    <a:pt x="123" y="525"/>
                    <a:pt x="121" y="533"/>
                  </a:cubicBezTo>
                  <a:cubicBezTo>
                    <a:pt x="120" y="541"/>
                    <a:pt x="105" y="542"/>
                    <a:pt x="105" y="542"/>
                  </a:cubicBezTo>
                  <a:cubicBezTo>
                    <a:pt x="104" y="565"/>
                    <a:pt x="104" y="565"/>
                    <a:pt x="104" y="565"/>
                  </a:cubicBezTo>
                  <a:cubicBezTo>
                    <a:pt x="96" y="570"/>
                    <a:pt x="96" y="570"/>
                    <a:pt x="96" y="570"/>
                  </a:cubicBezTo>
                  <a:cubicBezTo>
                    <a:pt x="105" y="583"/>
                    <a:pt x="105" y="583"/>
                    <a:pt x="105" y="583"/>
                  </a:cubicBezTo>
                  <a:cubicBezTo>
                    <a:pt x="95" y="586"/>
                    <a:pt x="95" y="586"/>
                    <a:pt x="95" y="586"/>
                  </a:cubicBezTo>
                  <a:cubicBezTo>
                    <a:pt x="48" y="642"/>
                    <a:pt x="48" y="642"/>
                    <a:pt x="48" y="642"/>
                  </a:cubicBezTo>
                  <a:cubicBezTo>
                    <a:pt x="48" y="642"/>
                    <a:pt x="55" y="693"/>
                    <a:pt x="57" y="702"/>
                  </a:cubicBezTo>
                  <a:cubicBezTo>
                    <a:pt x="59" y="711"/>
                    <a:pt x="80" y="743"/>
                    <a:pt x="79" y="752"/>
                  </a:cubicBezTo>
                  <a:cubicBezTo>
                    <a:pt x="78" y="761"/>
                    <a:pt x="78" y="809"/>
                    <a:pt x="78" y="809"/>
                  </a:cubicBezTo>
                  <a:cubicBezTo>
                    <a:pt x="60" y="833"/>
                    <a:pt x="60" y="833"/>
                    <a:pt x="60" y="833"/>
                  </a:cubicBezTo>
                  <a:cubicBezTo>
                    <a:pt x="76" y="830"/>
                    <a:pt x="76" y="830"/>
                    <a:pt x="76" y="830"/>
                  </a:cubicBezTo>
                  <a:cubicBezTo>
                    <a:pt x="76" y="830"/>
                    <a:pt x="71" y="847"/>
                    <a:pt x="73" y="854"/>
                  </a:cubicBezTo>
                  <a:cubicBezTo>
                    <a:pt x="76" y="861"/>
                    <a:pt x="83" y="861"/>
                    <a:pt x="83" y="861"/>
                  </a:cubicBezTo>
                  <a:cubicBezTo>
                    <a:pt x="87" y="877"/>
                    <a:pt x="87" y="877"/>
                    <a:pt x="87" y="877"/>
                  </a:cubicBezTo>
                  <a:cubicBezTo>
                    <a:pt x="91" y="876"/>
                    <a:pt x="95" y="875"/>
                    <a:pt x="98" y="877"/>
                  </a:cubicBezTo>
                  <a:cubicBezTo>
                    <a:pt x="102" y="879"/>
                    <a:pt x="107" y="885"/>
                    <a:pt x="111" y="891"/>
                  </a:cubicBezTo>
                  <a:cubicBezTo>
                    <a:pt x="113" y="883"/>
                    <a:pt x="115" y="876"/>
                    <a:pt x="115" y="871"/>
                  </a:cubicBezTo>
                  <a:cubicBezTo>
                    <a:pt x="116" y="856"/>
                    <a:pt x="107" y="845"/>
                    <a:pt x="107" y="845"/>
                  </a:cubicBezTo>
                  <a:cubicBezTo>
                    <a:pt x="107" y="845"/>
                    <a:pt x="88" y="839"/>
                    <a:pt x="109" y="819"/>
                  </a:cubicBezTo>
                  <a:cubicBezTo>
                    <a:pt x="130" y="799"/>
                    <a:pt x="165" y="785"/>
                    <a:pt x="186" y="773"/>
                  </a:cubicBezTo>
                  <a:cubicBezTo>
                    <a:pt x="207" y="761"/>
                    <a:pt x="242" y="744"/>
                    <a:pt x="242" y="735"/>
                  </a:cubicBezTo>
                  <a:cubicBezTo>
                    <a:pt x="242" y="726"/>
                    <a:pt x="242" y="718"/>
                    <a:pt x="242" y="718"/>
                  </a:cubicBezTo>
                  <a:cubicBezTo>
                    <a:pt x="242" y="718"/>
                    <a:pt x="231" y="727"/>
                    <a:pt x="230" y="713"/>
                  </a:cubicBezTo>
                  <a:cubicBezTo>
                    <a:pt x="229" y="699"/>
                    <a:pt x="249" y="684"/>
                    <a:pt x="247" y="674"/>
                  </a:cubicBezTo>
                  <a:cubicBezTo>
                    <a:pt x="245" y="664"/>
                    <a:pt x="241" y="650"/>
                    <a:pt x="241" y="650"/>
                  </a:cubicBezTo>
                  <a:cubicBezTo>
                    <a:pt x="248" y="631"/>
                    <a:pt x="248" y="631"/>
                    <a:pt x="248" y="631"/>
                  </a:cubicBezTo>
                  <a:cubicBezTo>
                    <a:pt x="246" y="626"/>
                    <a:pt x="246" y="626"/>
                    <a:pt x="246" y="626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8" y="612"/>
                    <a:pt x="238" y="612"/>
                    <a:pt x="238" y="612"/>
                  </a:cubicBezTo>
                  <a:cubicBezTo>
                    <a:pt x="238" y="612"/>
                    <a:pt x="223" y="597"/>
                    <a:pt x="222" y="587"/>
                  </a:cubicBezTo>
                  <a:cubicBezTo>
                    <a:pt x="221" y="577"/>
                    <a:pt x="230" y="567"/>
                    <a:pt x="225" y="555"/>
                  </a:cubicBezTo>
                  <a:cubicBezTo>
                    <a:pt x="220" y="543"/>
                    <a:pt x="208" y="554"/>
                    <a:pt x="208" y="541"/>
                  </a:cubicBezTo>
                  <a:cubicBezTo>
                    <a:pt x="208" y="528"/>
                    <a:pt x="219" y="507"/>
                    <a:pt x="222" y="503"/>
                  </a:cubicBezTo>
                  <a:cubicBezTo>
                    <a:pt x="225" y="499"/>
                    <a:pt x="249" y="493"/>
                    <a:pt x="252" y="484"/>
                  </a:cubicBezTo>
                  <a:cubicBezTo>
                    <a:pt x="255" y="475"/>
                    <a:pt x="260" y="460"/>
                    <a:pt x="267" y="455"/>
                  </a:cubicBezTo>
                  <a:cubicBezTo>
                    <a:pt x="274" y="450"/>
                    <a:pt x="279" y="455"/>
                    <a:pt x="287" y="449"/>
                  </a:cubicBezTo>
                  <a:cubicBezTo>
                    <a:pt x="295" y="443"/>
                    <a:pt x="310" y="435"/>
                    <a:pt x="312" y="419"/>
                  </a:cubicBezTo>
                  <a:cubicBezTo>
                    <a:pt x="314" y="403"/>
                    <a:pt x="331" y="385"/>
                    <a:pt x="348" y="377"/>
                  </a:cubicBezTo>
                  <a:cubicBezTo>
                    <a:pt x="365" y="369"/>
                    <a:pt x="409" y="355"/>
                    <a:pt x="417" y="348"/>
                  </a:cubicBezTo>
                  <a:cubicBezTo>
                    <a:pt x="425" y="341"/>
                    <a:pt x="458" y="324"/>
                    <a:pt x="458" y="324"/>
                  </a:cubicBezTo>
                  <a:cubicBezTo>
                    <a:pt x="458" y="314"/>
                    <a:pt x="458" y="314"/>
                    <a:pt x="458" y="314"/>
                  </a:cubicBezTo>
                  <a:cubicBezTo>
                    <a:pt x="458" y="314"/>
                    <a:pt x="476" y="295"/>
                    <a:pt x="476" y="290"/>
                  </a:cubicBezTo>
                  <a:cubicBezTo>
                    <a:pt x="476" y="285"/>
                    <a:pt x="498" y="263"/>
                    <a:pt x="498" y="263"/>
                  </a:cubicBezTo>
                  <a:cubicBezTo>
                    <a:pt x="496" y="254"/>
                    <a:pt x="496" y="254"/>
                    <a:pt x="496" y="254"/>
                  </a:cubicBezTo>
                  <a:cubicBezTo>
                    <a:pt x="496" y="254"/>
                    <a:pt x="508" y="237"/>
                    <a:pt x="508" y="229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48" name="Freeform 164"/>
            <p:cNvSpPr>
              <a:spLocks/>
            </p:cNvSpPr>
            <p:nvPr/>
          </p:nvSpPr>
          <p:spPr bwMode="auto">
            <a:xfrm>
              <a:off x="3257" y="2946"/>
              <a:ext cx="62" cy="158"/>
            </a:xfrm>
            <a:custGeom>
              <a:avLst/>
              <a:gdLst>
                <a:gd name="T0" fmla="*/ 0 w 162"/>
                <a:gd name="T1" fmla="*/ 0 h 416"/>
                <a:gd name="T2" fmla="*/ 0 w 162"/>
                <a:gd name="T3" fmla="*/ 0 h 416"/>
                <a:gd name="T4" fmla="*/ 0 w 162"/>
                <a:gd name="T5" fmla="*/ 0 h 416"/>
                <a:gd name="T6" fmla="*/ 0 w 162"/>
                <a:gd name="T7" fmla="*/ 0 h 416"/>
                <a:gd name="T8" fmla="*/ 0 w 162"/>
                <a:gd name="T9" fmla="*/ 0 h 416"/>
                <a:gd name="T10" fmla="*/ 0 w 162"/>
                <a:gd name="T11" fmla="*/ 0 h 416"/>
                <a:gd name="T12" fmla="*/ 0 w 162"/>
                <a:gd name="T13" fmla="*/ 0 h 416"/>
                <a:gd name="T14" fmla="*/ 0 w 162"/>
                <a:gd name="T15" fmla="*/ 0 h 416"/>
                <a:gd name="T16" fmla="*/ 0 w 162"/>
                <a:gd name="T17" fmla="*/ 0 h 416"/>
                <a:gd name="T18" fmla="*/ 0 w 162"/>
                <a:gd name="T19" fmla="*/ 0 h 416"/>
                <a:gd name="T20" fmla="*/ 0 w 162"/>
                <a:gd name="T21" fmla="*/ 0 h 416"/>
                <a:gd name="T22" fmla="*/ 0 w 162"/>
                <a:gd name="T23" fmla="*/ 0 h 416"/>
                <a:gd name="T24" fmla="*/ 0 w 162"/>
                <a:gd name="T25" fmla="*/ 0 h 416"/>
                <a:gd name="T26" fmla="*/ 0 w 162"/>
                <a:gd name="T27" fmla="*/ 0 h 416"/>
                <a:gd name="T28" fmla="*/ 0 w 162"/>
                <a:gd name="T29" fmla="*/ 0 h 416"/>
                <a:gd name="T30" fmla="*/ 0 w 162"/>
                <a:gd name="T31" fmla="*/ 0 h 416"/>
                <a:gd name="T32" fmla="*/ 0 w 162"/>
                <a:gd name="T33" fmla="*/ 0 h 416"/>
                <a:gd name="T34" fmla="*/ 0 w 162"/>
                <a:gd name="T35" fmla="*/ 0 h 416"/>
                <a:gd name="T36" fmla="*/ 0 w 162"/>
                <a:gd name="T37" fmla="*/ 0 h 416"/>
                <a:gd name="T38" fmla="*/ 0 w 162"/>
                <a:gd name="T39" fmla="*/ 0 h 416"/>
                <a:gd name="T40" fmla="*/ 0 w 162"/>
                <a:gd name="T41" fmla="*/ 0 h 416"/>
                <a:gd name="T42" fmla="*/ 0 w 162"/>
                <a:gd name="T43" fmla="*/ 0 h 416"/>
                <a:gd name="T44" fmla="*/ 0 w 162"/>
                <a:gd name="T45" fmla="*/ 0 h 416"/>
                <a:gd name="T46" fmla="*/ 0 w 162"/>
                <a:gd name="T47" fmla="*/ 0 h 416"/>
                <a:gd name="T48" fmla="*/ 0 w 162"/>
                <a:gd name="T49" fmla="*/ 0 h 416"/>
                <a:gd name="T50" fmla="*/ 0 w 162"/>
                <a:gd name="T51" fmla="*/ 0 h 416"/>
                <a:gd name="T52" fmla="*/ 0 w 162"/>
                <a:gd name="T53" fmla="*/ 0 h 416"/>
                <a:gd name="T54" fmla="*/ 0 w 162"/>
                <a:gd name="T55" fmla="*/ 0 h 416"/>
                <a:gd name="T56" fmla="*/ 0 w 162"/>
                <a:gd name="T57" fmla="*/ 0 h 416"/>
                <a:gd name="T58" fmla="*/ 0 w 162"/>
                <a:gd name="T59" fmla="*/ 0 h 416"/>
                <a:gd name="T60" fmla="*/ 0 w 162"/>
                <a:gd name="T61" fmla="*/ 0 h 416"/>
                <a:gd name="T62" fmla="*/ 0 w 162"/>
                <a:gd name="T63" fmla="*/ 0 h 416"/>
                <a:gd name="T64" fmla="*/ 0 w 162"/>
                <a:gd name="T65" fmla="*/ 0 h 416"/>
                <a:gd name="T66" fmla="*/ 0 w 162"/>
                <a:gd name="T67" fmla="*/ 0 h 416"/>
                <a:gd name="T68" fmla="*/ 0 w 162"/>
                <a:gd name="T69" fmla="*/ 0 h 416"/>
                <a:gd name="T70" fmla="*/ 0 w 162"/>
                <a:gd name="T71" fmla="*/ 0 h 416"/>
                <a:gd name="T72" fmla="*/ 0 w 162"/>
                <a:gd name="T73" fmla="*/ 0 h 416"/>
                <a:gd name="T74" fmla="*/ 0 w 162"/>
                <a:gd name="T75" fmla="*/ 0 h 416"/>
                <a:gd name="T76" fmla="*/ 0 w 162"/>
                <a:gd name="T77" fmla="*/ 0 h 416"/>
                <a:gd name="T78" fmla="*/ 0 w 162"/>
                <a:gd name="T79" fmla="*/ 0 h 416"/>
                <a:gd name="T80" fmla="*/ 0 w 162"/>
                <a:gd name="T81" fmla="*/ 0 h 416"/>
                <a:gd name="T82" fmla="*/ 0 w 162"/>
                <a:gd name="T83" fmla="*/ 0 h 416"/>
                <a:gd name="T84" fmla="*/ 0 w 162"/>
                <a:gd name="T85" fmla="*/ 0 h 416"/>
                <a:gd name="T86" fmla="*/ 0 w 162"/>
                <a:gd name="T87" fmla="*/ 0 h 416"/>
                <a:gd name="T88" fmla="*/ 0 w 162"/>
                <a:gd name="T89" fmla="*/ 0 h 416"/>
                <a:gd name="T90" fmla="*/ 0 w 162"/>
                <a:gd name="T91" fmla="*/ 0 h 416"/>
                <a:gd name="T92" fmla="*/ 0 w 162"/>
                <a:gd name="T93" fmla="*/ 0 h 416"/>
                <a:gd name="T94" fmla="*/ 0 w 162"/>
                <a:gd name="T95" fmla="*/ 0 h 416"/>
                <a:gd name="T96" fmla="*/ 0 w 162"/>
                <a:gd name="T97" fmla="*/ 0 h 416"/>
                <a:gd name="T98" fmla="*/ 0 w 162"/>
                <a:gd name="T99" fmla="*/ 0 h 416"/>
                <a:gd name="T100" fmla="*/ 0 w 162"/>
                <a:gd name="T101" fmla="*/ 0 h 416"/>
                <a:gd name="T102" fmla="*/ 0 w 162"/>
                <a:gd name="T103" fmla="*/ 0 h 416"/>
                <a:gd name="T104" fmla="*/ 0 w 162"/>
                <a:gd name="T105" fmla="*/ 0 h 416"/>
                <a:gd name="T106" fmla="*/ 0 w 162"/>
                <a:gd name="T107" fmla="*/ 0 h 416"/>
                <a:gd name="T108" fmla="*/ 0 w 162"/>
                <a:gd name="T109" fmla="*/ 0 h 416"/>
                <a:gd name="T110" fmla="*/ 0 w 162"/>
                <a:gd name="T111" fmla="*/ 0 h 416"/>
                <a:gd name="T112" fmla="*/ 0 w 162"/>
                <a:gd name="T113" fmla="*/ 0 h 41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2"/>
                <a:gd name="T172" fmla="*/ 0 h 416"/>
                <a:gd name="T173" fmla="*/ 162 w 162"/>
                <a:gd name="T174" fmla="*/ 416 h 41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2" h="416">
                  <a:moveTo>
                    <a:pt x="156" y="287"/>
                  </a:moveTo>
                  <a:cubicBezTo>
                    <a:pt x="150" y="278"/>
                    <a:pt x="140" y="268"/>
                    <a:pt x="136" y="260"/>
                  </a:cubicBezTo>
                  <a:cubicBezTo>
                    <a:pt x="132" y="252"/>
                    <a:pt x="114" y="225"/>
                    <a:pt x="110" y="222"/>
                  </a:cubicBezTo>
                  <a:cubicBezTo>
                    <a:pt x="108" y="221"/>
                    <a:pt x="104" y="221"/>
                    <a:pt x="101" y="220"/>
                  </a:cubicBezTo>
                  <a:cubicBezTo>
                    <a:pt x="101" y="225"/>
                    <a:pt x="103" y="228"/>
                    <a:pt x="105" y="229"/>
                  </a:cubicBezTo>
                  <a:cubicBezTo>
                    <a:pt x="110" y="231"/>
                    <a:pt x="114" y="237"/>
                    <a:pt x="114" y="237"/>
                  </a:cubicBezTo>
                  <a:cubicBezTo>
                    <a:pt x="114" y="237"/>
                    <a:pt x="119" y="262"/>
                    <a:pt x="113" y="264"/>
                  </a:cubicBezTo>
                  <a:cubicBezTo>
                    <a:pt x="107" y="266"/>
                    <a:pt x="105" y="253"/>
                    <a:pt x="105" y="253"/>
                  </a:cubicBezTo>
                  <a:cubicBezTo>
                    <a:pt x="105" y="253"/>
                    <a:pt x="93" y="259"/>
                    <a:pt x="90" y="257"/>
                  </a:cubicBezTo>
                  <a:cubicBezTo>
                    <a:pt x="87" y="255"/>
                    <a:pt x="87" y="241"/>
                    <a:pt x="86" y="234"/>
                  </a:cubicBezTo>
                  <a:cubicBezTo>
                    <a:pt x="85" y="227"/>
                    <a:pt x="83" y="224"/>
                    <a:pt x="81" y="220"/>
                  </a:cubicBezTo>
                  <a:cubicBezTo>
                    <a:pt x="79" y="216"/>
                    <a:pt x="81" y="203"/>
                    <a:pt x="81" y="195"/>
                  </a:cubicBezTo>
                  <a:cubicBezTo>
                    <a:pt x="81" y="187"/>
                    <a:pt x="76" y="181"/>
                    <a:pt x="64" y="171"/>
                  </a:cubicBezTo>
                  <a:cubicBezTo>
                    <a:pt x="52" y="161"/>
                    <a:pt x="61" y="163"/>
                    <a:pt x="59" y="154"/>
                  </a:cubicBezTo>
                  <a:cubicBezTo>
                    <a:pt x="57" y="145"/>
                    <a:pt x="67" y="137"/>
                    <a:pt x="77" y="126"/>
                  </a:cubicBezTo>
                  <a:cubicBezTo>
                    <a:pt x="87" y="115"/>
                    <a:pt x="83" y="113"/>
                    <a:pt x="84" y="108"/>
                  </a:cubicBezTo>
                  <a:cubicBezTo>
                    <a:pt x="85" y="103"/>
                    <a:pt x="81" y="98"/>
                    <a:pt x="81" y="90"/>
                  </a:cubicBezTo>
                  <a:cubicBezTo>
                    <a:pt x="81" y="82"/>
                    <a:pt x="79" y="67"/>
                    <a:pt x="78" y="51"/>
                  </a:cubicBezTo>
                  <a:cubicBezTo>
                    <a:pt x="77" y="35"/>
                    <a:pt x="75" y="44"/>
                    <a:pt x="64" y="37"/>
                  </a:cubicBezTo>
                  <a:cubicBezTo>
                    <a:pt x="53" y="30"/>
                    <a:pt x="61" y="21"/>
                    <a:pt x="60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34" y="9"/>
                    <a:pt x="35" y="16"/>
                  </a:cubicBezTo>
                  <a:cubicBezTo>
                    <a:pt x="36" y="23"/>
                    <a:pt x="34" y="42"/>
                    <a:pt x="37" y="42"/>
                  </a:cubicBezTo>
                  <a:cubicBezTo>
                    <a:pt x="40" y="42"/>
                    <a:pt x="46" y="41"/>
                    <a:pt x="46" y="41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54"/>
                    <a:pt x="58" y="57"/>
                    <a:pt x="52" y="64"/>
                  </a:cubicBezTo>
                  <a:cubicBezTo>
                    <a:pt x="46" y="71"/>
                    <a:pt x="30" y="75"/>
                    <a:pt x="30" y="75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3" y="105"/>
                    <a:pt x="33" y="105"/>
                    <a:pt x="33" y="105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34" y="153"/>
                    <a:pt x="45" y="150"/>
                    <a:pt x="42" y="157"/>
                  </a:cubicBezTo>
                  <a:cubicBezTo>
                    <a:pt x="39" y="164"/>
                    <a:pt x="14" y="175"/>
                    <a:pt x="14" y="175"/>
                  </a:cubicBezTo>
                  <a:cubicBezTo>
                    <a:pt x="16" y="200"/>
                    <a:pt x="16" y="200"/>
                    <a:pt x="16" y="200"/>
                  </a:cubicBezTo>
                  <a:cubicBezTo>
                    <a:pt x="16" y="200"/>
                    <a:pt x="0" y="223"/>
                    <a:pt x="1" y="226"/>
                  </a:cubicBezTo>
                  <a:cubicBezTo>
                    <a:pt x="2" y="229"/>
                    <a:pt x="23" y="245"/>
                    <a:pt x="23" y="245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64" y="274"/>
                    <a:pt x="64" y="274"/>
                    <a:pt x="64" y="274"/>
                  </a:cubicBezTo>
                  <a:cubicBezTo>
                    <a:pt x="64" y="274"/>
                    <a:pt x="74" y="267"/>
                    <a:pt x="80" y="270"/>
                  </a:cubicBezTo>
                  <a:cubicBezTo>
                    <a:pt x="80" y="270"/>
                    <a:pt x="84" y="281"/>
                    <a:pt x="83" y="290"/>
                  </a:cubicBezTo>
                  <a:cubicBezTo>
                    <a:pt x="82" y="299"/>
                    <a:pt x="88" y="298"/>
                    <a:pt x="88" y="298"/>
                  </a:cubicBezTo>
                  <a:cubicBezTo>
                    <a:pt x="85" y="319"/>
                    <a:pt x="85" y="319"/>
                    <a:pt x="85" y="319"/>
                  </a:cubicBezTo>
                  <a:cubicBezTo>
                    <a:pt x="75" y="322"/>
                    <a:pt x="75" y="322"/>
                    <a:pt x="75" y="322"/>
                  </a:cubicBezTo>
                  <a:cubicBezTo>
                    <a:pt x="83" y="335"/>
                    <a:pt x="83" y="335"/>
                    <a:pt x="83" y="335"/>
                  </a:cubicBezTo>
                  <a:cubicBezTo>
                    <a:pt x="83" y="335"/>
                    <a:pt x="68" y="347"/>
                    <a:pt x="70" y="350"/>
                  </a:cubicBezTo>
                  <a:cubicBezTo>
                    <a:pt x="72" y="353"/>
                    <a:pt x="77" y="353"/>
                    <a:pt x="77" y="353"/>
                  </a:cubicBezTo>
                  <a:cubicBezTo>
                    <a:pt x="77" y="370"/>
                    <a:pt x="77" y="370"/>
                    <a:pt x="77" y="370"/>
                  </a:cubicBezTo>
                  <a:cubicBezTo>
                    <a:pt x="77" y="370"/>
                    <a:pt x="108" y="390"/>
                    <a:pt x="109" y="396"/>
                  </a:cubicBezTo>
                  <a:cubicBezTo>
                    <a:pt x="110" y="402"/>
                    <a:pt x="96" y="412"/>
                    <a:pt x="107" y="414"/>
                  </a:cubicBezTo>
                  <a:cubicBezTo>
                    <a:pt x="118" y="416"/>
                    <a:pt x="125" y="399"/>
                    <a:pt x="121" y="389"/>
                  </a:cubicBezTo>
                  <a:cubicBezTo>
                    <a:pt x="117" y="379"/>
                    <a:pt x="107" y="391"/>
                    <a:pt x="113" y="373"/>
                  </a:cubicBezTo>
                  <a:cubicBezTo>
                    <a:pt x="119" y="355"/>
                    <a:pt x="137" y="363"/>
                    <a:pt x="143" y="356"/>
                  </a:cubicBezTo>
                  <a:cubicBezTo>
                    <a:pt x="149" y="349"/>
                    <a:pt x="145" y="314"/>
                    <a:pt x="145" y="314"/>
                  </a:cubicBezTo>
                  <a:cubicBezTo>
                    <a:pt x="145" y="314"/>
                    <a:pt x="162" y="296"/>
                    <a:pt x="156" y="287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49" name="Freeform 165"/>
            <p:cNvSpPr>
              <a:spLocks/>
            </p:cNvSpPr>
            <p:nvPr/>
          </p:nvSpPr>
          <p:spPr bwMode="auto">
            <a:xfrm>
              <a:off x="3066" y="2920"/>
              <a:ext cx="213" cy="203"/>
            </a:xfrm>
            <a:custGeom>
              <a:avLst/>
              <a:gdLst>
                <a:gd name="T0" fmla="*/ 0 w 563"/>
                <a:gd name="T1" fmla="*/ 0 h 536"/>
                <a:gd name="T2" fmla="*/ 0 w 563"/>
                <a:gd name="T3" fmla="*/ 0 h 536"/>
                <a:gd name="T4" fmla="*/ 0 w 563"/>
                <a:gd name="T5" fmla="*/ 0 h 536"/>
                <a:gd name="T6" fmla="*/ 0 w 563"/>
                <a:gd name="T7" fmla="*/ 0 h 536"/>
                <a:gd name="T8" fmla="*/ 0 w 563"/>
                <a:gd name="T9" fmla="*/ 0 h 536"/>
                <a:gd name="T10" fmla="*/ 0 w 563"/>
                <a:gd name="T11" fmla="*/ 0 h 536"/>
                <a:gd name="T12" fmla="*/ 0 w 563"/>
                <a:gd name="T13" fmla="*/ 0 h 536"/>
                <a:gd name="T14" fmla="*/ 0 w 563"/>
                <a:gd name="T15" fmla="*/ 0 h 536"/>
                <a:gd name="T16" fmla="*/ 0 w 563"/>
                <a:gd name="T17" fmla="*/ 0 h 536"/>
                <a:gd name="T18" fmla="*/ 0 w 563"/>
                <a:gd name="T19" fmla="*/ 0 h 536"/>
                <a:gd name="T20" fmla="*/ 0 w 563"/>
                <a:gd name="T21" fmla="*/ 0 h 536"/>
                <a:gd name="T22" fmla="*/ 0 w 563"/>
                <a:gd name="T23" fmla="*/ 0 h 536"/>
                <a:gd name="T24" fmla="*/ 0 w 563"/>
                <a:gd name="T25" fmla="*/ 0 h 536"/>
                <a:gd name="T26" fmla="*/ 0 w 563"/>
                <a:gd name="T27" fmla="*/ 0 h 536"/>
                <a:gd name="T28" fmla="*/ 0 w 563"/>
                <a:gd name="T29" fmla="*/ 0 h 536"/>
                <a:gd name="T30" fmla="*/ 0 w 563"/>
                <a:gd name="T31" fmla="*/ 0 h 536"/>
                <a:gd name="T32" fmla="*/ 0 w 563"/>
                <a:gd name="T33" fmla="*/ 0 h 536"/>
                <a:gd name="T34" fmla="*/ 0 w 563"/>
                <a:gd name="T35" fmla="*/ 0 h 536"/>
                <a:gd name="T36" fmla="*/ 0 w 563"/>
                <a:gd name="T37" fmla="*/ 0 h 536"/>
                <a:gd name="T38" fmla="*/ 0 w 563"/>
                <a:gd name="T39" fmla="*/ 0 h 536"/>
                <a:gd name="T40" fmla="*/ 0 w 563"/>
                <a:gd name="T41" fmla="*/ 0 h 536"/>
                <a:gd name="T42" fmla="*/ 0 w 563"/>
                <a:gd name="T43" fmla="*/ 0 h 536"/>
                <a:gd name="T44" fmla="*/ 0 w 563"/>
                <a:gd name="T45" fmla="*/ 0 h 536"/>
                <a:gd name="T46" fmla="*/ 0 w 563"/>
                <a:gd name="T47" fmla="*/ 0 h 536"/>
                <a:gd name="T48" fmla="*/ 0 w 563"/>
                <a:gd name="T49" fmla="*/ 0 h 536"/>
                <a:gd name="T50" fmla="*/ 0 w 563"/>
                <a:gd name="T51" fmla="*/ 0 h 536"/>
                <a:gd name="T52" fmla="*/ 0 w 563"/>
                <a:gd name="T53" fmla="*/ 0 h 536"/>
                <a:gd name="T54" fmla="*/ 0 w 563"/>
                <a:gd name="T55" fmla="*/ 0 h 536"/>
                <a:gd name="T56" fmla="*/ 0 w 563"/>
                <a:gd name="T57" fmla="*/ 0 h 536"/>
                <a:gd name="T58" fmla="*/ 0 w 563"/>
                <a:gd name="T59" fmla="*/ 0 h 536"/>
                <a:gd name="T60" fmla="*/ 0 w 563"/>
                <a:gd name="T61" fmla="*/ 0 h 536"/>
                <a:gd name="T62" fmla="*/ 0 w 563"/>
                <a:gd name="T63" fmla="*/ 0 h 536"/>
                <a:gd name="T64" fmla="*/ 0 w 563"/>
                <a:gd name="T65" fmla="*/ 0 h 536"/>
                <a:gd name="T66" fmla="*/ 0 w 563"/>
                <a:gd name="T67" fmla="*/ 0 h 536"/>
                <a:gd name="T68" fmla="*/ 0 w 563"/>
                <a:gd name="T69" fmla="*/ 0 h 536"/>
                <a:gd name="T70" fmla="*/ 0 w 563"/>
                <a:gd name="T71" fmla="*/ 0 h 536"/>
                <a:gd name="T72" fmla="*/ 0 w 563"/>
                <a:gd name="T73" fmla="*/ 0 h 536"/>
                <a:gd name="T74" fmla="*/ 0 w 563"/>
                <a:gd name="T75" fmla="*/ 0 h 536"/>
                <a:gd name="T76" fmla="*/ 0 w 563"/>
                <a:gd name="T77" fmla="*/ 0 h 536"/>
                <a:gd name="T78" fmla="*/ 0 w 563"/>
                <a:gd name="T79" fmla="*/ 0 h 536"/>
                <a:gd name="T80" fmla="*/ 0 w 563"/>
                <a:gd name="T81" fmla="*/ 0 h 536"/>
                <a:gd name="T82" fmla="*/ 0 w 563"/>
                <a:gd name="T83" fmla="*/ 0 h 536"/>
                <a:gd name="T84" fmla="*/ 0 w 563"/>
                <a:gd name="T85" fmla="*/ 0 h 536"/>
                <a:gd name="T86" fmla="*/ 0 w 563"/>
                <a:gd name="T87" fmla="*/ 0 h 536"/>
                <a:gd name="T88" fmla="*/ 0 w 563"/>
                <a:gd name="T89" fmla="*/ 0 h 536"/>
                <a:gd name="T90" fmla="*/ 0 w 563"/>
                <a:gd name="T91" fmla="*/ 0 h 536"/>
                <a:gd name="T92" fmla="*/ 0 w 563"/>
                <a:gd name="T93" fmla="*/ 0 h 536"/>
                <a:gd name="T94" fmla="*/ 0 w 563"/>
                <a:gd name="T95" fmla="*/ 0 h 536"/>
                <a:gd name="T96" fmla="*/ 0 w 563"/>
                <a:gd name="T97" fmla="*/ 0 h 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63"/>
                <a:gd name="T148" fmla="*/ 0 h 536"/>
                <a:gd name="T149" fmla="*/ 563 w 563"/>
                <a:gd name="T150" fmla="*/ 536 h 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63" h="536">
                  <a:moveTo>
                    <a:pt x="551" y="122"/>
                  </a:moveTo>
                  <a:cubicBezTo>
                    <a:pt x="551" y="109"/>
                    <a:pt x="551" y="109"/>
                    <a:pt x="551" y="109"/>
                  </a:cubicBezTo>
                  <a:cubicBezTo>
                    <a:pt x="551" y="109"/>
                    <a:pt x="545" y="110"/>
                    <a:pt x="542" y="110"/>
                  </a:cubicBezTo>
                  <a:cubicBezTo>
                    <a:pt x="539" y="110"/>
                    <a:pt x="541" y="91"/>
                    <a:pt x="540" y="84"/>
                  </a:cubicBezTo>
                  <a:cubicBezTo>
                    <a:pt x="539" y="77"/>
                    <a:pt x="525" y="77"/>
                    <a:pt x="525" y="77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4" y="59"/>
                    <a:pt x="514" y="59"/>
                    <a:pt x="514" y="59"/>
                  </a:cubicBezTo>
                  <a:cubicBezTo>
                    <a:pt x="502" y="60"/>
                    <a:pt x="502" y="60"/>
                    <a:pt x="502" y="60"/>
                  </a:cubicBezTo>
                  <a:cubicBezTo>
                    <a:pt x="500" y="49"/>
                    <a:pt x="500" y="49"/>
                    <a:pt x="500" y="49"/>
                  </a:cubicBezTo>
                  <a:cubicBezTo>
                    <a:pt x="500" y="49"/>
                    <a:pt x="490" y="55"/>
                    <a:pt x="485" y="51"/>
                  </a:cubicBezTo>
                  <a:cubicBezTo>
                    <a:pt x="480" y="47"/>
                    <a:pt x="473" y="38"/>
                    <a:pt x="473" y="38"/>
                  </a:cubicBezTo>
                  <a:cubicBezTo>
                    <a:pt x="473" y="38"/>
                    <a:pt x="464" y="41"/>
                    <a:pt x="461" y="38"/>
                  </a:cubicBezTo>
                  <a:cubicBezTo>
                    <a:pt x="458" y="35"/>
                    <a:pt x="456" y="23"/>
                    <a:pt x="456" y="23"/>
                  </a:cubicBezTo>
                  <a:cubicBezTo>
                    <a:pt x="456" y="23"/>
                    <a:pt x="444" y="27"/>
                    <a:pt x="436" y="26"/>
                  </a:cubicBezTo>
                  <a:cubicBezTo>
                    <a:pt x="434" y="31"/>
                    <a:pt x="431" y="36"/>
                    <a:pt x="428" y="38"/>
                  </a:cubicBezTo>
                  <a:cubicBezTo>
                    <a:pt x="420" y="42"/>
                    <a:pt x="419" y="25"/>
                    <a:pt x="419" y="25"/>
                  </a:cubicBezTo>
                  <a:cubicBezTo>
                    <a:pt x="419" y="25"/>
                    <a:pt x="411" y="20"/>
                    <a:pt x="400" y="16"/>
                  </a:cubicBezTo>
                  <a:cubicBezTo>
                    <a:pt x="393" y="13"/>
                    <a:pt x="398" y="6"/>
                    <a:pt x="402" y="0"/>
                  </a:cubicBezTo>
                  <a:cubicBezTo>
                    <a:pt x="394" y="4"/>
                    <a:pt x="387" y="6"/>
                    <a:pt x="383" y="7"/>
                  </a:cubicBezTo>
                  <a:cubicBezTo>
                    <a:pt x="370" y="10"/>
                    <a:pt x="333" y="15"/>
                    <a:pt x="333" y="15"/>
                  </a:cubicBezTo>
                  <a:cubicBezTo>
                    <a:pt x="333" y="15"/>
                    <a:pt x="333" y="28"/>
                    <a:pt x="333" y="35"/>
                  </a:cubicBezTo>
                  <a:cubicBezTo>
                    <a:pt x="333" y="42"/>
                    <a:pt x="306" y="57"/>
                    <a:pt x="306" y="57"/>
                  </a:cubicBezTo>
                  <a:cubicBezTo>
                    <a:pt x="306" y="57"/>
                    <a:pt x="312" y="64"/>
                    <a:pt x="315" y="66"/>
                  </a:cubicBezTo>
                  <a:cubicBezTo>
                    <a:pt x="318" y="68"/>
                    <a:pt x="320" y="87"/>
                    <a:pt x="320" y="87"/>
                  </a:cubicBezTo>
                  <a:cubicBezTo>
                    <a:pt x="320" y="87"/>
                    <a:pt x="324" y="121"/>
                    <a:pt x="324" y="135"/>
                  </a:cubicBezTo>
                  <a:cubicBezTo>
                    <a:pt x="324" y="149"/>
                    <a:pt x="302" y="171"/>
                    <a:pt x="304" y="189"/>
                  </a:cubicBezTo>
                  <a:cubicBezTo>
                    <a:pt x="306" y="207"/>
                    <a:pt x="317" y="202"/>
                    <a:pt x="323" y="209"/>
                  </a:cubicBezTo>
                  <a:cubicBezTo>
                    <a:pt x="329" y="216"/>
                    <a:pt x="341" y="230"/>
                    <a:pt x="351" y="230"/>
                  </a:cubicBezTo>
                  <a:cubicBezTo>
                    <a:pt x="361" y="230"/>
                    <a:pt x="358" y="217"/>
                    <a:pt x="358" y="217"/>
                  </a:cubicBezTo>
                  <a:cubicBezTo>
                    <a:pt x="364" y="214"/>
                    <a:pt x="364" y="214"/>
                    <a:pt x="364" y="214"/>
                  </a:cubicBezTo>
                  <a:cubicBezTo>
                    <a:pt x="372" y="214"/>
                    <a:pt x="372" y="214"/>
                    <a:pt x="372" y="214"/>
                  </a:cubicBezTo>
                  <a:cubicBezTo>
                    <a:pt x="372" y="214"/>
                    <a:pt x="373" y="279"/>
                    <a:pt x="367" y="282"/>
                  </a:cubicBezTo>
                  <a:cubicBezTo>
                    <a:pt x="361" y="285"/>
                    <a:pt x="359" y="271"/>
                    <a:pt x="359" y="271"/>
                  </a:cubicBezTo>
                  <a:cubicBezTo>
                    <a:pt x="344" y="281"/>
                    <a:pt x="344" y="281"/>
                    <a:pt x="344" y="281"/>
                  </a:cubicBezTo>
                  <a:cubicBezTo>
                    <a:pt x="332" y="281"/>
                    <a:pt x="332" y="281"/>
                    <a:pt x="332" y="281"/>
                  </a:cubicBezTo>
                  <a:cubicBezTo>
                    <a:pt x="332" y="281"/>
                    <a:pt x="329" y="258"/>
                    <a:pt x="324" y="251"/>
                  </a:cubicBezTo>
                  <a:cubicBezTo>
                    <a:pt x="319" y="244"/>
                    <a:pt x="313" y="247"/>
                    <a:pt x="313" y="247"/>
                  </a:cubicBezTo>
                  <a:cubicBezTo>
                    <a:pt x="313" y="247"/>
                    <a:pt x="311" y="236"/>
                    <a:pt x="305" y="228"/>
                  </a:cubicBezTo>
                  <a:cubicBezTo>
                    <a:pt x="299" y="220"/>
                    <a:pt x="294" y="228"/>
                    <a:pt x="290" y="228"/>
                  </a:cubicBezTo>
                  <a:cubicBezTo>
                    <a:pt x="286" y="228"/>
                    <a:pt x="287" y="220"/>
                    <a:pt x="282" y="216"/>
                  </a:cubicBezTo>
                  <a:cubicBezTo>
                    <a:pt x="277" y="212"/>
                    <a:pt x="275" y="218"/>
                    <a:pt x="267" y="217"/>
                  </a:cubicBezTo>
                  <a:cubicBezTo>
                    <a:pt x="259" y="216"/>
                    <a:pt x="267" y="207"/>
                    <a:pt x="267" y="203"/>
                  </a:cubicBezTo>
                  <a:cubicBezTo>
                    <a:pt x="267" y="199"/>
                    <a:pt x="257" y="199"/>
                    <a:pt x="253" y="194"/>
                  </a:cubicBezTo>
                  <a:cubicBezTo>
                    <a:pt x="249" y="189"/>
                    <a:pt x="258" y="184"/>
                    <a:pt x="246" y="179"/>
                  </a:cubicBezTo>
                  <a:cubicBezTo>
                    <a:pt x="234" y="174"/>
                    <a:pt x="237" y="200"/>
                    <a:pt x="232" y="204"/>
                  </a:cubicBezTo>
                  <a:cubicBezTo>
                    <a:pt x="227" y="208"/>
                    <a:pt x="175" y="195"/>
                    <a:pt x="165" y="188"/>
                  </a:cubicBezTo>
                  <a:cubicBezTo>
                    <a:pt x="155" y="181"/>
                    <a:pt x="159" y="162"/>
                    <a:pt x="159" y="162"/>
                  </a:cubicBezTo>
                  <a:cubicBezTo>
                    <a:pt x="128" y="168"/>
                    <a:pt x="128" y="168"/>
                    <a:pt x="128" y="168"/>
                  </a:cubicBezTo>
                  <a:cubicBezTo>
                    <a:pt x="128" y="168"/>
                    <a:pt x="142" y="178"/>
                    <a:pt x="125" y="177"/>
                  </a:cubicBezTo>
                  <a:cubicBezTo>
                    <a:pt x="108" y="176"/>
                    <a:pt x="117" y="151"/>
                    <a:pt x="117" y="151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1" y="144"/>
                    <a:pt x="101" y="144"/>
                    <a:pt x="101" y="144"/>
                  </a:cubicBezTo>
                  <a:cubicBezTo>
                    <a:pt x="96" y="154"/>
                    <a:pt x="96" y="154"/>
                    <a:pt x="96" y="154"/>
                  </a:cubicBezTo>
                  <a:cubicBezTo>
                    <a:pt x="96" y="154"/>
                    <a:pt x="110" y="175"/>
                    <a:pt x="107" y="178"/>
                  </a:cubicBezTo>
                  <a:cubicBezTo>
                    <a:pt x="104" y="181"/>
                    <a:pt x="96" y="183"/>
                    <a:pt x="96" y="183"/>
                  </a:cubicBezTo>
                  <a:cubicBezTo>
                    <a:pt x="98" y="218"/>
                    <a:pt x="98" y="218"/>
                    <a:pt x="98" y="218"/>
                  </a:cubicBezTo>
                  <a:cubicBezTo>
                    <a:pt x="106" y="229"/>
                    <a:pt x="106" y="229"/>
                    <a:pt x="106" y="229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2"/>
                    <a:pt x="99" y="248"/>
                    <a:pt x="97" y="255"/>
                  </a:cubicBezTo>
                  <a:cubicBezTo>
                    <a:pt x="95" y="262"/>
                    <a:pt x="84" y="262"/>
                    <a:pt x="84" y="262"/>
                  </a:cubicBezTo>
                  <a:cubicBezTo>
                    <a:pt x="1" y="260"/>
                    <a:pt x="1" y="260"/>
                    <a:pt x="1" y="260"/>
                  </a:cubicBezTo>
                  <a:cubicBezTo>
                    <a:pt x="0" y="427"/>
                    <a:pt x="0" y="427"/>
                    <a:pt x="0" y="427"/>
                  </a:cubicBezTo>
                  <a:cubicBezTo>
                    <a:pt x="6" y="437"/>
                    <a:pt x="6" y="437"/>
                    <a:pt x="6" y="437"/>
                  </a:cubicBezTo>
                  <a:cubicBezTo>
                    <a:pt x="6" y="449"/>
                    <a:pt x="6" y="449"/>
                    <a:pt x="6" y="449"/>
                  </a:cubicBezTo>
                  <a:cubicBezTo>
                    <a:pt x="64" y="507"/>
                    <a:pt x="64" y="507"/>
                    <a:pt x="64" y="507"/>
                  </a:cubicBezTo>
                  <a:cubicBezTo>
                    <a:pt x="79" y="511"/>
                    <a:pt x="79" y="511"/>
                    <a:pt x="79" y="511"/>
                  </a:cubicBezTo>
                  <a:cubicBezTo>
                    <a:pt x="92" y="503"/>
                    <a:pt x="92" y="503"/>
                    <a:pt x="92" y="503"/>
                  </a:cubicBezTo>
                  <a:cubicBezTo>
                    <a:pt x="92" y="503"/>
                    <a:pt x="99" y="498"/>
                    <a:pt x="108" y="498"/>
                  </a:cubicBezTo>
                  <a:cubicBezTo>
                    <a:pt x="117" y="498"/>
                    <a:pt x="118" y="506"/>
                    <a:pt x="118" y="506"/>
                  </a:cubicBezTo>
                  <a:cubicBezTo>
                    <a:pt x="138" y="504"/>
                    <a:pt x="138" y="504"/>
                    <a:pt x="138" y="504"/>
                  </a:cubicBezTo>
                  <a:cubicBezTo>
                    <a:pt x="151" y="517"/>
                    <a:pt x="151" y="517"/>
                    <a:pt x="151" y="517"/>
                  </a:cubicBezTo>
                  <a:cubicBezTo>
                    <a:pt x="151" y="517"/>
                    <a:pt x="175" y="513"/>
                    <a:pt x="177" y="517"/>
                  </a:cubicBezTo>
                  <a:cubicBezTo>
                    <a:pt x="179" y="521"/>
                    <a:pt x="185" y="527"/>
                    <a:pt x="189" y="527"/>
                  </a:cubicBezTo>
                  <a:cubicBezTo>
                    <a:pt x="193" y="527"/>
                    <a:pt x="195" y="515"/>
                    <a:pt x="202" y="521"/>
                  </a:cubicBezTo>
                  <a:cubicBezTo>
                    <a:pt x="209" y="527"/>
                    <a:pt x="210" y="536"/>
                    <a:pt x="228" y="527"/>
                  </a:cubicBezTo>
                  <a:cubicBezTo>
                    <a:pt x="246" y="518"/>
                    <a:pt x="267" y="491"/>
                    <a:pt x="267" y="491"/>
                  </a:cubicBezTo>
                  <a:cubicBezTo>
                    <a:pt x="267" y="491"/>
                    <a:pt x="269" y="475"/>
                    <a:pt x="276" y="468"/>
                  </a:cubicBezTo>
                  <a:cubicBezTo>
                    <a:pt x="283" y="461"/>
                    <a:pt x="322" y="450"/>
                    <a:pt x="323" y="449"/>
                  </a:cubicBezTo>
                  <a:cubicBezTo>
                    <a:pt x="324" y="448"/>
                    <a:pt x="321" y="425"/>
                    <a:pt x="321" y="425"/>
                  </a:cubicBezTo>
                  <a:cubicBezTo>
                    <a:pt x="321" y="425"/>
                    <a:pt x="339" y="411"/>
                    <a:pt x="356" y="405"/>
                  </a:cubicBezTo>
                  <a:cubicBezTo>
                    <a:pt x="369" y="400"/>
                    <a:pt x="387" y="400"/>
                    <a:pt x="396" y="401"/>
                  </a:cubicBezTo>
                  <a:cubicBezTo>
                    <a:pt x="395" y="385"/>
                    <a:pt x="395" y="385"/>
                    <a:pt x="395" y="385"/>
                  </a:cubicBezTo>
                  <a:cubicBezTo>
                    <a:pt x="395" y="385"/>
                    <a:pt x="380" y="371"/>
                    <a:pt x="385" y="367"/>
                  </a:cubicBezTo>
                  <a:cubicBezTo>
                    <a:pt x="391" y="363"/>
                    <a:pt x="411" y="362"/>
                    <a:pt x="411" y="362"/>
                  </a:cubicBezTo>
                  <a:cubicBezTo>
                    <a:pt x="423" y="351"/>
                    <a:pt x="423" y="351"/>
                    <a:pt x="423" y="351"/>
                  </a:cubicBezTo>
                  <a:cubicBezTo>
                    <a:pt x="423" y="351"/>
                    <a:pt x="465" y="343"/>
                    <a:pt x="475" y="338"/>
                  </a:cubicBezTo>
                  <a:cubicBezTo>
                    <a:pt x="484" y="333"/>
                    <a:pt x="528" y="313"/>
                    <a:pt x="528" y="313"/>
                  </a:cubicBezTo>
                  <a:cubicBezTo>
                    <a:pt x="528" y="313"/>
                    <a:pt x="507" y="297"/>
                    <a:pt x="506" y="294"/>
                  </a:cubicBezTo>
                  <a:cubicBezTo>
                    <a:pt x="505" y="291"/>
                    <a:pt x="521" y="268"/>
                    <a:pt x="521" y="268"/>
                  </a:cubicBezTo>
                  <a:cubicBezTo>
                    <a:pt x="519" y="243"/>
                    <a:pt x="519" y="243"/>
                    <a:pt x="519" y="243"/>
                  </a:cubicBezTo>
                  <a:cubicBezTo>
                    <a:pt x="519" y="243"/>
                    <a:pt x="544" y="232"/>
                    <a:pt x="547" y="225"/>
                  </a:cubicBezTo>
                  <a:cubicBezTo>
                    <a:pt x="550" y="218"/>
                    <a:pt x="539" y="221"/>
                    <a:pt x="539" y="221"/>
                  </a:cubicBezTo>
                  <a:cubicBezTo>
                    <a:pt x="538" y="173"/>
                    <a:pt x="538" y="173"/>
                    <a:pt x="538" y="173"/>
                  </a:cubicBezTo>
                  <a:cubicBezTo>
                    <a:pt x="542" y="160"/>
                    <a:pt x="542" y="160"/>
                    <a:pt x="542" y="160"/>
                  </a:cubicBezTo>
                  <a:cubicBezTo>
                    <a:pt x="535" y="154"/>
                    <a:pt x="535" y="154"/>
                    <a:pt x="535" y="154"/>
                  </a:cubicBezTo>
                  <a:cubicBezTo>
                    <a:pt x="535" y="143"/>
                    <a:pt x="535" y="143"/>
                    <a:pt x="535" y="143"/>
                  </a:cubicBezTo>
                  <a:cubicBezTo>
                    <a:pt x="535" y="143"/>
                    <a:pt x="551" y="139"/>
                    <a:pt x="557" y="132"/>
                  </a:cubicBezTo>
                  <a:cubicBezTo>
                    <a:pt x="563" y="125"/>
                    <a:pt x="551" y="122"/>
                    <a:pt x="551" y="122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50" name="Freeform 166"/>
            <p:cNvSpPr>
              <a:spLocks/>
            </p:cNvSpPr>
            <p:nvPr/>
          </p:nvSpPr>
          <p:spPr bwMode="auto">
            <a:xfrm>
              <a:off x="2893" y="2643"/>
              <a:ext cx="342" cy="385"/>
            </a:xfrm>
            <a:custGeom>
              <a:avLst/>
              <a:gdLst>
                <a:gd name="T0" fmla="*/ 0 w 902"/>
                <a:gd name="T1" fmla="*/ 0 h 1016"/>
                <a:gd name="T2" fmla="*/ 0 w 902"/>
                <a:gd name="T3" fmla="*/ 0 h 1016"/>
                <a:gd name="T4" fmla="*/ 0 w 902"/>
                <a:gd name="T5" fmla="*/ 0 h 1016"/>
                <a:gd name="T6" fmla="*/ 0 w 902"/>
                <a:gd name="T7" fmla="*/ 0 h 1016"/>
                <a:gd name="T8" fmla="*/ 0 w 902"/>
                <a:gd name="T9" fmla="*/ 0 h 1016"/>
                <a:gd name="T10" fmla="*/ 0 w 902"/>
                <a:gd name="T11" fmla="*/ 0 h 1016"/>
                <a:gd name="T12" fmla="*/ 0 w 902"/>
                <a:gd name="T13" fmla="*/ 0 h 1016"/>
                <a:gd name="T14" fmla="*/ 0 w 902"/>
                <a:gd name="T15" fmla="*/ 0 h 1016"/>
                <a:gd name="T16" fmla="*/ 0 w 902"/>
                <a:gd name="T17" fmla="*/ 0 h 1016"/>
                <a:gd name="T18" fmla="*/ 0 w 902"/>
                <a:gd name="T19" fmla="*/ 0 h 1016"/>
                <a:gd name="T20" fmla="*/ 0 w 902"/>
                <a:gd name="T21" fmla="*/ 0 h 1016"/>
                <a:gd name="T22" fmla="*/ 0 w 902"/>
                <a:gd name="T23" fmla="*/ 0 h 1016"/>
                <a:gd name="T24" fmla="*/ 0 w 902"/>
                <a:gd name="T25" fmla="*/ 0 h 1016"/>
                <a:gd name="T26" fmla="*/ 0 w 902"/>
                <a:gd name="T27" fmla="*/ 0 h 1016"/>
                <a:gd name="T28" fmla="*/ 0 w 902"/>
                <a:gd name="T29" fmla="*/ 0 h 1016"/>
                <a:gd name="T30" fmla="*/ 0 w 902"/>
                <a:gd name="T31" fmla="*/ 0 h 1016"/>
                <a:gd name="T32" fmla="*/ 0 w 902"/>
                <a:gd name="T33" fmla="*/ 0 h 1016"/>
                <a:gd name="T34" fmla="*/ 0 w 902"/>
                <a:gd name="T35" fmla="*/ 0 h 1016"/>
                <a:gd name="T36" fmla="*/ 0 w 902"/>
                <a:gd name="T37" fmla="*/ 0 h 1016"/>
                <a:gd name="T38" fmla="*/ 0 w 902"/>
                <a:gd name="T39" fmla="*/ 0 h 1016"/>
                <a:gd name="T40" fmla="*/ 0 w 902"/>
                <a:gd name="T41" fmla="*/ 0 h 1016"/>
                <a:gd name="T42" fmla="*/ 0 w 902"/>
                <a:gd name="T43" fmla="*/ 0 h 1016"/>
                <a:gd name="T44" fmla="*/ 0 w 902"/>
                <a:gd name="T45" fmla="*/ 0 h 1016"/>
                <a:gd name="T46" fmla="*/ 0 w 902"/>
                <a:gd name="T47" fmla="*/ 0 h 1016"/>
                <a:gd name="T48" fmla="*/ 0 w 902"/>
                <a:gd name="T49" fmla="*/ 0 h 1016"/>
                <a:gd name="T50" fmla="*/ 0 w 902"/>
                <a:gd name="T51" fmla="*/ 0 h 1016"/>
                <a:gd name="T52" fmla="*/ 0 w 902"/>
                <a:gd name="T53" fmla="*/ 0 h 1016"/>
                <a:gd name="T54" fmla="*/ 0 w 902"/>
                <a:gd name="T55" fmla="*/ 0 h 1016"/>
                <a:gd name="T56" fmla="*/ 0 w 902"/>
                <a:gd name="T57" fmla="*/ 0 h 1016"/>
                <a:gd name="T58" fmla="*/ 0 w 902"/>
                <a:gd name="T59" fmla="*/ 0 h 1016"/>
                <a:gd name="T60" fmla="*/ 0 w 902"/>
                <a:gd name="T61" fmla="*/ 0 h 1016"/>
                <a:gd name="T62" fmla="*/ 0 w 902"/>
                <a:gd name="T63" fmla="*/ 0 h 1016"/>
                <a:gd name="T64" fmla="*/ 0 w 902"/>
                <a:gd name="T65" fmla="*/ 0 h 1016"/>
                <a:gd name="T66" fmla="*/ 0 w 902"/>
                <a:gd name="T67" fmla="*/ 0 h 1016"/>
                <a:gd name="T68" fmla="*/ 0 w 902"/>
                <a:gd name="T69" fmla="*/ 0 h 1016"/>
                <a:gd name="T70" fmla="*/ 0 w 902"/>
                <a:gd name="T71" fmla="*/ 0 h 1016"/>
                <a:gd name="T72" fmla="*/ 0 w 902"/>
                <a:gd name="T73" fmla="*/ 0 h 1016"/>
                <a:gd name="T74" fmla="*/ 0 w 902"/>
                <a:gd name="T75" fmla="*/ 0 h 1016"/>
                <a:gd name="T76" fmla="*/ 0 w 902"/>
                <a:gd name="T77" fmla="*/ 0 h 1016"/>
                <a:gd name="T78" fmla="*/ 0 w 902"/>
                <a:gd name="T79" fmla="*/ 0 h 1016"/>
                <a:gd name="T80" fmla="*/ 0 w 902"/>
                <a:gd name="T81" fmla="*/ 0 h 1016"/>
                <a:gd name="T82" fmla="*/ 0 w 902"/>
                <a:gd name="T83" fmla="*/ 0 h 1016"/>
                <a:gd name="T84" fmla="*/ 0 w 902"/>
                <a:gd name="T85" fmla="*/ 0 h 1016"/>
                <a:gd name="T86" fmla="*/ 0 w 902"/>
                <a:gd name="T87" fmla="*/ 0 h 1016"/>
                <a:gd name="T88" fmla="*/ 0 w 902"/>
                <a:gd name="T89" fmla="*/ 0 h 1016"/>
                <a:gd name="T90" fmla="*/ 0 w 902"/>
                <a:gd name="T91" fmla="*/ 0 h 1016"/>
                <a:gd name="T92" fmla="*/ 0 w 902"/>
                <a:gd name="T93" fmla="*/ 0 h 1016"/>
                <a:gd name="T94" fmla="*/ 0 w 902"/>
                <a:gd name="T95" fmla="*/ 0 h 1016"/>
                <a:gd name="T96" fmla="*/ 0 w 902"/>
                <a:gd name="T97" fmla="*/ 0 h 1016"/>
                <a:gd name="T98" fmla="*/ 0 w 902"/>
                <a:gd name="T99" fmla="*/ 0 h 1016"/>
                <a:gd name="T100" fmla="*/ 0 w 902"/>
                <a:gd name="T101" fmla="*/ 0 h 1016"/>
                <a:gd name="T102" fmla="*/ 0 w 902"/>
                <a:gd name="T103" fmla="*/ 0 h 1016"/>
                <a:gd name="T104" fmla="*/ 0 w 902"/>
                <a:gd name="T105" fmla="*/ 0 h 1016"/>
                <a:gd name="T106" fmla="*/ 0 w 902"/>
                <a:gd name="T107" fmla="*/ 0 h 1016"/>
                <a:gd name="T108" fmla="*/ 0 w 902"/>
                <a:gd name="T109" fmla="*/ 0 h 1016"/>
                <a:gd name="T110" fmla="*/ 0 w 902"/>
                <a:gd name="T111" fmla="*/ 0 h 1016"/>
                <a:gd name="T112" fmla="*/ 0 w 902"/>
                <a:gd name="T113" fmla="*/ 0 h 1016"/>
                <a:gd name="T114" fmla="*/ 0 w 902"/>
                <a:gd name="T115" fmla="*/ 0 h 1016"/>
                <a:gd name="T116" fmla="*/ 0 w 902"/>
                <a:gd name="T117" fmla="*/ 0 h 1016"/>
                <a:gd name="T118" fmla="*/ 0 w 902"/>
                <a:gd name="T119" fmla="*/ 0 h 1016"/>
                <a:gd name="T120" fmla="*/ 0 w 902"/>
                <a:gd name="T121" fmla="*/ 0 h 1016"/>
                <a:gd name="T122" fmla="*/ 0 w 902"/>
                <a:gd name="T123" fmla="*/ 0 h 101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02"/>
                <a:gd name="T187" fmla="*/ 0 h 1016"/>
                <a:gd name="T188" fmla="*/ 902 w 902"/>
                <a:gd name="T189" fmla="*/ 1016 h 101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02" h="1016">
                  <a:moveTo>
                    <a:pt x="828" y="315"/>
                  </a:moveTo>
                  <a:cubicBezTo>
                    <a:pt x="828" y="295"/>
                    <a:pt x="828" y="295"/>
                    <a:pt x="828" y="295"/>
                  </a:cubicBezTo>
                  <a:cubicBezTo>
                    <a:pt x="838" y="264"/>
                    <a:pt x="838" y="264"/>
                    <a:pt x="838" y="264"/>
                  </a:cubicBezTo>
                  <a:cubicBezTo>
                    <a:pt x="840" y="247"/>
                    <a:pt x="840" y="247"/>
                    <a:pt x="840" y="247"/>
                  </a:cubicBezTo>
                  <a:cubicBezTo>
                    <a:pt x="853" y="239"/>
                    <a:pt x="853" y="239"/>
                    <a:pt x="853" y="239"/>
                  </a:cubicBezTo>
                  <a:cubicBezTo>
                    <a:pt x="853" y="230"/>
                    <a:pt x="853" y="230"/>
                    <a:pt x="853" y="230"/>
                  </a:cubicBezTo>
                  <a:cubicBezTo>
                    <a:pt x="869" y="222"/>
                    <a:pt x="869" y="222"/>
                    <a:pt x="869" y="222"/>
                  </a:cubicBezTo>
                  <a:cubicBezTo>
                    <a:pt x="869" y="222"/>
                    <a:pt x="902" y="182"/>
                    <a:pt x="902" y="174"/>
                  </a:cubicBezTo>
                  <a:cubicBezTo>
                    <a:pt x="902" y="166"/>
                    <a:pt x="890" y="163"/>
                    <a:pt x="890" y="163"/>
                  </a:cubicBezTo>
                  <a:cubicBezTo>
                    <a:pt x="890" y="163"/>
                    <a:pt x="879" y="164"/>
                    <a:pt x="876" y="158"/>
                  </a:cubicBezTo>
                  <a:cubicBezTo>
                    <a:pt x="873" y="153"/>
                    <a:pt x="882" y="142"/>
                    <a:pt x="883" y="137"/>
                  </a:cubicBezTo>
                  <a:cubicBezTo>
                    <a:pt x="884" y="131"/>
                    <a:pt x="873" y="127"/>
                    <a:pt x="873" y="127"/>
                  </a:cubicBezTo>
                  <a:cubicBezTo>
                    <a:pt x="886" y="113"/>
                    <a:pt x="886" y="113"/>
                    <a:pt x="886" y="113"/>
                  </a:cubicBezTo>
                  <a:cubicBezTo>
                    <a:pt x="880" y="100"/>
                    <a:pt x="880" y="100"/>
                    <a:pt x="880" y="100"/>
                  </a:cubicBezTo>
                  <a:cubicBezTo>
                    <a:pt x="869" y="98"/>
                    <a:pt x="869" y="98"/>
                    <a:pt x="869" y="98"/>
                  </a:cubicBezTo>
                  <a:cubicBezTo>
                    <a:pt x="866" y="84"/>
                    <a:pt x="866" y="84"/>
                    <a:pt x="866" y="84"/>
                  </a:cubicBezTo>
                  <a:cubicBezTo>
                    <a:pt x="866" y="84"/>
                    <a:pt x="847" y="80"/>
                    <a:pt x="839" y="68"/>
                  </a:cubicBezTo>
                  <a:cubicBezTo>
                    <a:pt x="831" y="56"/>
                    <a:pt x="827" y="39"/>
                    <a:pt x="820" y="39"/>
                  </a:cubicBezTo>
                  <a:cubicBezTo>
                    <a:pt x="813" y="39"/>
                    <a:pt x="814" y="57"/>
                    <a:pt x="803" y="57"/>
                  </a:cubicBezTo>
                  <a:cubicBezTo>
                    <a:pt x="792" y="57"/>
                    <a:pt x="791" y="45"/>
                    <a:pt x="782" y="45"/>
                  </a:cubicBezTo>
                  <a:cubicBezTo>
                    <a:pt x="773" y="45"/>
                    <a:pt x="765" y="61"/>
                    <a:pt x="765" y="61"/>
                  </a:cubicBezTo>
                  <a:cubicBezTo>
                    <a:pt x="734" y="46"/>
                    <a:pt x="734" y="46"/>
                    <a:pt x="734" y="46"/>
                  </a:cubicBezTo>
                  <a:cubicBezTo>
                    <a:pt x="734" y="32"/>
                    <a:pt x="734" y="32"/>
                    <a:pt x="734" y="32"/>
                  </a:cubicBezTo>
                  <a:cubicBezTo>
                    <a:pt x="713" y="13"/>
                    <a:pt x="713" y="13"/>
                    <a:pt x="713" y="13"/>
                  </a:cubicBezTo>
                  <a:cubicBezTo>
                    <a:pt x="709" y="5"/>
                    <a:pt x="709" y="5"/>
                    <a:pt x="709" y="5"/>
                  </a:cubicBezTo>
                  <a:cubicBezTo>
                    <a:pt x="709" y="5"/>
                    <a:pt x="705" y="16"/>
                    <a:pt x="685" y="21"/>
                  </a:cubicBezTo>
                  <a:cubicBezTo>
                    <a:pt x="665" y="26"/>
                    <a:pt x="659" y="10"/>
                    <a:pt x="659" y="10"/>
                  </a:cubicBezTo>
                  <a:cubicBezTo>
                    <a:pt x="638" y="13"/>
                    <a:pt x="638" y="13"/>
                    <a:pt x="638" y="13"/>
                  </a:cubicBezTo>
                  <a:cubicBezTo>
                    <a:pt x="638" y="13"/>
                    <a:pt x="630" y="0"/>
                    <a:pt x="623" y="1"/>
                  </a:cubicBezTo>
                  <a:cubicBezTo>
                    <a:pt x="616" y="2"/>
                    <a:pt x="611" y="23"/>
                    <a:pt x="611" y="23"/>
                  </a:cubicBezTo>
                  <a:cubicBezTo>
                    <a:pt x="611" y="23"/>
                    <a:pt x="593" y="28"/>
                    <a:pt x="589" y="28"/>
                  </a:cubicBezTo>
                  <a:cubicBezTo>
                    <a:pt x="585" y="28"/>
                    <a:pt x="576" y="18"/>
                    <a:pt x="576" y="18"/>
                  </a:cubicBezTo>
                  <a:cubicBezTo>
                    <a:pt x="560" y="32"/>
                    <a:pt x="560" y="32"/>
                    <a:pt x="560" y="32"/>
                  </a:cubicBezTo>
                  <a:cubicBezTo>
                    <a:pt x="548" y="32"/>
                    <a:pt x="548" y="32"/>
                    <a:pt x="548" y="32"/>
                  </a:cubicBezTo>
                  <a:cubicBezTo>
                    <a:pt x="548" y="32"/>
                    <a:pt x="535" y="41"/>
                    <a:pt x="529" y="46"/>
                  </a:cubicBezTo>
                  <a:cubicBezTo>
                    <a:pt x="523" y="51"/>
                    <a:pt x="509" y="30"/>
                    <a:pt x="509" y="30"/>
                  </a:cubicBezTo>
                  <a:cubicBezTo>
                    <a:pt x="509" y="30"/>
                    <a:pt x="502" y="43"/>
                    <a:pt x="495" y="46"/>
                  </a:cubicBezTo>
                  <a:cubicBezTo>
                    <a:pt x="488" y="49"/>
                    <a:pt x="493" y="63"/>
                    <a:pt x="484" y="70"/>
                  </a:cubicBezTo>
                  <a:cubicBezTo>
                    <a:pt x="475" y="77"/>
                    <a:pt x="462" y="63"/>
                    <a:pt x="462" y="63"/>
                  </a:cubicBezTo>
                  <a:cubicBezTo>
                    <a:pt x="462" y="63"/>
                    <a:pt x="444" y="63"/>
                    <a:pt x="434" y="64"/>
                  </a:cubicBezTo>
                  <a:cubicBezTo>
                    <a:pt x="424" y="65"/>
                    <a:pt x="418" y="53"/>
                    <a:pt x="418" y="53"/>
                  </a:cubicBezTo>
                  <a:cubicBezTo>
                    <a:pt x="418" y="53"/>
                    <a:pt x="409" y="53"/>
                    <a:pt x="394" y="53"/>
                  </a:cubicBezTo>
                  <a:cubicBezTo>
                    <a:pt x="379" y="53"/>
                    <a:pt x="391" y="38"/>
                    <a:pt x="388" y="34"/>
                  </a:cubicBezTo>
                  <a:cubicBezTo>
                    <a:pt x="385" y="30"/>
                    <a:pt x="372" y="32"/>
                    <a:pt x="372" y="32"/>
                  </a:cubicBezTo>
                  <a:cubicBezTo>
                    <a:pt x="372" y="32"/>
                    <a:pt x="375" y="17"/>
                    <a:pt x="346" y="15"/>
                  </a:cubicBezTo>
                  <a:cubicBezTo>
                    <a:pt x="317" y="13"/>
                    <a:pt x="327" y="32"/>
                    <a:pt x="317" y="46"/>
                  </a:cubicBezTo>
                  <a:cubicBezTo>
                    <a:pt x="307" y="60"/>
                    <a:pt x="308" y="49"/>
                    <a:pt x="300" y="59"/>
                  </a:cubicBezTo>
                  <a:cubicBezTo>
                    <a:pt x="292" y="69"/>
                    <a:pt x="302" y="72"/>
                    <a:pt x="302" y="72"/>
                  </a:cubicBezTo>
                  <a:cubicBezTo>
                    <a:pt x="302" y="82"/>
                    <a:pt x="302" y="82"/>
                    <a:pt x="302" y="82"/>
                  </a:cubicBezTo>
                  <a:cubicBezTo>
                    <a:pt x="292" y="96"/>
                    <a:pt x="292" y="96"/>
                    <a:pt x="292" y="96"/>
                  </a:cubicBezTo>
                  <a:cubicBezTo>
                    <a:pt x="301" y="103"/>
                    <a:pt x="301" y="103"/>
                    <a:pt x="301" y="103"/>
                  </a:cubicBezTo>
                  <a:cubicBezTo>
                    <a:pt x="301" y="103"/>
                    <a:pt x="301" y="114"/>
                    <a:pt x="301" y="122"/>
                  </a:cubicBezTo>
                  <a:cubicBezTo>
                    <a:pt x="301" y="130"/>
                    <a:pt x="286" y="159"/>
                    <a:pt x="277" y="169"/>
                  </a:cubicBezTo>
                  <a:cubicBezTo>
                    <a:pt x="268" y="179"/>
                    <a:pt x="275" y="206"/>
                    <a:pt x="276" y="217"/>
                  </a:cubicBezTo>
                  <a:cubicBezTo>
                    <a:pt x="277" y="228"/>
                    <a:pt x="267" y="236"/>
                    <a:pt x="265" y="244"/>
                  </a:cubicBezTo>
                  <a:cubicBezTo>
                    <a:pt x="263" y="252"/>
                    <a:pt x="272" y="259"/>
                    <a:pt x="272" y="270"/>
                  </a:cubicBezTo>
                  <a:cubicBezTo>
                    <a:pt x="272" y="281"/>
                    <a:pt x="262" y="289"/>
                    <a:pt x="262" y="289"/>
                  </a:cubicBezTo>
                  <a:cubicBezTo>
                    <a:pt x="259" y="321"/>
                    <a:pt x="259" y="321"/>
                    <a:pt x="259" y="321"/>
                  </a:cubicBezTo>
                  <a:cubicBezTo>
                    <a:pt x="259" y="321"/>
                    <a:pt x="253" y="336"/>
                    <a:pt x="243" y="343"/>
                  </a:cubicBezTo>
                  <a:cubicBezTo>
                    <a:pt x="233" y="350"/>
                    <a:pt x="220" y="356"/>
                    <a:pt x="213" y="359"/>
                  </a:cubicBezTo>
                  <a:cubicBezTo>
                    <a:pt x="206" y="362"/>
                    <a:pt x="206" y="385"/>
                    <a:pt x="205" y="394"/>
                  </a:cubicBezTo>
                  <a:cubicBezTo>
                    <a:pt x="204" y="403"/>
                    <a:pt x="186" y="410"/>
                    <a:pt x="186" y="410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70" y="507"/>
                    <a:pt x="170" y="507"/>
                    <a:pt x="170" y="507"/>
                  </a:cubicBezTo>
                  <a:cubicBezTo>
                    <a:pt x="170" y="507"/>
                    <a:pt x="160" y="510"/>
                    <a:pt x="154" y="510"/>
                  </a:cubicBezTo>
                  <a:cubicBezTo>
                    <a:pt x="148" y="510"/>
                    <a:pt x="136" y="531"/>
                    <a:pt x="129" y="540"/>
                  </a:cubicBezTo>
                  <a:cubicBezTo>
                    <a:pt x="122" y="549"/>
                    <a:pt x="119" y="554"/>
                    <a:pt x="104" y="554"/>
                  </a:cubicBezTo>
                  <a:cubicBezTo>
                    <a:pt x="89" y="554"/>
                    <a:pt x="107" y="531"/>
                    <a:pt x="100" y="524"/>
                  </a:cubicBezTo>
                  <a:cubicBezTo>
                    <a:pt x="93" y="517"/>
                    <a:pt x="83" y="533"/>
                    <a:pt x="83" y="533"/>
                  </a:cubicBezTo>
                  <a:cubicBezTo>
                    <a:pt x="70" y="532"/>
                    <a:pt x="70" y="532"/>
                    <a:pt x="70" y="532"/>
                  </a:cubicBezTo>
                  <a:cubicBezTo>
                    <a:pt x="70" y="532"/>
                    <a:pt x="71" y="548"/>
                    <a:pt x="59" y="553"/>
                  </a:cubicBezTo>
                  <a:cubicBezTo>
                    <a:pt x="47" y="558"/>
                    <a:pt x="43" y="537"/>
                    <a:pt x="43" y="537"/>
                  </a:cubicBezTo>
                  <a:cubicBezTo>
                    <a:pt x="36" y="540"/>
                    <a:pt x="36" y="540"/>
                    <a:pt x="36" y="540"/>
                  </a:cubicBezTo>
                  <a:cubicBezTo>
                    <a:pt x="33" y="548"/>
                    <a:pt x="33" y="548"/>
                    <a:pt x="33" y="548"/>
                  </a:cubicBezTo>
                  <a:cubicBezTo>
                    <a:pt x="9" y="565"/>
                    <a:pt x="9" y="565"/>
                    <a:pt x="9" y="565"/>
                  </a:cubicBezTo>
                  <a:cubicBezTo>
                    <a:pt x="9" y="565"/>
                    <a:pt x="21" y="591"/>
                    <a:pt x="13" y="595"/>
                  </a:cubicBezTo>
                  <a:cubicBezTo>
                    <a:pt x="10" y="597"/>
                    <a:pt x="5" y="599"/>
                    <a:pt x="0" y="602"/>
                  </a:cubicBezTo>
                  <a:cubicBezTo>
                    <a:pt x="4" y="605"/>
                    <a:pt x="11" y="612"/>
                    <a:pt x="12" y="617"/>
                  </a:cubicBezTo>
                  <a:cubicBezTo>
                    <a:pt x="35" y="607"/>
                    <a:pt x="35" y="607"/>
                    <a:pt x="35" y="607"/>
                  </a:cubicBezTo>
                  <a:cubicBezTo>
                    <a:pt x="52" y="609"/>
                    <a:pt x="52" y="609"/>
                    <a:pt x="52" y="609"/>
                  </a:cubicBezTo>
                  <a:cubicBezTo>
                    <a:pt x="57" y="607"/>
                    <a:pt x="57" y="607"/>
                    <a:pt x="57" y="607"/>
                  </a:cubicBezTo>
                  <a:cubicBezTo>
                    <a:pt x="65" y="609"/>
                    <a:pt x="65" y="609"/>
                    <a:pt x="65" y="609"/>
                  </a:cubicBezTo>
                  <a:cubicBezTo>
                    <a:pt x="80" y="605"/>
                    <a:pt x="80" y="605"/>
                    <a:pt x="80" y="605"/>
                  </a:cubicBezTo>
                  <a:cubicBezTo>
                    <a:pt x="80" y="605"/>
                    <a:pt x="91" y="612"/>
                    <a:pt x="98" y="611"/>
                  </a:cubicBezTo>
                  <a:cubicBezTo>
                    <a:pt x="105" y="610"/>
                    <a:pt x="123" y="607"/>
                    <a:pt x="123" y="607"/>
                  </a:cubicBezTo>
                  <a:cubicBezTo>
                    <a:pt x="123" y="607"/>
                    <a:pt x="136" y="609"/>
                    <a:pt x="141" y="609"/>
                  </a:cubicBezTo>
                  <a:cubicBezTo>
                    <a:pt x="146" y="609"/>
                    <a:pt x="153" y="609"/>
                    <a:pt x="153" y="609"/>
                  </a:cubicBezTo>
                  <a:cubicBezTo>
                    <a:pt x="163" y="606"/>
                    <a:pt x="163" y="606"/>
                    <a:pt x="163" y="606"/>
                  </a:cubicBezTo>
                  <a:cubicBezTo>
                    <a:pt x="177" y="607"/>
                    <a:pt x="177" y="607"/>
                    <a:pt x="177" y="607"/>
                  </a:cubicBezTo>
                  <a:cubicBezTo>
                    <a:pt x="177" y="607"/>
                    <a:pt x="195" y="599"/>
                    <a:pt x="200" y="608"/>
                  </a:cubicBezTo>
                  <a:cubicBezTo>
                    <a:pt x="205" y="617"/>
                    <a:pt x="211" y="621"/>
                    <a:pt x="211" y="621"/>
                  </a:cubicBezTo>
                  <a:cubicBezTo>
                    <a:pt x="212" y="651"/>
                    <a:pt x="212" y="651"/>
                    <a:pt x="212" y="651"/>
                  </a:cubicBezTo>
                  <a:cubicBezTo>
                    <a:pt x="212" y="651"/>
                    <a:pt x="222" y="658"/>
                    <a:pt x="223" y="664"/>
                  </a:cubicBezTo>
                  <a:cubicBezTo>
                    <a:pt x="224" y="670"/>
                    <a:pt x="222" y="686"/>
                    <a:pt x="222" y="686"/>
                  </a:cubicBezTo>
                  <a:cubicBezTo>
                    <a:pt x="222" y="686"/>
                    <a:pt x="228" y="689"/>
                    <a:pt x="233" y="695"/>
                  </a:cubicBezTo>
                  <a:cubicBezTo>
                    <a:pt x="238" y="701"/>
                    <a:pt x="240" y="709"/>
                    <a:pt x="240" y="709"/>
                  </a:cubicBezTo>
                  <a:cubicBezTo>
                    <a:pt x="246" y="717"/>
                    <a:pt x="246" y="717"/>
                    <a:pt x="246" y="717"/>
                  </a:cubicBezTo>
                  <a:cubicBezTo>
                    <a:pt x="249" y="727"/>
                    <a:pt x="249" y="727"/>
                    <a:pt x="249" y="727"/>
                  </a:cubicBezTo>
                  <a:cubicBezTo>
                    <a:pt x="270" y="726"/>
                    <a:pt x="270" y="726"/>
                    <a:pt x="270" y="726"/>
                  </a:cubicBezTo>
                  <a:cubicBezTo>
                    <a:pt x="277" y="731"/>
                    <a:pt x="277" y="731"/>
                    <a:pt x="277" y="731"/>
                  </a:cubicBezTo>
                  <a:cubicBezTo>
                    <a:pt x="281" y="724"/>
                    <a:pt x="281" y="724"/>
                    <a:pt x="281" y="724"/>
                  </a:cubicBezTo>
                  <a:cubicBezTo>
                    <a:pt x="296" y="724"/>
                    <a:pt x="296" y="724"/>
                    <a:pt x="296" y="724"/>
                  </a:cubicBezTo>
                  <a:cubicBezTo>
                    <a:pt x="303" y="718"/>
                    <a:pt x="303" y="718"/>
                    <a:pt x="303" y="718"/>
                  </a:cubicBezTo>
                  <a:cubicBezTo>
                    <a:pt x="307" y="723"/>
                    <a:pt x="307" y="723"/>
                    <a:pt x="307" y="723"/>
                  </a:cubicBezTo>
                  <a:cubicBezTo>
                    <a:pt x="337" y="720"/>
                    <a:pt x="337" y="720"/>
                    <a:pt x="337" y="720"/>
                  </a:cubicBezTo>
                  <a:cubicBezTo>
                    <a:pt x="337" y="720"/>
                    <a:pt x="336" y="706"/>
                    <a:pt x="339" y="702"/>
                  </a:cubicBezTo>
                  <a:cubicBezTo>
                    <a:pt x="342" y="698"/>
                    <a:pt x="349" y="698"/>
                    <a:pt x="349" y="693"/>
                  </a:cubicBezTo>
                  <a:cubicBezTo>
                    <a:pt x="349" y="688"/>
                    <a:pt x="338" y="676"/>
                    <a:pt x="343" y="672"/>
                  </a:cubicBezTo>
                  <a:cubicBezTo>
                    <a:pt x="348" y="668"/>
                    <a:pt x="377" y="671"/>
                    <a:pt x="377" y="671"/>
                  </a:cubicBezTo>
                  <a:cubicBezTo>
                    <a:pt x="377" y="671"/>
                    <a:pt x="377" y="663"/>
                    <a:pt x="386" y="666"/>
                  </a:cubicBezTo>
                  <a:cubicBezTo>
                    <a:pt x="395" y="669"/>
                    <a:pt x="391" y="678"/>
                    <a:pt x="391" y="678"/>
                  </a:cubicBezTo>
                  <a:cubicBezTo>
                    <a:pt x="392" y="686"/>
                    <a:pt x="392" y="686"/>
                    <a:pt x="392" y="686"/>
                  </a:cubicBezTo>
                  <a:cubicBezTo>
                    <a:pt x="452" y="685"/>
                    <a:pt x="452" y="685"/>
                    <a:pt x="452" y="685"/>
                  </a:cubicBezTo>
                  <a:cubicBezTo>
                    <a:pt x="452" y="703"/>
                    <a:pt x="452" y="703"/>
                    <a:pt x="452" y="703"/>
                  </a:cubicBezTo>
                  <a:cubicBezTo>
                    <a:pt x="445" y="713"/>
                    <a:pt x="445" y="713"/>
                    <a:pt x="445" y="713"/>
                  </a:cubicBezTo>
                  <a:cubicBezTo>
                    <a:pt x="448" y="727"/>
                    <a:pt x="448" y="727"/>
                    <a:pt x="448" y="727"/>
                  </a:cubicBezTo>
                  <a:cubicBezTo>
                    <a:pt x="448" y="727"/>
                    <a:pt x="461" y="740"/>
                    <a:pt x="461" y="747"/>
                  </a:cubicBezTo>
                  <a:cubicBezTo>
                    <a:pt x="461" y="754"/>
                    <a:pt x="453" y="763"/>
                    <a:pt x="453" y="763"/>
                  </a:cubicBezTo>
                  <a:cubicBezTo>
                    <a:pt x="456" y="779"/>
                    <a:pt x="456" y="779"/>
                    <a:pt x="456" y="779"/>
                  </a:cubicBezTo>
                  <a:cubicBezTo>
                    <a:pt x="456" y="779"/>
                    <a:pt x="451" y="791"/>
                    <a:pt x="451" y="799"/>
                  </a:cubicBezTo>
                  <a:cubicBezTo>
                    <a:pt x="451" y="807"/>
                    <a:pt x="457" y="815"/>
                    <a:pt x="464" y="822"/>
                  </a:cubicBezTo>
                  <a:cubicBezTo>
                    <a:pt x="471" y="829"/>
                    <a:pt x="475" y="847"/>
                    <a:pt x="475" y="847"/>
                  </a:cubicBezTo>
                  <a:cubicBezTo>
                    <a:pt x="475" y="847"/>
                    <a:pt x="474" y="862"/>
                    <a:pt x="471" y="869"/>
                  </a:cubicBezTo>
                  <a:cubicBezTo>
                    <a:pt x="468" y="876"/>
                    <a:pt x="465" y="888"/>
                    <a:pt x="468" y="892"/>
                  </a:cubicBezTo>
                  <a:cubicBezTo>
                    <a:pt x="471" y="896"/>
                    <a:pt x="479" y="898"/>
                    <a:pt x="479" y="898"/>
                  </a:cubicBezTo>
                  <a:cubicBezTo>
                    <a:pt x="485" y="886"/>
                    <a:pt x="485" y="886"/>
                    <a:pt x="485" y="886"/>
                  </a:cubicBezTo>
                  <a:cubicBezTo>
                    <a:pt x="503" y="890"/>
                    <a:pt x="503" y="890"/>
                    <a:pt x="503" y="890"/>
                  </a:cubicBezTo>
                  <a:cubicBezTo>
                    <a:pt x="519" y="885"/>
                    <a:pt x="519" y="885"/>
                    <a:pt x="519" y="885"/>
                  </a:cubicBezTo>
                  <a:cubicBezTo>
                    <a:pt x="519" y="885"/>
                    <a:pt x="519" y="880"/>
                    <a:pt x="526" y="880"/>
                  </a:cubicBezTo>
                  <a:cubicBezTo>
                    <a:pt x="533" y="880"/>
                    <a:pt x="537" y="887"/>
                    <a:pt x="537" y="887"/>
                  </a:cubicBezTo>
                  <a:cubicBezTo>
                    <a:pt x="551" y="885"/>
                    <a:pt x="551" y="885"/>
                    <a:pt x="551" y="885"/>
                  </a:cubicBezTo>
                  <a:cubicBezTo>
                    <a:pt x="556" y="875"/>
                    <a:pt x="556" y="875"/>
                    <a:pt x="556" y="875"/>
                  </a:cubicBezTo>
                  <a:cubicBezTo>
                    <a:pt x="561" y="884"/>
                    <a:pt x="561" y="884"/>
                    <a:pt x="561" y="884"/>
                  </a:cubicBezTo>
                  <a:cubicBezTo>
                    <a:pt x="572" y="882"/>
                    <a:pt x="572" y="882"/>
                    <a:pt x="572" y="882"/>
                  </a:cubicBezTo>
                  <a:cubicBezTo>
                    <a:pt x="572" y="882"/>
                    <a:pt x="563" y="907"/>
                    <a:pt x="580" y="908"/>
                  </a:cubicBezTo>
                  <a:cubicBezTo>
                    <a:pt x="597" y="909"/>
                    <a:pt x="583" y="899"/>
                    <a:pt x="583" y="899"/>
                  </a:cubicBezTo>
                  <a:cubicBezTo>
                    <a:pt x="614" y="893"/>
                    <a:pt x="614" y="893"/>
                    <a:pt x="614" y="893"/>
                  </a:cubicBezTo>
                  <a:cubicBezTo>
                    <a:pt x="614" y="893"/>
                    <a:pt x="610" y="912"/>
                    <a:pt x="620" y="919"/>
                  </a:cubicBezTo>
                  <a:cubicBezTo>
                    <a:pt x="630" y="926"/>
                    <a:pt x="682" y="939"/>
                    <a:pt x="687" y="935"/>
                  </a:cubicBezTo>
                  <a:cubicBezTo>
                    <a:pt x="692" y="931"/>
                    <a:pt x="689" y="905"/>
                    <a:pt x="701" y="910"/>
                  </a:cubicBezTo>
                  <a:cubicBezTo>
                    <a:pt x="713" y="915"/>
                    <a:pt x="704" y="920"/>
                    <a:pt x="708" y="925"/>
                  </a:cubicBezTo>
                  <a:cubicBezTo>
                    <a:pt x="712" y="930"/>
                    <a:pt x="722" y="930"/>
                    <a:pt x="722" y="934"/>
                  </a:cubicBezTo>
                  <a:cubicBezTo>
                    <a:pt x="722" y="938"/>
                    <a:pt x="714" y="947"/>
                    <a:pt x="722" y="948"/>
                  </a:cubicBezTo>
                  <a:cubicBezTo>
                    <a:pt x="730" y="949"/>
                    <a:pt x="732" y="943"/>
                    <a:pt x="737" y="947"/>
                  </a:cubicBezTo>
                  <a:cubicBezTo>
                    <a:pt x="742" y="951"/>
                    <a:pt x="741" y="959"/>
                    <a:pt x="745" y="959"/>
                  </a:cubicBezTo>
                  <a:cubicBezTo>
                    <a:pt x="749" y="959"/>
                    <a:pt x="754" y="951"/>
                    <a:pt x="760" y="959"/>
                  </a:cubicBezTo>
                  <a:cubicBezTo>
                    <a:pt x="766" y="967"/>
                    <a:pt x="768" y="978"/>
                    <a:pt x="768" y="978"/>
                  </a:cubicBezTo>
                  <a:cubicBezTo>
                    <a:pt x="768" y="978"/>
                    <a:pt x="774" y="975"/>
                    <a:pt x="779" y="982"/>
                  </a:cubicBezTo>
                  <a:cubicBezTo>
                    <a:pt x="784" y="989"/>
                    <a:pt x="787" y="1012"/>
                    <a:pt x="787" y="1012"/>
                  </a:cubicBezTo>
                  <a:cubicBezTo>
                    <a:pt x="799" y="1012"/>
                    <a:pt x="799" y="1012"/>
                    <a:pt x="799" y="1012"/>
                  </a:cubicBezTo>
                  <a:cubicBezTo>
                    <a:pt x="814" y="1002"/>
                    <a:pt x="814" y="1002"/>
                    <a:pt x="814" y="1002"/>
                  </a:cubicBezTo>
                  <a:cubicBezTo>
                    <a:pt x="814" y="1002"/>
                    <a:pt x="816" y="1016"/>
                    <a:pt x="822" y="1013"/>
                  </a:cubicBezTo>
                  <a:cubicBezTo>
                    <a:pt x="828" y="1010"/>
                    <a:pt x="827" y="945"/>
                    <a:pt x="827" y="945"/>
                  </a:cubicBezTo>
                  <a:cubicBezTo>
                    <a:pt x="819" y="945"/>
                    <a:pt x="819" y="945"/>
                    <a:pt x="819" y="945"/>
                  </a:cubicBezTo>
                  <a:cubicBezTo>
                    <a:pt x="813" y="948"/>
                    <a:pt x="813" y="948"/>
                    <a:pt x="813" y="948"/>
                  </a:cubicBezTo>
                  <a:cubicBezTo>
                    <a:pt x="813" y="948"/>
                    <a:pt x="816" y="961"/>
                    <a:pt x="806" y="961"/>
                  </a:cubicBezTo>
                  <a:cubicBezTo>
                    <a:pt x="796" y="961"/>
                    <a:pt x="784" y="947"/>
                    <a:pt x="778" y="940"/>
                  </a:cubicBezTo>
                  <a:cubicBezTo>
                    <a:pt x="772" y="933"/>
                    <a:pt x="761" y="938"/>
                    <a:pt x="759" y="920"/>
                  </a:cubicBezTo>
                  <a:cubicBezTo>
                    <a:pt x="757" y="902"/>
                    <a:pt x="779" y="880"/>
                    <a:pt x="779" y="866"/>
                  </a:cubicBezTo>
                  <a:cubicBezTo>
                    <a:pt x="779" y="852"/>
                    <a:pt x="775" y="818"/>
                    <a:pt x="775" y="818"/>
                  </a:cubicBezTo>
                  <a:cubicBezTo>
                    <a:pt x="775" y="818"/>
                    <a:pt x="773" y="799"/>
                    <a:pt x="770" y="797"/>
                  </a:cubicBezTo>
                  <a:cubicBezTo>
                    <a:pt x="767" y="795"/>
                    <a:pt x="761" y="788"/>
                    <a:pt x="761" y="788"/>
                  </a:cubicBezTo>
                  <a:cubicBezTo>
                    <a:pt x="761" y="788"/>
                    <a:pt x="788" y="773"/>
                    <a:pt x="788" y="766"/>
                  </a:cubicBezTo>
                  <a:cubicBezTo>
                    <a:pt x="788" y="759"/>
                    <a:pt x="788" y="746"/>
                    <a:pt x="788" y="746"/>
                  </a:cubicBezTo>
                  <a:cubicBezTo>
                    <a:pt x="788" y="746"/>
                    <a:pt x="825" y="741"/>
                    <a:pt x="838" y="738"/>
                  </a:cubicBezTo>
                  <a:cubicBezTo>
                    <a:pt x="842" y="737"/>
                    <a:pt x="849" y="735"/>
                    <a:pt x="857" y="731"/>
                  </a:cubicBezTo>
                  <a:cubicBezTo>
                    <a:pt x="860" y="728"/>
                    <a:pt x="862" y="726"/>
                    <a:pt x="862" y="726"/>
                  </a:cubicBezTo>
                  <a:cubicBezTo>
                    <a:pt x="862" y="726"/>
                    <a:pt x="855" y="714"/>
                    <a:pt x="850" y="710"/>
                  </a:cubicBezTo>
                  <a:cubicBezTo>
                    <a:pt x="846" y="706"/>
                    <a:pt x="849" y="688"/>
                    <a:pt x="849" y="681"/>
                  </a:cubicBezTo>
                  <a:cubicBezTo>
                    <a:pt x="849" y="674"/>
                    <a:pt x="837" y="678"/>
                    <a:pt x="834" y="677"/>
                  </a:cubicBezTo>
                  <a:cubicBezTo>
                    <a:pt x="831" y="676"/>
                    <a:pt x="828" y="666"/>
                    <a:pt x="828" y="658"/>
                  </a:cubicBezTo>
                  <a:cubicBezTo>
                    <a:pt x="828" y="650"/>
                    <a:pt x="819" y="649"/>
                    <a:pt x="812" y="642"/>
                  </a:cubicBezTo>
                  <a:cubicBezTo>
                    <a:pt x="805" y="635"/>
                    <a:pt x="803" y="618"/>
                    <a:pt x="804" y="612"/>
                  </a:cubicBezTo>
                  <a:cubicBezTo>
                    <a:pt x="805" y="606"/>
                    <a:pt x="810" y="596"/>
                    <a:pt x="810" y="589"/>
                  </a:cubicBezTo>
                  <a:cubicBezTo>
                    <a:pt x="810" y="582"/>
                    <a:pt x="800" y="582"/>
                    <a:pt x="796" y="572"/>
                  </a:cubicBezTo>
                  <a:cubicBezTo>
                    <a:pt x="792" y="562"/>
                    <a:pt x="796" y="550"/>
                    <a:pt x="797" y="538"/>
                  </a:cubicBezTo>
                  <a:cubicBezTo>
                    <a:pt x="798" y="526"/>
                    <a:pt x="799" y="515"/>
                    <a:pt x="802" y="502"/>
                  </a:cubicBezTo>
                  <a:cubicBezTo>
                    <a:pt x="804" y="494"/>
                    <a:pt x="810" y="495"/>
                    <a:pt x="814" y="498"/>
                  </a:cubicBezTo>
                  <a:cubicBezTo>
                    <a:pt x="814" y="496"/>
                    <a:pt x="814" y="494"/>
                    <a:pt x="814" y="494"/>
                  </a:cubicBezTo>
                  <a:cubicBezTo>
                    <a:pt x="814" y="494"/>
                    <a:pt x="816" y="480"/>
                    <a:pt x="816" y="471"/>
                  </a:cubicBezTo>
                  <a:cubicBezTo>
                    <a:pt x="816" y="462"/>
                    <a:pt x="801" y="454"/>
                    <a:pt x="801" y="454"/>
                  </a:cubicBezTo>
                  <a:cubicBezTo>
                    <a:pt x="795" y="434"/>
                    <a:pt x="795" y="434"/>
                    <a:pt x="795" y="434"/>
                  </a:cubicBezTo>
                  <a:cubicBezTo>
                    <a:pt x="795" y="434"/>
                    <a:pt x="795" y="434"/>
                    <a:pt x="795" y="434"/>
                  </a:cubicBezTo>
                  <a:cubicBezTo>
                    <a:pt x="791" y="433"/>
                    <a:pt x="787" y="432"/>
                    <a:pt x="786" y="428"/>
                  </a:cubicBezTo>
                  <a:cubicBezTo>
                    <a:pt x="782" y="420"/>
                    <a:pt x="804" y="410"/>
                    <a:pt x="806" y="406"/>
                  </a:cubicBezTo>
                  <a:cubicBezTo>
                    <a:pt x="807" y="403"/>
                    <a:pt x="797" y="392"/>
                    <a:pt x="799" y="384"/>
                  </a:cubicBezTo>
                  <a:cubicBezTo>
                    <a:pt x="800" y="376"/>
                    <a:pt x="824" y="365"/>
                    <a:pt x="824" y="365"/>
                  </a:cubicBezTo>
                  <a:lnTo>
                    <a:pt x="828" y="315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51" name="Freeform 167"/>
            <p:cNvSpPr>
              <a:spLocks/>
            </p:cNvSpPr>
            <p:nvPr/>
          </p:nvSpPr>
          <p:spPr bwMode="auto">
            <a:xfrm>
              <a:off x="3195" y="2803"/>
              <a:ext cx="33" cy="42"/>
            </a:xfrm>
            <a:custGeom>
              <a:avLst/>
              <a:gdLst>
                <a:gd name="T0" fmla="*/ 0 w 87"/>
                <a:gd name="T1" fmla="*/ 0 h 112"/>
                <a:gd name="T2" fmla="*/ 0 w 87"/>
                <a:gd name="T3" fmla="*/ 0 h 112"/>
                <a:gd name="T4" fmla="*/ 0 w 87"/>
                <a:gd name="T5" fmla="*/ 0 h 112"/>
                <a:gd name="T6" fmla="*/ 0 w 87"/>
                <a:gd name="T7" fmla="*/ 0 h 112"/>
                <a:gd name="T8" fmla="*/ 0 w 87"/>
                <a:gd name="T9" fmla="*/ 0 h 112"/>
                <a:gd name="T10" fmla="*/ 0 w 87"/>
                <a:gd name="T11" fmla="*/ 0 h 112"/>
                <a:gd name="T12" fmla="*/ 0 w 87"/>
                <a:gd name="T13" fmla="*/ 0 h 112"/>
                <a:gd name="T14" fmla="*/ 0 w 87"/>
                <a:gd name="T15" fmla="*/ 0 h 112"/>
                <a:gd name="T16" fmla="*/ 0 w 87"/>
                <a:gd name="T17" fmla="*/ 0 h 112"/>
                <a:gd name="T18" fmla="*/ 0 w 87"/>
                <a:gd name="T19" fmla="*/ 0 h 112"/>
                <a:gd name="T20" fmla="*/ 0 w 87"/>
                <a:gd name="T21" fmla="*/ 0 h 112"/>
                <a:gd name="T22" fmla="*/ 0 w 87"/>
                <a:gd name="T23" fmla="*/ 0 h 112"/>
                <a:gd name="T24" fmla="*/ 0 w 87"/>
                <a:gd name="T25" fmla="*/ 0 h 112"/>
                <a:gd name="T26" fmla="*/ 0 w 87"/>
                <a:gd name="T27" fmla="*/ 0 h 112"/>
                <a:gd name="T28" fmla="*/ 0 w 87"/>
                <a:gd name="T29" fmla="*/ 0 h 112"/>
                <a:gd name="T30" fmla="*/ 0 w 87"/>
                <a:gd name="T31" fmla="*/ 0 h 112"/>
                <a:gd name="T32" fmla="*/ 0 w 87"/>
                <a:gd name="T33" fmla="*/ 0 h 112"/>
                <a:gd name="T34" fmla="*/ 0 w 87"/>
                <a:gd name="T35" fmla="*/ 0 h 112"/>
                <a:gd name="T36" fmla="*/ 0 w 87"/>
                <a:gd name="T37" fmla="*/ 0 h 112"/>
                <a:gd name="T38" fmla="*/ 0 w 87"/>
                <a:gd name="T39" fmla="*/ 0 h 1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7"/>
                <a:gd name="T61" fmla="*/ 0 h 112"/>
                <a:gd name="T62" fmla="*/ 87 w 87"/>
                <a:gd name="T63" fmla="*/ 112 h 11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7" h="112">
                  <a:moveTo>
                    <a:pt x="21" y="49"/>
                  </a:moveTo>
                  <a:cubicBezTo>
                    <a:pt x="21" y="58"/>
                    <a:pt x="19" y="72"/>
                    <a:pt x="19" y="72"/>
                  </a:cubicBezTo>
                  <a:cubicBezTo>
                    <a:pt x="19" y="72"/>
                    <a:pt x="19" y="99"/>
                    <a:pt x="25" y="112"/>
                  </a:cubicBezTo>
                  <a:cubicBezTo>
                    <a:pt x="29" y="112"/>
                    <a:pt x="35" y="110"/>
                    <a:pt x="45" y="103"/>
                  </a:cubicBezTo>
                  <a:cubicBezTo>
                    <a:pt x="61" y="91"/>
                    <a:pt x="54" y="81"/>
                    <a:pt x="61" y="68"/>
                  </a:cubicBezTo>
                  <a:cubicBezTo>
                    <a:pt x="68" y="55"/>
                    <a:pt x="80" y="56"/>
                    <a:pt x="80" y="56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33"/>
                    <a:pt x="63" y="32"/>
                    <a:pt x="65" y="23"/>
                  </a:cubicBezTo>
                  <a:cubicBezTo>
                    <a:pt x="67" y="14"/>
                    <a:pt x="71" y="0"/>
                    <a:pt x="71" y="0"/>
                  </a:cubicBezTo>
                  <a:cubicBezTo>
                    <a:pt x="71" y="0"/>
                    <a:pt x="74" y="0"/>
                    <a:pt x="77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17"/>
                    <a:pt x="26" y="24"/>
                    <a:pt x="22" y="24"/>
                  </a:cubicBezTo>
                  <a:cubicBezTo>
                    <a:pt x="18" y="24"/>
                    <a:pt x="9" y="11"/>
                    <a:pt x="9" y="11"/>
                  </a:cubicBezTo>
                  <a:cubicBezTo>
                    <a:pt x="9" y="11"/>
                    <a:pt x="5" y="12"/>
                    <a:pt x="0" y="1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21" y="40"/>
                    <a:pt x="21" y="49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52" name="Freeform 168"/>
            <p:cNvSpPr>
              <a:spLocks noEditPoints="1"/>
            </p:cNvSpPr>
            <p:nvPr/>
          </p:nvSpPr>
          <p:spPr bwMode="auto">
            <a:xfrm>
              <a:off x="3205" y="2775"/>
              <a:ext cx="193" cy="219"/>
            </a:xfrm>
            <a:custGeom>
              <a:avLst/>
              <a:gdLst>
                <a:gd name="T0" fmla="*/ 0 w 510"/>
                <a:gd name="T1" fmla="*/ 0 h 579"/>
                <a:gd name="T2" fmla="*/ 0 w 510"/>
                <a:gd name="T3" fmla="*/ 0 h 579"/>
                <a:gd name="T4" fmla="*/ 0 w 510"/>
                <a:gd name="T5" fmla="*/ 0 h 579"/>
                <a:gd name="T6" fmla="*/ 0 w 510"/>
                <a:gd name="T7" fmla="*/ 0 h 579"/>
                <a:gd name="T8" fmla="*/ 0 w 510"/>
                <a:gd name="T9" fmla="*/ 0 h 579"/>
                <a:gd name="T10" fmla="*/ 0 w 510"/>
                <a:gd name="T11" fmla="*/ 0 h 579"/>
                <a:gd name="T12" fmla="*/ 0 w 510"/>
                <a:gd name="T13" fmla="*/ 0 h 579"/>
                <a:gd name="T14" fmla="*/ 0 w 510"/>
                <a:gd name="T15" fmla="*/ 0 h 579"/>
                <a:gd name="T16" fmla="*/ 0 w 510"/>
                <a:gd name="T17" fmla="*/ 0 h 579"/>
                <a:gd name="T18" fmla="*/ 0 w 510"/>
                <a:gd name="T19" fmla="*/ 0 h 579"/>
                <a:gd name="T20" fmla="*/ 0 w 510"/>
                <a:gd name="T21" fmla="*/ 0 h 579"/>
                <a:gd name="T22" fmla="*/ 0 w 510"/>
                <a:gd name="T23" fmla="*/ 0 h 579"/>
                <a:gd name="T24" fmla="*/ 0 w 510"/>
                <a:gd name="T25" fmla="*/ 0 h 579"/>
                <a:gd name="T26" fmla="*/ 0 w 510"/>
                <a:gd name="T27" fmla="*/ 0 h 579"/>
                <a:gd name="T28" fmla="*/ 0 w 510"/>
                <a:gd name="T29" fmla="*/ 0 h 579"/>
                <a:gd name="T30" fmla="*/ 0 w 510"/>
                <a:gd name="T31" fmla="*/ 0 h 579"/>
                <a:gd name="T32" fmla="*/ 0 w 510"/>
                <a:gd name="T33" fmla="*/ 0 h 579"/>
                <a:gd name="T34" fmla="*/ 0 w 510"/>
                <a:gd name="T35" fmla="*/ 0 h 579"/>
                <a:gd name="T36" fmla="*/ 0 w 510"/>
                <a:gd name="T37" fmla="*/ 0 h 579"/>
                <a:gd name="T38" fmla="*/ 0 w 510"/>
                <a:gd name="T39" fmla="*/ 0 h 579"/>
                <a:gd name="T40" fmla="*/ 0 w 510"/>
                <a:gd name="T41" fmla="*/ 0 h 579"/>
                <a:gd name="T42" fmla="*/ 0 w 510"/>
                <a:gd name="T43" fmla="*/ 0 h 579"/>
                <a:gd name="T44" fmla="*/ 0 w 510"/>
                <a:gd name="T45" fmla="*/ 0 h 579"/>
                <a:gd name="T46" fmla="*/ 0 w 510"/>
                <a:gd name="T47" fmla="*/ 0 h 579"/>
                <a:gd name="T48" fmla="*/ 0 w 510"/>
                <a:gd name="T49" fmla="*/ 0 h 579"/>
                <a:gd name="T50" fmla="*/ 0 w 510"/>
                <a:gd name="T51" fmla="*/ 0 h 579"/>
                <a:gd name="T52" fmla="*/ 0 w 510"/>
                <a:gd name="T53" fmla="*/ 0 h 579"/>
                <a:gd name="T54" fmla="*/ 0 w 510"/>
                <a:gd name="T55" fmla="*/ 0 h 579"/>
                <a:gd name="T56" fmla="*/ 0 w 510"/>
                <a:gd name="T57" fmla="*/ 0 h 579"/>
                <a:gd name="T58" fmla="*/ 0 w 510"/>
                <a:gd name="T59" fmla="*/ 0 h 579"/>
                <a:gd name="T60" fmla="*/ 0 w 510"/>
                <a:gd name="T61" fmla="*/ 0 h 579"/>
                <a:gd name="T62" fmla="*/ 0 w 510"/>
                <a:gd name="T63" fmla="*/ 0 h 579"/>
                <a:gd name="T64" fmla="*/ 0 w 510"/>
                <a:gd name="T65" fmla="*/ 0 h 579"/>
                <a:gd name="T66" fmla="*/ 0 w 510"/>
                <a:gd name="T67" fmla="*/ 0 h 579"/>
                <a:gd name="T68" fmla="*/ 0 w 510"/>
                <a:gd name="T69" fmla="*/ 0 h 579"/>
                <a:gd name="T70" fmla="*/ 0 w 510"/>
                <a:gd name="T71" fmla="*/ 0 h 579"/>
                <a:gd name="T72" fmla="*/ 0 w 510"/>
                <a:gd name="T73" fmla="*/ 0 h 579"/>
                <a:gd name="T74" fmla="*/ 0 w 510"/>
                <a:gd name="T75" fmla="*/ 0 h 579"/>
                <a:gd name="T76" fmla="*/ 0 w 510"/>
                <a:gd name="T77" fmla="*/ 0 h 579"/>
                <a:gd name="T78" fmla="*/ 0 w 510"/>
                <a:gd name="T79" fmla="*/ 0 h 579"/>
                <a:gd name="T80" fmla="*/ 0 w 510"/>
                <a:gd name="T81" fmla="*/ 0 h 579"/>
                <a:gd name="T82" fmla="*/ 0 w 510"/>
                <a:gd name="T83" fmla="*/ 0 h 579"/>
                <a:gd name="T84" fmla="*/ 0 w 510"/>
                <a:gd name="T85" fmla="*/ 0 h 579"/>
                <a:gd name="T86" fmla="*/ 0 w 510"/>
                <a:gd name="T87" fmla="*/ 0 h 579"/>
                <a:gd name="T88" fmla="*/ 0 w 510"/>
                <a:gd name="T89" fmla="*/ 0 h 579"/>
                <a:gd name="T90" fmla="*/ 0 w 510"/>
                <a:gd name="T91" fmla="*/ 0 h 579"/>
                <a:gd name="T92" fmla="*/ 0 w 510"/>
                <a:gd name="T93" fmla="*/ 0 h 579"/>
                <a:gd name="T94" fmla="*/ 0 w 510"/>
                <a:gd name="T95" fmla="*/ 0 h 57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10"/>
                <a:gd name="T145" fmla="*/ 0 h 579"/>
                <a:gd name="T146" fmla="*/ 510 w 510"/>
                <a:gd name="T147" fmla="*/ 579 h 57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10" h="579">
                  <a:moveTo>
                    <a:pt x="507" y="496"/>
                  </a:moveTo>
                  <a:cubicBezTo>
                    <a:pt x="507" y="496"/>
                    <a:pt x="479" y="489"/>
                    <a:pt x="477" y="478"/>
                  </a:cubicBezTo>
                  <a:cubicBezTo>
                    <a:pt x="475" y="467"/>
                    <a:pt x="473" y="436"/>
                    <a:pt x="473" y="436"/>
                  </a:cubicBezTo>
                  <a:cubicBezTo>
                    <a:pt x="458" y="405"/>
                    <a:pt x="458" y="405"/>
                    <a:pt x="458" y="405"/>
                  </a:cubicBezTo>
                  <a:cubicBezTo>
                    <a:pt x="467" y="374"/>
                    <a:pt x="467" y="374"/>
                    <a:pt x="467" y="374"/>
                  </a:cubicBezTo>
                  <a:cubicBezTo>
                    <a:pt x="456" y="360"/>
                    <a:pt x="456" y="360"/>
                    <a:pt x="456" y="360"/>
                  </a:cubicBezTo>
                  <a:cubicBezTo>
                    <a:pt x="456" y="360"/>
                    <a:pt x="476" y="325"/>
                    <a:pt x="471" y="317"/>
                  </a:cubicBezTo>
                  <a:cubicBezTo>
                    <a:pt x="466" y="309"/>
                    <a:pt x="439" y="302"/>
                    <a:pt x="436" y="290"/>
                  </a:cubicBezTo>
                  <a:cubicBezTo>
                    <a:pt x="433" y="278"/>
                    <a:pt x="450" y="239"/>
                    <a:pt x="451" y="232"/>
                  </a:cubicBezTo>
                  <a:cubicBezTo>
                    <a:pt x="452" y="226"/>
                    <a:pt x="454" y="203"/>
                    <a:pt x="455" y="198"/>
                  </a:cubicBezTo>
                  <a:cubicBezTo>
                    <a:pt x="380" y="128"/>
                    <a:pt x="380" y="128"/>
                    <a:pt x="380" y="128"/>
                  </a:cubicBezTo>
                  <a:cubicBezTo>
                    <a:pt x="380" y="128"/>
                    <a:pt x="388" y="122"/>
                    <a:pt x="391" y="118"/>
                  </a:cubicBezTo>
                  <a:cubicBezTo>
                    <a:pt x="394" y="114"/>
                    <a:pt x="382" y="105"/>
                    <a:pt x="382" y="105"/>
                  </a:cubicBezTo>
                  <a:cubicBezTo>
                    <a:pt x="216" y="1"/>
                    <a:pt x="216" y="1"/>
                    <a:pt x="216" y="1"/>
                  </a:cubicBezTo>
                  <a:cubicBezTo>
                    <a:pt x="206" y="1"/>
                    <a:pt x="206" y="1"/>
                    <a:pt x="206" y="1"/>
                  </a:cubicBezTo>
                  <a:cubicBezTo>
                    <a:pt x="206" y="1"/>
                    <a:pt x="206" y="1"/>
                    <a:pt x="206" y="1"/>
                  </a:cubicBezTo>
                  <a:cubicBezTo>
                    <a:pt x="206" y="10"/>
                    <a:pt x="209" y="24"/>
                    <a:pt x="209" y="24"/>
                  </a:cubicBezTo>
                  <a:cubicBezTo>
                    <a:pt x="194" y="31"/>
                    <a:pt x="194" y="31"/>
                    <a:pt x="194" y="31"/>
                  </a:cubicBezTo>
                  <a:cubicBezTo>
                    <a:pt x="194" y="31"/>
                    <a:pt x="181" y="40"/>
                    <a:pt x="176" y="55"/>
                  </a:cubicBezTo>
                  <a:cubicBezTo>
                    <a:pt x="171" y="70"/>
                    <a:pt x="206" y="59"/>
                    <a:pt x="206" y="59"/>
                  </a:cubicBezTo>
                  <a:cubicBezTo>
                    <a:pt x="206" y="59"/>
                    <a:pt x="187" y="75"/>
                    <a:pt x="181" y="78"/>
                  </a:cubicBezTo>
                  <a:cubicBezTo>
                    <a:pt x="175" y="81"/>
                    <a:pt x="171" y="72"/>
                    <a:pt x="162" y="71"/>
                  </a:cubicBezTo>
                  <a:cubicBezTo>
                    <a:pt x="153" y="70"/>
                    <a:pt x="154" y="89"/>
                    <a:pt x="154" y="89"/>
                  </a:cubicBezTo>
                  <a:cubicBezTo>
                    <a:pt x="161" y="99"/>
                    <a:pt x="161" y="99"/>
                    <a:pt x="161" y="99"/>
                  </a:cubicBezTo>
                  <a:cubicBezTo>
                    <a:pt x="161" y="99"/>
                    <a:pt x="158" y="100"/>
                    <a:pt x="148" y="99"/>
                  </a:cubicBezTo>
                  <a:cubicBezTo>
                    <a:pt x="138" y="98"/>
                    <a:pt x="150" y="73"/>
                    <a:pt x="150" y="73"/>
                  </a:cubicBezTo>
                  <a:cubicBezTo>
                    <a:pt x="138" y="78"/>
                    <a:pt x="138" y="78"/>
                    <a:pt x="138" y="78"/>
                  </a:cubicBezTo>
                  <a:cubicBezTo>
                    <a:pt x="138" y="78"/>
                    <a:pt x="130" y="66"/>
                    <a:pt x="123" y="66"/>
                  </a:cubicBezTo>
                  <a:cubicBezTo>
                    <a:pt x="113" y="66"/>
                    <a:pt x="114" y="92"/>
                    <a:pt x="109" y="92"/>
                  </a:cubicBezTo>
                  <a:cubicBezTo>
                    <a:pt x="104" y="92"/>
                    <a:pt x="104" y="80"/>
                    <a:pt x="104" y="80"/>
                  </a:cubicBezTo>
                  <a:cubicBezTo>
                    <a:pt x="104" y="80"/>
                    <a:pt x="99" y="54"/>
                    <a:pt x="101" y="40"/>
                  </a:cubicBezTo>
                  <a:cubicBezTo>
                    <a:pt x="103" y="26"/>
                    <a:pt x="111" y="8"/>
                    <a:pt x="112" y="2"/>
                  </a:cubicBezTo>
                  <a:cubicBezTo>
                    <a:pt x="112" y="1"/>
                    <a:pt x="112" y="1"/>
                    <a:pt x="11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3"/>
                    <a:pt x="56" y="23"/>
                    <a:pt x="60" y="31"/>
                  </a:cubicBezTo>
                  <a:cubicBezTo>
                    <a:pt x="64" y="39"/>
                    <a:pt x="58" y="44"/>
                    <a:pt x="58" y="44"/>
                  </a:cubicBezTo>
                  <a:cubicBezTo>
                    <a:pt x="58" y="44"/>
                    <a:pt x="64" y="52"/>
                    <a:pt x="64" y="64"/>
                  </a:cubicBezTo>
                  <a:cubicBezTo>
                    <a:pt x="64" y="76"/>
                    <a:pt x="44" y="74"/>
                    <a:pt x="44" y="74"/>
                  </a:cubicBezTo>
                  <a:cubicBezTo>
                    <a:pt x="44" y="74"/>
                    <a:pt x="40" y="88"/>
                    <a:pt x="38" y="97"/>
                  </a:cubicBezTo>
                  <a:cubicBezTo>
                    <a:pt x="36" y="106"/>
                    <a:pt x="60" y="107"/>
                    <a:pt x="60" y="107"/>
                  </a:cubicBezTo>
                  <a:cubicBezTo>
                    <a:pt x="59" y="118"/>
                    <a:pt x="59" y="118"/>
                    <a:pt x="59" y="118"/>
                  </a:cubicBezTo>
                  <a:cubicBezTo>
                    <a:pt x="51" y="121"/>
                    <a:pt x="51" y="121"/>
                    <a:pt x="51" y="121"/>
                  </a:cubicBezTo>
                  <a:cubicBezTo>
                    <a:pt x="53" y="130"/>
                    <a:pt x="53" y="130"/>
                    <a:pt x="53" y="130"/>
                  </a:cubicBezTo>
                  <a:cubicBezTo>
                    <a:pt x="53" y="130"/>
                    <a:pt x="41" y="129"/>
                    <a:pt x="34" y="142"/>
                  </a:cubicBezTo>
                  <a:cubicBezTo>
                    <a:pt x="27" y="155"/>
                    <a:pt x="34" y="165"/>
                    <a:pt x="18" y="177"/>
                  </a:cubicBezTo>
                  <a:cubicBezTo>
                    <a:pt x="11" y="182"/>
                    <a:pt x="6" y="184"/>
                    <a:pt x="2" y="185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6" y="205"/>
                    <a:pt x="9" y="209"/>
                  </a:cubicBezTo>
                  <a:cubicBezTo>
                    <a:pt x="12" y="213"/>
                    <a:pt x="8" y="226"/>
                    <a:pt x="8" y="226"/>
                  </a:cubicBezTo>
                  <a:cubicBezTo>
                    <a:pt x="8" y="226"/>
                    <a:pt x="19" y="256"/>
                    <a:pt x="15" y="261"/>
                  </a:cubicBezTo>
                  <a:cubicBezTo>
                    <a:pt x="11" y="266"/>
                    <a:pt x="8" y="269"/>
                    <a:pt x="9" y="279"/>
                  </a:cubicBezTo>
                  <a:cubicBezTo>
                    <a:pt x="10" y="289"/>
                    <a:pt x="18" y="294"/>
                    <a:pt x="24" y="296"/>
                  </a:cubicBezTo>
                  <a:cubicBezTo>
                    <a:pt x="30" y="298"/>
                    <a:pt x="47" y="316"/>
                    <a:pt x="51" y="322"/>
                  </a:cubicBezTo>
                  <a:cubicBezTo>
                    <a:pt x="55" y="328"/>
                    <a:pt x="51" y="337"/>
                    <a:pt x="49" y="345"/>
                  </a:cubicBezTo>
                  <a:cubicBezTo>
                    <a:pt x="47" y="353"/>
                    <a:pt x="56" y="370"/>
                    <a:pt x="56" y="370"/>
                  </a:cubicBezTo>
                  <a:cubicBezTo>
                    <a:pt x="74" y="394"/>
                    <a:pt x="74" y="394"/>
                    <a:pt x="74" y="394"/>
                  </a:cubicBezTo>
                  <a:cubicBezTo>
                    <a:pt x="74" y="394"/>
                    <a:pt x="72" y="401"/>
                    <a:pt x="69" y="409"/>
                  </a:cubicBezTo>
                  <a:cubicBezTo>
                    <a:pt x="77" y="410"/>
                    <a:pt x="89" y="406"/>
                    <a:pt x="89" y="406"/>
                  </a:cubicBezTo>
                  <a:cubicBezTo>
                    <a:pt x="89" y="406"/>
                    <a:pt x="91" y="418"/>
                    <a:pt x="94" y="421"/>
                  </a:cubicBezTo>
                  <a:cubicBezTo>
                    <a:pt x="97" y="424"/>
                    <a:pt x="106" y="421"/>
                    <a:pt x="106" y="421"/>
                  </a:cubicBezTo>
                  <a:cubicBezTo>
                    <a:pt x="106" y="421"/>
                    <a:pt x="113" y="430"/>
                    <a:pt x="118" y="434"/>
                  </a:cubicBezTo>
                  <a:cubicBezTo>
                    <a:pt x="123" y="438"/>
                    <a:pt x="133" y="432"/>
                    <a:pt x="133" y="432"/>
                  </a:cubicBezTo>
                  <a:cubicBezTo>
                    <a:pt x="135" y="443"/>
                    <a:pt x="135" y="443"/>
                    <a:pt x="135" y="443"/>
                  </a:cubicBezTo>
                  <a:cubicBezTo>
                    <a:pt x="147" y="442"/>
                    <a:pt x="147" y="442"/>
                    <a:pt x="147" y="442"/>
                  </a:cubicBezTo>
                  <a:cubicBezTo>
                    <a:pt x="158" y="452"/>
                    <a:pt x="158" y="452"/>
                    <a:pt x="158" y="452"/>
                  </a:cubicBezTo>
                  <a:cubicBezTo>
                    <a:pt x="173" y="451"/>
                    <a:pt x="173" y="451"/>
                    <a:pt x="173" y="451"/>
                  </a:cubicBezTo>
                  <a:cubicBezTo>
                    <a:pt x="179" y="461"/>
                    <a:pt x="179" y="461"/>
                    <a:pt x="179" y="461"/>
                  </a:cubicBezTo>
                  <a:cubicBezTo>
                    <a:pt x="198" y="461"/>
                    <a:pt x="198" y="461"/>
                    <a:pt x="198" y="461"/>
                  </a:cubicBezTo>
                  <a:cubicBezTo>
                    <a:pt x="198" y="461"/>
                    <a:pt x="202" y="448"/>
                    <a:pt x="212" y="453"/>
                  </a:cubicBezTo>
                  <a:cubicBezTo>
                    <a:pt x="222" y="458"/>
                    <a:pt x="230" y="479"/>
                    <a:pt x="230" y="479"/>
                  </a:cubicBezTo>
                  <a:cubicBezTo>
                    <a:pt x="232" y="514"/>
                    <a:pt x="232" y="514"/>
                    <a:pt x="232" y="514"/>
                  </a:cubicBezTo>
                  <a:cubicBezTo>
                    <a:pt x="232" y="514"/>
                    <a:pt x="237" y="515"/>
                    <a:pt x="237" y="522"/>
                  </a:cubicBezTo>
                  <a:cubicBezTo>
                    <a:pt x="237" y="529"/>
                    <a:pt x="234" y="531"/>
                    <a:pt x="231" y="539"/>
                  </a:cubicBezTo>
                  <a:cubicBezTo>
                    <a:pt x="228" y="547"/>
                    <a:pt x="250" y="557"/>
                    <a:pt x="250" y="557"/>
                  </a:cubicBezTo>
                  <a:cubicBezTo>
                    <a:pt x="249" y="569"/>
                    <a:pt x="249" y="569"/>
                    <a:pt x="249" y="569"/>
                  </a:cubicBezTo>
                  <a:cubicBezTo>
                    <a:pt x="262" y="569"/>
                    <a:pt x="280" y="568"/>
                    <a:pt x="280" y="568"/>
                  </a:cubicBezTo>
                  <a:cubicBezTo>
                    <a:pt x="280" y="568"/>
                    <a:pt x="284" y="558"/>
                    <a:pt x="292" y="558"/>
                  </a:cubicBezTo>
                  <a:cubicBezTo>
                    <a:pt x="300" y="558"/>
                    <a:pt x="319" y="579"/>
                    <a:pt x="324" y="579"/>
                  </a:cubicBezTo>
                  <a:cubicBezTo>
                    <a:pt x="329" y="579"/>
                    <a:pt x="334" y="570"/>
                    <a:pt x="338" y="568"/>
                  </a:cubicBezTo>
                  <a:cubicBezTo>
                    <a:pt x="342" y="566"/>
                    <a:pt x="356" y="574"/>
                    <a:pt x="356" y="574"/>
                  </a:cubicBezTo>
                  <a:cubicBezTo>
                    <a:pt x="356" y="574"/>
                    <a:pt x="360" y="576"/>
                    <a:pt x="367" y="573"/>
                  </a:cubicBezTo>
                  <a:cubicBezTo>
                    <a:pt x="374" y="570"/>
                    <a:pt x="390" y="552"/>
                    <a:pt x="390" y="552"/>
                  </a:cubicBezTo>
                  <a:cubicBezTo>
                    <a:pt x="406" y="552"/>
                    <a:pt x="406" y="552"/>
                    <a:pt x="406" y="552"/>
                  </a:cubicBezTo>
                  <a:cubicBezTo>
                    <a:pt x="406" y="552"/>
                    <a:pt x="409" y="560"/>
                    <a:pt x="413" y="559"/>
                  </a:cubicBezTo>
                  <a:cubicBezTo>
                    <a:pt x="417" y="558"/>
                    <a:pt x="438" y="545"/>
                    <a:pt x="438" y="545"/>
                  </a:cubicBezTo>
                  <a:cubicBezTo>
                    <a:pt x="457" y="544"/>
                    <a:pt x="457" y="544"/>
                    <a:pt x="457" y="544"/>
                  </a:cubicBezTo>
                  <a:cubicBezTo>
                    <a:pt x="510" y="507"/>
                    <a:pt x="510" y="507"/>
                    <a:pt x="510" y="507"/>
                  </a:cubicBezTo>
                  <a:lnTo>
                    <a:pt x="507" y="496"/>
                  </a:lnTo>
                  <a:close/>
                  <a:moveTo>
                    <a:pt x="481" y="237"/>
                  </a:moveTo>
                  <a:cubicBezTo>
                    <a:pt x="497" y="235"/>
                    <a:pt x="483" y="196"/>
                    <a:pt x="476" y="204"/>
                  </a:cubicBezTo>
                  <a:cubicBezTo>
                    <a:pt x="468" y="212"/>
                    <a:pt x="468" y="239"/>
                    <a:pt x="481" y="237"/>
                  </a:cubicBezTo>
                  <a:close/>
                  <a:moveTo>
                    <a:pt x="452" y="278"/>
                  </a:moveTo>
                  <a:cubicBezTo>
                    <a:pt x="452" y="278"/>
                    <a:pt x="468" y="296"/>
                    <a:pt x="478" y="294"/>
                  </a:cubicBezTo>
                  <a:cubicBezTo>
                    <a:pt x="487" y="292"/>
                    <a:pt x="470" y="272"/>
                    <a:pt x="470" y="272"/>
                  </a:cubicBezTo>
                  <a:cubicBezTo>
                    <a:pt x="470" y="272"/>
                    <a:pt x="474" y="251"/>
                    <a:pt x="458" y="251"/>
                  </a:cubicBezTo>
                  <a:cubicBezTo>
                    <a:pt x="442" y="251"/>
                    <a:pt x="452" y="278"/>
                    <a:pt x="452" y="278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53" name="Freeform 169"/>
            <p:cNvSpPr>
              <a:spLocks noEditPoints="1"/>
            </p:cNvSpPr>
            <p:nvPr/>
          </p:nvSpPr>
          <p:spPr bwMode="auto">
            <a:xfrm>
              <a:off x="3206" y="2668"/>
              <a:ext cx="100" cy="119"/>
            </a:xfrm>
            <a:custGeom>
              <a:avLst/>
              <a:gdLst>
                <a:gd name="T0" fmla="*/ 0 w 266"/>
                <a:gd name="T1" fmla="*/ 0 h 314"/>
                <a:gd name="T2" fmla="*/ 0 w 266"/>
                <a:gd name="T3" fmla="*/ 0 h 314"/>
                <a:gd name="T4" fmla="*/ 0 w 266"/>
                <a:gd name="T5" fmla="*/ 0 h 314"/>
                <a:gd name="T6" fmla="*/ 0 w 266"/>
                <a:gd name="T7" fmla="*/ 0 h 314"/>
                <a:gd name="T8" fmla="*/ 0 w 266"/>
                <a:gd name="T9" fmla="*/ 0 h 314"/>
                <a:gd name="T10" fmla="*/ 0 w 266"/>
                <a:gd name="T11" fmla="*/ 0 h 314"/>
                <a:gd name="T12" fmla="*/ 0 w 266"/>
                <a:gd name="T13" fmla="*/ 0 h 314"/>
                <a:gd name="T14" fmla="*/ 0 w 266"/>
                <a:gd name="T15" fmla="*/ 0 h 314"/>
                <a:gd name="T16" fmla="*/ 0 w 266"/>
                <a:gd name="T17" fmla="*/ 0 h 314"/>
                <a:gd name="T18" fmla="*/ 0 w 266"/>
                <a:gd name="T19" fmla="*/ 0 h 314"/>
                <a:gd name="T20" fmla="*/ 0 w 266"/>
                <a:gd name="T21" fmla="*/ 0 h 314"/>
                <a:gd name="T22" fmla="*/ 0 w 266"/>
                <a:gd name="T23" fmla="*/ 0 h 314"/>
                <a:gd name="T24" fmla="*/ 0 w 266"/>
                <a:gd name="T25" fmla="*/ 0 h 314"/>
                <a:gd name="T26" fmla="*/ 0 w 266"/>
                <a:gd name="T27" fmla="*/ 0 h 314"/>
                <a:gd name="T28" fmla="*/ 0 w 266"/>
                <a:gd name="T29" fmla="*/ 0 h 314"/>
                <a:gd name="T30" fmla="*/ 0 w 266"/>
                <a:gd name="T31" fmla="*/ 0 h 314"/>
                <a:gd name="T32" fmla="*/ 0 w 266"/>
                <a:gd name="T33" fmla="*/ 0 h 314"/>
                <a:gd name="T34" fmla="*/ 0 w 266"/>
                <a:gd name="T35" fmla="*/ 0 h 314"/>
                <a:gd name="T36" fmla="*/ 0 w 266"/>
                <a:gd name="T37" fmla="*/ 0 h 314"/>
                <a:gd name="T38" fmla="*/ 0 w 266"/>
                <a:gd name="T39" fmla="*/ 0 h 314"/>
                <a:gd name="T40" fmla="*/ 0 w 266"/>
                <a:gd name="T41" fmla="*/ 0 h 314"/>
                <a:gd name="T42" fmla="*/ 0 w 266"/>
                <a:gd name="T43" fmla="*/ 0 h 314"/>
                <a:gd name="T44" fmla="*/ 0 w 266"/>
                <a:gd name="T45" fmla="*/ 0 h 314"/>
                <a:gd name="T46" fmla="*/ 0 w 266"/>
                <a:gd name="T47" fmla="*/ 0 h 314"/>
                <a:gd name="T48" fmla="*/ 0 w 266"/>
                <a:gd name="T49" fmla="*/ 0 h 314"/>
                <a:gd name="T50" fmla="*/ 0 w 266"/>
                <a:gd name="T51" fmla="*/ 0 h 314"/>
                <a:gd name="T52" fmla="*/ 0 w 266"/>
                <a:gd name="T53" fmla="*/ 0 h 314"/>
                <a:gd name="T54" fmla="*/ 0 w 266"/>
                <a:gd name="T55" fmla="*/ 0 h 314"/>
                <a:gd name="T56" fmla="*/ 0 w 266"/>
                <a:gd name="T57" fmla="*/ 0 h 314"/>
                <a:gd name="T58" fmla="*/ 0 w 266"/>
                <a:gd name="T59" fmla="*/ 0 h 314"/>
                <a:gd name="T60" fmla="*/ 0 w 266"/>
                <a:gd name="T61" fmla="*/ 0 h 314"/>
                <a:gd name="T62" fmla="*/ 0 w 266"/>
                <a:gd name="T63" fmla="*/ 0 h 314"/>
                <a:gd name="T64" fmla="*/ 0 w 266"/>
                <a:gd name="T65" fmla="*/ 0 h 314"/>
                <a:gd name="T66" fmla="*/ 0 w 266"/>
                <a:gd name="T67" fmla="*/ 0 h 314"/>
                <a:gd name="T68" fmla="*/ 0 w 266"/>
                <a:gd name="T69" fmla="*/ 0 h 314"/>
                <a:gd name="T70" fmla="*/ 0 w 266"/>
                <a:gd name="T71" fmla="*/ 0 h 314"/>
                <a:gd name="T72" fmla="*/ 0 w 266"/>
                <a:gd name="T73" fmla="*/ 0 h 314"/>
                <a:gd name="T74" fmla="*/ 0 w 266"/>
                <a:gd name="T75" fmla="*/ 0 h 314"/>
                <a:gd name="T76" fmla="*/ 0 w 266"/>
                <a:gd name="T77" fmla="*/ 0 h 314"/>
                <a:gd name="T78" fmla="*/ 0 w 266"/>
                <a:gd name="T79" fmla="*/ 0 h 314"/>
                <a:gd name="T80" fmla="*/ 0 w 266"/>
                <a:gd name="T81" fmla="*/ 0 h 314"/>
                <a:gd name="T82" fmla="*/ 0 w 266"/>
                <a:gd name="T83" fmla="*/ 0 h 314"/>
                <a:gd name="T84" fmla="*/ 0 w 266"/>
                <a:gd name="T85" fmla="*/ 0 h 314"/>
                <a:gd name="T86" fmla="*/ 0 w 266"/>
                <a:gd name="T87" fmla="*/ 0 h 314"/>
                <a:gd name="T88" fmla="*/ 0 w 266"/>
                <a:gd name="T89" fmla="*/ 0 h 314"/>
                <a:gd name="T90" fmla="*/ 0 w 266"/>
                <a:gd name="T91" fmla="*/ 0 h 314"/>
                <a:gd name="T92" fmla="*/ 0 w 266"/>
                <a:gd name="T93" fmla="*/ 0 h 314"/>
                <a:gd name="T94" fmla="*/ 0 w 266"/>
                <a:gd name="T95" fmla="*/ 0 h 314"/>
                <a:gd name="T96" fmla="*/ 0 w 266"/>
                <a:gd name="T97" fmla="*/ 0 h 314"/>
                <a:gd name="T98" fmla="*/ 0 w 266"/>
                <a:gd name="T99" fmla="*/ 0 h 314"/>
                <a:gd name="T100" fmla="*/ 0 w 266"/>
                <a:gd name="T101" fmla="*/ 0 h 314"/>
                <a:gd name="T102" fmla="*/ 0 w 266"/>
                <a:gd name="T103" fmla="*/ 0 h 314"/>
                <a:gd name="T104" fmla="*/ 0 w 266"/>
                <a:gd name="T105" fmla="*/ 0 h 314"/>
                <a:gd name="T106" fmla="*/ 0 w 266"/>
                <a:gd name="T107" fmla="*/ 0 h 314"/>
                <a:gd name="T108" fmla="*/ 0 w 266"/>
                <a:gd name="T109" fmla="*/ 0 h 314"/>
                <a:gd name="T110" fmla="*/ 0 w 266"/>
                <a:gd name="T111" fmla="*/ 0 h 314"/>
                <a:gd name="T112" fmla="*/ 0 w 266"/>
                <a:gd name="T113" fmla="*/ 0 h 314"/>
                <a:gd name="T114" fmla="*/ 0 w 266"/>
                <a:gd name="T115" fmla="*/ 0 h 314"/>
                <a:gd name="T116" fmla="*/ 0 w 266"/>
                <a:gd name="T117" fmla="*/ 0 h 3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6"/>
                <a:gd name="T178" fmla="*/ 0 h 314"/>
                <a:gd name="T179" fmla="*/ 266 w 266"/>
                <a:gd name="T180" fmla="*/ 314 h 3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6" h="314">
                  <a:moveTo>
                    <a:pt x="204" y="283"/>
                  </a:moveTo>
                  <a:cubicBezTo>
                    <a:pt x="214" y="283"/>
                    <a:pt x="214" y="283"/>
                    <a:pt x="214" y="283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09" y="282"/>
                    <a:pt x="204" y="282"/>
                    <a:pt x="204" y="283"/>
                  </a:cubicBezTo>
                  <a:close/>
                  <a:moveTo>
                    <a:pt x="262" y="127"/>
                  </a:moveTo>
                  <a:cubicBezTo>
                    <a:pt x="258" y="121"/>
                    <a:pt x="245" y="102"/>
                    <a:pt x="246" y="97"/>
                  </a:cubicBezTo>
                  <a:cubicBezTo>
                    <a:pt x="247" y="92"/>
                    <a:pt x="255" y="87"/>
                    <a:pt x="255" y="87"/>
                  </a:cubicBezTo>
                  <a:cubicBezTo>
                    <a:pt x="234" y="62"/>
                    <a:pt x="234" y="62"/>
                    <a:pt x="234" y="62"/>
                  </a:cubicBezTo>
                  <a:cubicBezTo>
                    <a:pt x="235" y="57"/>
                    <a:pt x="235" y="57"/>
                    <a:pt x="235" y="57"/>
                  </a:cubicBezTo>
                  <a:cubicBezTo>
                    <a:pt x="235" y="57"/>
                    <a:pt x="224" y="48"/>
                    <a:pt x="226" y="42"/>
                  </a:cubicBezTo>
                  <a:cubicBezTo>
                    <a:pt x="228" y="36"/>
                    <a:pt x="228" y="27"/>
                    <a:pt x="228" y="27"/>
                  </a:cubicBezTo>
                  <a:cubicBezTo>
                    <a:pt x="228" y="27"/>
                    <a:pt x="215" y="35"/>
                    <a:pt x="215" y="22"/>
                  </a:cubicBezTo>
                  <a:cubicBezTo>
                    <a:pt x="215" y="9"/>
                    <a:pt x="208" y="0"/>
                    <a:pt x="208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00" y="0"/>
                    <a:pt x="191" y="27"/>
                    <a:pt x="178" y="25"/>
                  </a:cubicBezTo>
                  <a:cubicBezTo>
                    <a:pt x="165" y="23"/>
                    <a:pt x="166" y="17"/>
                    <a:pt x="161" y="17"/>
                  </a:cubicBezTo>
                  <a:cubicBezTo>
                    <a:pt x="156" y="17"/>
                    <a:pt x="149" y="25"/>
                    <a:pt x="149" y="25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99" y="22"/>
                    <a:pt x="98" y="30"/>
                    <a:pt x="92" y="29"/>
                  </a:cubicBezTo>
                  <a:cubicBezTo>
                    <a:pt x="86" y="28"/>
                    <a:pt x="77" y="21"/>
                    <a:pt x="72" y="21"/>
                  </a:cubicBezTo>
                  <a:cubicBezTo>
                    <a:pt x="67" y="21"/>
                    <a:pt x="56" y="34"/>
                    <a:pt x="56" y="34"/>
                  </a:cubicBezTo>
                  <a:cubicBezTo>
                    <a:pt x="62" y="47"/>
                    <a:pt x="62" y="47"/>
                    <a:pt x="62" y="47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60" y="65"/>
                    <a:pt x="59" y="71"/>
                  </a:cubicBezTo>
                  <a:cubicBezTo>
                    <a:pt x="58" y="76"/>
                    <a:pt x="49" y="87"/>
                    <a:pt x="52" y="92"/>
                  </a:cubicBezTo>
                  <a:cubicBezTo>
                    <a:pt x="55" y="98"/>
                    <a:pt x="66" y="97"/>
                    <a:pt x="66" y="97"/>
                  </a:cubicBezTo>
                  <a:cubicBezTo>
                    <a:pt x="66" y="97"/>
                    <a:pt x="78" y="100"/>
                    <a:pt x="78" y="108"/>
                  </a:cubicBezTo>
                  <a:cubicBezTo>
                    <a:pt x="78" y="116"/>
                    <a:pt x="45" y="156"/>
                    <a:pt x="45" y="156"/>
                  </a:cubicBezTo>
                  <a:cubicBezTo>
                    <a:pt x="29" y="164"/>
                    <a:pt x="29" y="164"/>
                    <a:pt x="29" y="164"/>
                  </a:cubicBezTo>
                  <a:cubicBezTo>
                    <a:pt x="29" y="173"/>
                    <a:pt x="29" y="173"/>
                    <a:pt x="29" y="173"/>
                  </a:cubicBezTo>
                  <a:cubicBezTo>
                    <a:pt x="16" y="181"/>
                    <a:pt x="16" y="181"/>
                    <a:pt x="16" y="181"/>
                  </a:cubicBezTo>
                  <a:cubicBezTo>
                    <a:pt x="14" y="198"/>
                    <a:pt x="14" y="198"/>
                    <a:pt x="14" y="198"/>
                  </a:cubicBezTo>
                  <a:cubicBezTo>
                    <a:pt x="4" y="229"/>
                    <a:pt x="4" y="229"/>
                    <a:pt x="4" y="229"/>
                  </a:cubicBezTo>
                  <a:cubicBezTo>
                    <a:pt x="4" y="249"/>
                    <a:pt x="4" y="249"/>
                    <a:pt x="4" y="249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299"/>
                    <a:pt x="16" y="314"/>
                    <a:pt x="22" y="307"/>
                  </a:cubicBezTo>
                  <a:cubicBezTo>
                    <a:pt x="29" y="299"/>
                    <a:pt x="33" y="283"/>
                    <a:pt x="33" y="283"/>
                  </a:cubicBezTo>
                  <a:cubicBezTo>
                    <a:pt x="49" y="282"/>
                    <a:pt x="49" y="282"/>
                    <a:pt x="49" y="282"/>
                  </a:cubicBezTo>
                  <a:cubicBezTo>
                    <a:pt x="110" y="282"/>
                    <a:pt x="110" y="282"/>
                    <a:pt x="110" y="282"/>
                  </a:cubicBezTo>
                  <a:cubicBezTo>
                    <a:pt x="110" y="277"/>
                    <a:pt x="104" y="271"/>
                    <a:pt x="102" y="265"/>
                  </a:cubicBezTo>
                  <a:cubicBezTo>
                    <a:pt x="100" y="258"/>
                    <a:pt x="107" y="250"/>
                    <a:pt x="111" y="246"/>
                  </a:cubicBezTo>
                  <a:cubicBezTo>
                    <a:pt x="115" y="242"/>
                    <a:pt x="109" y="230"/>
                    <a:pt x="118" y="223"/>
                  </a:cubicBezTo>
                  <a:cubicBezTo>
                    <a:pt x="127" y="216"/>
                    <a:pt x="157" y="218"/>
                    <a:pt x="160" y="216"/>
                  </a:cubicBezTo>
                  <a:cubicBezTo>
                    <a:pt x="163" y="214"/>
                    <a:pt x="170" y="202"/>
                    <a:pt x="176" y="202"/>
                  </a:cubicBezTo>
                  <a:cubicBezTo>
                    <a:pt x="182" y="202"/>
                    <a:pt x="182" y="219"/>
                    <a:pt x="182" y="219"/>
                  </a:cubicBezTo>
                  <a:cubicBezTo>
                    <a:pt x="182" y="219"/>
                    <a:pt x="189" y="212"/>
                    <a:pt x="200" y="215"/>
                  </a:cubicBezTo>
                  <a:cubicBezTo>
                    <a:pt x="202" y="215"/>
                    <a:pt x="204" y="216"/>
                    <a:pt x="207" y="217"/>
                  </a:cubicBezTo>
                  <a:cubicBezTo>
                    <a:pt x="207" y="218"/>
                    <a:pt x="207" y="218"/>
                    <a:pt x="207" y="219"/>
                  </a:cubicBezTo>
                  <a:cubicBezTo>
                    <a:pt x="207" y="208"/>
                    <a:pt x="218" y="201"/>
                    <a:pt x="218" y="201"/>
                  </a:cubicBezTo>
                  <a:cubicBezTo>
                    <a:pt x="219" y="190"/>
                    <a:pt x="219" y="190"/>
                    <a:pt x="219" y="190"/>
                  </a:cubicBezTo>
                  <a:cubicBezTo>
                    <a:pt x="231" y="179"/>
                    <a:pt x="231" y="179"/>
                    <a:pt x="231" y="179"/>
                  </a:cubicBezTo>
                  <a:cubicBezTo>
                    <a:pt x="231" y="179"/>
                    <a:pt x="227" y="170"/>
                    <a:pt x="234" y="164"/>
                  </a:cubicBezTo>
                  <a:cubicBezTo>
                    <a:pt x="241" y="158"/>
                    <a:pt x="247" y="160"/>
                    <a:pt x="247" y="160"/>
                  </a:cubicBezTo>
                  <a:cubicBezTo>
                    <a:pt x="251" y="145"/>
                    <a:pt x="251" y="145"/>
                    <a:pt x="251" y="145"/>
                  </a:cubicBezTo>
                  <a:cubicBezTo>
                    <a:pt x="251" y="145"/>
                    <a:pt x="266" y="133"/>
                    <a:pt x="262" y="127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54" name="Freeform 170"/>
            <p:cNvSpPr>
              <a:spLocks/>
            </p:cNvSpPr>
            <p:nvPr/>
          </p:nvSpPr>
          <p:spPr bwMode="auto">
            <a:xfrm>
              <a:off x="3283" y="2657"/>
              <a:ext cx="144" cy="193"/>
            </a:xfrm>
            <a:custGeom>
              <a:avLst/>
              <a:gdLst>
                <a:gd name="T0" fmla="*/ 0 w 378"/>
                <a:gd name="T1" fmla="*/ 0 h 509"/>
                <a:gd name="T2" fmla="*/ 0 w 378"/>
                <a:gd name="T3" fmla="*/ 0 h 509"/>
                <a:gd name="T4" fmla="*/ 0 w 378"/>
                <a:gd name="T5" fmla="*/ 0 h 509"/>
                <a:gd name="T6" fmla="*/ 0 w 378"/>
                <a:gd name="T7" fmla="*/ 0 h 509"/>
                <a:gd name="T8" fmla="*/ 0 w 378"/>
                <a:gd name="T9" fmla="*/ 0 h 509"/>
                <a:gd name="T10" fmla="*/ 0 w 378"/>
                <a:gd name="T11" fmla="*/ 0 h 509"/>
                <a:gd name="T12" fmla="*/ 0 w 378"/>
                <a:gd name="T13" fmla="*/ 0 h 509"/>
                <a:gd name="T14" fmla="*/ 0 w 378"/>
                <a:gd name="T15" fmla="*/ 0 h 509"/>
                <a:gd name="T16" fmla="*/ 0 w 378"/>
                <a:gd name="T17" fmla="*/ 0 h 509"/>
                <a:gd name="T18" fmla="*/ 0 w 378"/>
                <a:gd name="T19" fmla="*/ 0 h 509"/>
                <a:gd name="T20" fmla="*/ 0 w 378"/>
                <a:gd name="T21" fmla="*/ 0 h 509"/>
                <a:gd name="T22" fmla="*/ 0 w 378"/>
                <a:gd name="T23" fmla="*/ 0 h 509"/>
                <a:gd name="T24" fmla="*/ 0 w 378"/>
                <a:gd name="T25" fmla="*/ 0 h 509"/>
                <a:gd name="T26" fmla="*/ 0 w 378"/>
                <a:gd name="T27" fmla="*/ 0 h 509"/>
                <a:gd name="T28" fmla="*/ 0 w 378"/>
                <a:gd name="T29" fmla="*/ 0 h 509"/>
                <a:gd name="T30" fmla="*/ 0 w 378"/>
                <a:gd name="T31" fmla="*/ 0 h 509"/>
                <a:gd name="T32" fmla="*/ 0 w 378"/>
                <a:gd name="T33" fmla="*/ 0 h 509"/>
                <a:gd name="T34" fmla="*/ 0 w 378"/>
                <a:gd name="T35" fmla="*/ 0 h 509"/>
                <a:gd name="T36" fmla="*/ 0 w 378"/>
                <a:gd name="T37" fmla="*/ 0 h 509"/>
                <a:gd name="T38" fmla="*/ 0 w 378"/>
                <a:gd name="T39" fmla="*/ 0 h 509"/>
                <a:gd name="T40" fmla="*/ 0 w 378"/>
                <a:gd name="T41" fmla="*/ 0 h 509"/>
                <a:gd name="T42" fmla="*/ 0 w 378"/>
                <a:gd name="T43" fmla="*/ 0 h 509"/>
                <a:gd name="T44" fmla="*/ 0 w 378"/>
                <a:gd name="T45" fmla="*/ 0 h 509"/>
                <a:gd name="T46" fmla="*/ 0 w 378"/>
                <a:gd name="T47" fmla="*/ 0 h 509"/>
                <a:gd name="T48" fmla="*/ 0 w 378"/>
                <a:gd name="T49" fmla="*/ 0 h 509"/>
                <a:gd name="T50" fmla="*/ 0 w 378"/>
                <a:gd name="T51" fmla="*/ 0 h 509"/>
                <a:gd name="T52" fmla="*/ 0 w 378"/>
                <a:gd name="T53" fmla="*/ 0 h 509"/>
                <a:gd name="T54" fmla="*/ 0 w 378"/>
                <a:gd name="T55" fmla="*/ 0 h 509"/>
                <a:gd name="T56" fmla="*/ 0 w 378"/>
                <a:gd name="T57" fmla="*/ 0 h 509"/>
                <a:gd name="T58" fmla="*/ 0 w 378"/>
                <a:gd name="T59" fmla="*/ 0 h 509"/>
                <a:gd name="T60" fmla="*/ 0 w 378"/>
                <a:gd name="T61" fmla="*/ 0 h 509"/>
                <a:gd name="T62" fmla="*/ 0 w 378"/>
                <a:gd name="T63" fmla="*/ 0 h 509"/>
                <a:gd name="T64" fmla="*/ 0 w 378"/>
                <a:gd name="T65" fmla="*/ 0 h 509"/>
                <a:gd name="T66" fmla="*/ 0 w 378"/>
                <a:gd name="T67" fmla="*/ 0 h 509"/>
                <a:gd name="T68" fmla="*/ 0 w 378"/>
                <a:gd name="T69" fmla="*/ 0 h 509"/>
                <a:gd name="T70" fmla="*/ 0 w 378"/>
                <a:gd name="T71" fmla="*/ 0 h 509"/>
                <a:gd name="T72" fmla="*/ 0 w 378"/>
                <a:gd name="T73" fmla="*/ 0 h 509"/>
                <a:gd name="T74" fmla="*/ 0 w 378"/>
                <a:gd name="T75" fmla="*/ 0 h 509"/>
                <a:gd name="T76" fmla="*/ 0 w 378"/>
                <a:gd name="T77" fmla="*/ 0 h 509"/>
                <a:gd name="T78" fmla="*/ 0 w 378"/>
                <a:gd name="T79" fmla="*/ 0 h 509"/>
                <a:gd name="T80" fmla="*/ 0 w 378"/>
                <a:gd name="T81" fmla="*/ 0 h 509"/>
                <a:gd name="T82" fmla="*/ 0 w 378"/>
                <a:gd name="T83" fmla="*/ 0 h 509"/>
                <a:gd name="T84" fmla="*/ 0 w 378"/>
                <a:gd name="T85" fmla="*/ 0 h 509"/>
                <a:gd name="T86" fmla="*/ 0 w 378"/>
                <a:gd name="T87" fmla="*/ 0 h 509"/>
                <a:gd name="T88" fmla="*/ 0 w 378"/>
                <a:gd name="T89" fmla="*/ 0 h 509"/>
                <a:gd name="T90" fmla="*/ 0 w 378"/>
                <a:gd name="T91" fmla="*/ 0 h 509"/>
                <a:gd name="T92" fmla="*/ 0 w 378"/>
                <a:gd name="T93" fmla="*/ 0 h 509"/>
                <a:gd name="T94" fmla="*/ 0 w 378"/>
                <a:gd name="T95" fmla="*/ 0 h 509"/>
                <a:gd name="T96" fmla="*/ 0 w 378"/>
                <a:gd name="T97" fmla="*/ 0 h 509"/>
                <a:gd name="T98" fmla="*/ 0 w 378"/>
                <a:gd name="T99" fmla="*/ 0 h 509"/>
                <a:gd name="T100" fmla="*/ 0 w 378"/>
                <a:gd name="T101" fmla="*/ 0 h 509"/>
                <a:gd name="T102" fmla="*/ 0 w 378"/>
                <a:gd name="T103" fmla="*/ 0 h 509"/>
                <a:gd name="T104" fmla="*/ 0 w 378"/>
                <a:gd name="T105" fmla="*/ 0 h 509"/>
                <a:gd name="T106" fmla="*/ 0 w 378"/>
                <a:gd name="T107" fmla="*/ 0 h 509"/>
                <a:gd name="T108" fmla="*/ 0 w 378"/>
                <a:gd name="T109" fmla="*/ 0 h 509"/>
                <a:gd name="T110" fmla="*/ 0 w 378"/>
                <a:gd name="T111" fmla="*/ 0 h 509"/>
                <a:gd name="T112" fmla="*/ 0 w 378"/>
                <a:gd name="T113" fmla="*/ 0 h 509"/>
                <a:gd name="T114" fmla="*/ 0 w 378"/>
                <a:gd name="T115" fmla="*/ 0 h 509"/>
                <a:gd name="T116" fmla="*/ 0 w 378"/>
                <a:gd name="T117" fmla="*/ 0 h 5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78"/>
                <a:gd name="T178" fmla="*/ 0 h 509"/>
                <a:gd name="T179" fmla="*/ 378 w 378"/>
                <a:gd name="T180" fmla="*/ 509 h 5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78" h="509">
                  <a:moveTo>
                    <a:pt x="337" y="100"/>
                  </a:moveTo>
                  <a:cubicBezTo>
                    <a:pt x="337" y="100"/>
                    <a:pt x="351" y="87"/>
                    <a:pt x="358" y="79"/>
                  </a:cubicBezTo>
                  <a:cubicBezTo>
                    <a:pt x="365" y="71"/>
                    <a:pt x="378" y="43"/>
                    <a:pt x="378" y="43"/>
                  </a:cubicBezTo>
                  <a:cubicBezTo>
                    <a:pt x="362" y="37"/>
                    <a:pt x="362" y="37"/>
                    <a:pt x="362" y="37"/>
                  </a:cubicBezTo>
                  <a:cubicBezTo>
                    <a:pt x="358" y="41"/>
                    <a:pt x="358" y="41"/>
                    <a:pt x="358" y="41"/>
                  </a:cubicBezTo>
                  <a:cubicBezTo>
                    <a:pt x="340" y="40"/>
                    <a:pt x="340" y="40"/>
                    <a:pt x="340" y="40"/>
                  </a:cubicBezTo>
                  <a:cubicBezTo>
                    <a:pt x="324" y="23"/>
                    <a:pt x="324" y="23"/>
                    <a:pt x="324" y="23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32"/>
                    <a:pt x="290" y="40"/>
                    <a:pt x="283" y="46"/>
                  </a:cubicBezTo>
                  <a:cubicBezTo>
                    <a:pt x="276" y="52"/>
                    <a:pt x="278" y="56"/>
                    <a:pt x="278" y="56"/>
                  </a:cubicBezTo>
                  <a:cubicBezTo>
                    <a:pt x="265" y="70"/>
                    <a:pt x="265" y="70"/>
                    <a:pt x="265" y="70"/>
                  </a:cubicBezTo>
                  <a:cubicBezTo>
                    <a:pt x="265" y="70"/>
                    <a:pt x="247" y="63"/>
                    <a:pt x="234" y="61"/>
                  </a:cubicBezTo>
                  <a:cubicBezTo>
                    <a:pt x="221" y="59"/>
                    <a:pt x="194" y="57"/>
                    <a:pt x="194" y="57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10" y="38"/>
                    <a:pt x="10" y="51"/>
                  </a:cubicBezTo>
                  <a:cubicBezTo>
                    <a:pt x="10" y="64"/>
                    <a:pt x="23" y="56"/>
                    <a:pt x="23" y="56"/>
                  </a:cubicBezTo>
                  <a:cubicBezTo>
                    <a:pt x="23" y="56"/>
                    <a:pt x="23" y="65"/>
                    <a:pt x="21" y="71"/>
                  </a:cubicBezTo>
                  <a:cubicBezTo>
                    <a:pt x="19" y="77"/>
                    <a:pt x="30" y="86"/>
                    <a:pt x="30" y="86"/>
                  </a:cubicBezTo>
                  <a:cubicBezTo>
                    <a:pt x="29" y="91"/>
                    <a:pt x="29" y="91"/>
                    <a:pt x="29" y="91"/>
                  </a:cubicBezTo>
                  <a:cubicBezTo>
                    <a:pt x="50" y="116"/>
                    <a:pt x="50" y="116"/>
                    <a:pt x="50" y="116"/>
                  </a:cubicBezTo>
                  <a:cubicBezTo>
                    <a:pt x="50" y="116"/>
                    <a:pt x="42" y="121"/>
                    <a:pt x="41" y="126"/>
                  </a:cubicBezTo>
                  <a:cubicBezTo>
                    <a:pt x="40" y="131"/>
                    <a:pt x="53" y="150"/>
                    <a:pt x="57" y="156"/>
                  </a:cubicBezTo>
                  <a:cubicBezTo>
                    <a:pt x="61" y="162"/>
                    <a:pt x="46" y="174"/>
                    <a:pt x="46" y="174"/>
                  </a:cubicBezTo>
                  <a:cubicBezTo>
                    <a:pt x="42" y="189"/>
                    <a:pt x="42" y="189"/>
                    <a:pt x="42" y="189"/>
                  </a:cubicBezTo>
                  <a:cubicBezTo>
                    <a:pt x="42" y="189"/>
                    <a:pt x="36" y="187"/>
                    <a:pt x="29" y="193"/>
                  </a:cubicBezTo>
                  <a:cubicBezTo>
                    <a:pt x="22" y="199"/>
                    <a:pt x="26" y="208"/>
                    <a:pt x="26" y="208"/>
                  </a:cubicBezTo>
                  <a:cubicBezTo>
                    <a:pt x="14" y="219"/>
                    <a:pt x="14" y="219"/>
                    <a:pt x="14" y="219"/>
                  </a:cubicBezTo>
                  <a:cubicBezTo>
                    <a:pt x="13" y="230"/>
                    <a:pt x="13" y="230"/>
                    <a:pt x="13" y="230"/>
                  </a:cubicBezTo>
                  <a:cubicBezTo>
                    <a:pt x="13" y="230"/>
                    <a:pt x="2" y="237"/>
                    <a:pt x="2" y="248"/>
                  </a:cubicBezTo>
                  <a:cubicBezTo>
                    <a:pt x="2" y="259"/>
                    <a:pt x="11" y="269"/>
                    <a:pt x="18" y="270"/>
                  </a:cubicBezTo>
                  <a:cubicBezTo>
                    <a:pt x="25" y="271"/>
                    <a:pt x="25" y="262"/>
                    <a:pt x="25" y="262"/>
                  </a:cubicBezTo>
                  <a:cubicBezTo>
                    <a:pt x="39" y="261"/>
                    <a:pt x="39" y="261"/>
                    <a:pt x="39" y="261"/>
                  </a:cubicBezTo>
                  <a:cubicBezTo>
                    <a:pt x="42" y="273"/>
                    <a:pt x="42" y="273"/>
                    <a:pt x="42" y="273"/>
                  </a:cubicBezTo>
                  <a:cubicBezTo>
                    <a:pt x="33" y="275"/>
                    <a:pt x="33" y="275"/>
                    <a:pt x="33" y="275"/>
                  </a:cubicBezTo>
                  <a:cubicBezTo>
                    <a:pt x="23" y="283"/>
                    <a:pt x="23" y="283"/>
                    <a:pt x="23" y="283"/>
                  </a:cubicBezTo>
                  <a:cubicBezTo>
                    <a:pt x="23" y="283"/>
                    <a:pt x="18" y="273"/>
                    <a:pt x="9" y="283"/>
                  </a:cubicBezTo>
                  <a:cubicBezTo>
                    <a:pt x="0" y="293"/>
                    <a:pt x="13" y="302"/>
                    <a:pt x="13" y="302"/>
                  </a:cubicBezTo>
                  <a:cubicBezTo>
                    <a:pt x="9" y="312"/>
                    <a:pt x="9" y="312"/>
                    <a:pt x="9" y="312"/>
                  </a:cubicBezTo>
                  <a:cubicBezTo>
                    <a:pt x="175" y="416"/>
                    <a:pt x="175" y="416"/>
                    <a:pt x="175" y="416"/>
                  </a:cubicBezTo>
                  <a:cubicBezTo>
                    <a:pt x="175" y="416"/>
                    <a:pt x="187" y="425"/>
                    <a:pt x="184" y="429"/>
                  </a:cubicBezTo>
                  <a:cubicBezTo>
                    <a:pt x="181" y="433"/>
                    <a:pt x="173" y="439"/>
                    <a:pt x="173" y="439"/>
                  </a:cubicBezTo>
                  <a:cubicBezTo>
                    <a:pt x="248" y="509"/>
                    <a:pt x="248" y="509"/>
                    <a:pt x="248" y="509"/>
                  </a:cubicBezTo>
                  <a:cubicBezTo>
                    <a:pt x="248" y="508"/>
                    <a:pt x="248" y="508"/>
                    <a:pt x="248" y="508"/>
                  </a:cubicBezTo>
                  <a:cubicBezTo>
                    <a:pt x="261" y="505"/>
                    <a:pt x="261" y="505"/>
                    <a:pt x="261" y="505"/>
                  </a:cubicBezTo>
                  <a:cubicBezTo>
                    <a:pt x="281" y="463"/>
                    <a:pt x="281" y="463"/>
                    <a:pt x="281" y="463"/>
                  </a:cubicBezTo>
                  <a:cubicBezTo>
                    <a:pt x="281" y="463"/>
                    <a:pt x="279" y="448"/>
                    <a:pt x="279" y="441"/>
                  </a:cubicBezTo>
                  <a:cubicBezTo>
                    <a:pt x="279" y="434"/>
                    <a:pt x="300" y="434"/>
                    <a:pt x="299" y="424"/>
                  </a:cubicBezTo>
                  <a:cubicBezTo>
                    <a:pt x="298" y="414"/>
                    <a:pt x="293" y="401"/>
                    <a:pt x="301" y="398"/>
                  </a:cubicBezTo>
                  <a:cubicBezTo>
                    <a:pt x="309" y="395"/>
                    <a:pt x="324" y="388"/>
                    <a:pt x="324" y="388"/>
                  </a:cubicBezTo>
                  <a:cubicBezTo>
                    <a:pt x="328" y="361"/>
                    <a:pt x="328" y="361"/>
                    <a:pt x="328" y="361"/>
                  </a:cubicBezTo>
                  <a:cubicBezTo>
                    <a:pt x="328" y="361"/>
                    <a:pt x="352" y="366"/>
                    <a:pt x="360" y="351"/>
                  </a:cubicBezTo>
                  <a:cubicBezTo>
                    <a:pt x="361" y="349"/>
                    <a:pt x="362" y="346"/>
                    <a:pt x="364" y="343"/>
                  </a:cubicBezTo>
                  <a:cubicBezTo>
                    <a:pt x="336" y="303"/>
                    <a:pt x="336" y="303"/>
                    <a:pt x="336" y="303"/>
                  </a:cubicBezTo>
                  <a:lnTo>
                    <a:pt x="337" y="100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55" name="Freeform 171"/>
            <p:cNvSpPr>
              <a:spLocks noEditPoints="1"/>
            </p:cNvSpPr>
            <p:nvPr/>
          </p:nvSpPr>
          <p:spPr bwMode="auto">
            <a:xfrm>
              <a:off x="1107" y="2450"/>
              <a:ext cx="84" cy="85"/>
            </a:xfrm>
            <a:custGeom>
              <a:avLst/>
              <a:gdLst>
                <a:gd name="T0" fmla="*/ 0 w 220"/>
                <a:gd name="T1" fmla="*/ 0 h 223"/>
                <a:gd name="T2" fmla="*/ 0 w 220"/>
                <a:gd name="T3" fmla="*/ 0 h 223"/>
                <a:gd name="T4" fmla="*/ 0 w 220"/>
                <a:gd name="T5" fmla="*/ 0 h 223"/>
                <a:gd name="T6" fmla="*/ 0 w 220"/>
                <a:gd name="T7" fmla="*/ 0 h 223"/>
                <a:gd name="T8" fmla="*/ 0 w 220"/>
                <a:gd name="T9" fmla="*/ 0 h 223"/>
                <a:gd name="T10" fmla="*/ 0 w 220"/>
                <a:gd name="T11" fmla="*/ 0 h 223"/>
                <a:gd name="T12" fmla="*/ 0 w 220"/>
                <a:gd name="T13" fmla="*/ 0 h 223"/>
                <a:gd name="T14" fmla="*/ 0 w 220"/>
                <a:gd name="T15" fmla="*/ 0 h 223"/>
                <a:gd name="T16" fmla="*/ 0 w 220"/>
                <a:gd name="T17" fmla="*/ 0 h 223"/>
                <a:gd name="T18" fmla="*/ 0 w 220"/>
                <a:gd name="T19" fmla="*/ 0 h 223"/>
                <a:gd name="T20" fmla="*/ 0 w 220"/>
                <a:gd name="T21" fmla="*/ 0 h 223"/>
                <a:gd name="T22" fmla="*/ 0 w 220"/>
                <a:gd name="T23" fmla="*/ 0 h 223"/>
                <a:gd name="T24" fmla="*/ 0 w 220"/>
                <a:gd name="T25" fmla="*/ 0 h 223"/>
                <a:gd name="T26" fmla="*/ 0 w 220"/>
                <a:gd name="T27" fmla="*/ 0 h 223"/>
                <a:gd name="T28" fmla="*/ 0 w 220"/>
                <a:gd name="T29" fmla="*/ 0 h 223"/>
                <a:gd name="T30" fmla="*/ 0 w 220"/>
                <a:gd name="T31" fmla="*/ 0 h 223"/>
                <a:gd name="T32" fmla="*/ 0 w 220"/>
                <a:gd name="T33" fmla="*/ 0 h 223"/>
                <a:gd name="T34" fmla="*/ 0 w 220"/>
                <a:gd name="T35" fmla="*/ 0 h 223"/>
                <a:gd name="T36" fmla="*/ 0 w 220"/>
                <a:gd name="T37" fmla="*/ 0 h 223"/>
                <a:gd name="T38" fmla="*/ 0 w 220"/>
                <a:gd name="T39" fmla="*/ 0 h 223"/>
                <a:gd name="T40" fmla="*/ 0 w 220"/>
                <a:gd name="T41" fmla="*/ 0 h 223"/>
                <a:gd name="T42" fmla="*/ 0 w 220"/>
                <a:gd name="T43" fmla="*/ 0 h 223"/>
                <a:gd name="T44" fmla="*/ 0 w 220"/>
                <a:gd name="T45" fmla="*/ 0 h 223"/>
                <a:gd name="T46" fmla="*/ 0 w 220"/>
                <a:gd name="T47" fmla="*/ 0 h 223"/>
                <a:gd name="T48" fmla="*/ 0 w 220"/>
                <a:gd name="T49" fmla="*/ 0 h 223"/>
                <a:gd name="T50" fmla="*/ 0 w 220"/>
                <a:gd name="T51" fmla="*/ 0 h 223"/>
                <a:gd name="T52" fmla="*/ 0 w 220"/>
                <a:gd name="T53" fmla="*/ 0 h 223"/>
                <a:gd name="T54" fmla="*/ 0 w 220"/>
                <a:gd name="T55" fmla="*/ 0 h 223"/>
                <a:gd name="T56" fmla="*/ 0 w 220"/>
                <a:gd name="T57" fmla="*/ 0 h 223"/>
                <a:gd name="T58" fmla="*/ 0 w 220"/>
                <a:gd name="T59" fmla="*/ 0 h 223"/>
                <a:gd name="T60" fmla="*/ 0 w 220"/>
                <a:gd name="T61" fmla="*/ 0 h 223"/>
                <a:gd name="T62" fmla="*/ 0 w 220"/>
                <a:gd name="T63" fmla="*/ 0 h 223"/>
                <a:gd name="T64" fmla="*/ 0 w 220"/>
                <a:gd name="T65" fmla="*/ 0 h 223"/>
                <a:gd name="T66" fmla="*/ 0 w 220"/>
                <a:gd name="T67" fmla="*/ 0 h 223"/>
                <a:gd name="T68" fmla="*/ 0 w 220"/>
                <a:gd name="T69" fmla="*/ 0 h 223"/>
                <a:gd name="T70" fmla="*/ 0 w 220"/>
                <a:gd name="T71" fmla="*/ 0 h 223"/>
                <a:gd name="T72" fmla="*/ 0 w 220"/>
                <a:gd name="T73" fmla="*/ 0 h 223"/>
                <a:gd name="T74" fmla="*/ 0 w 220"/>
                <a:gd name="T75" fmla="*/ 0 h 223"/>
                <a:gd name="T76" fmla="*/ 0 w 220"/>
                <a:gd name="T77" fmla="*/ 0 h 223"/>
                <a:gd name="T78" fmla="*/ 0 w 220"/>
                <a:gd name="T79" fmla="*/ 0 h 223"/>
                <a:gd name="T80" fmla="*/ 0 w 220"/>
                <a:gd name="T81" fmla="*/ 0 h 223"/>
                <a:gd name="T82" fmla="*/ 0 w 220"/>
                <a:gd name="T83" fmla="*/ 0 h 223"/>
                <a:gd name="T84" fmla="*/ 0 w 220"/>
                <a:gd name="T85" fmla="*/ 0 h 223"/>
                <a:gd name="T86" fmla="*/ 0 w 220"/>
                <a:gd name="T87" fmla="*/ 0 h 223"/>
                <a:gd name="T88" fmla="*/ 0 w 220"/>
                <a:gd name="T89" fmla="*/ 0 h 223"/>
                <a:gd name="T90" fmla="*/ 0 w 220"/>
                <a:gd name="T91" fmla="*/ 0 h 22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20"/>
                <a:gd name="T139" fmla="*/ 0 h 223"/>
                <a:gd name="T140" fmla="*/ 220 w 220"/>
                <a:gd name="T141" fmla="*/ 223 h 22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20" h="223">
                  <a:moveTo>
                    <a:pt x="128" y="204"/>
                  </a:moveTo>
                  <a:cubicBezTo>
                    <a:pt x="128" y="204"/>
                    <a:pt x="128" y="204"/>
                    <a:pt x="128" y="204"/>
                  </a:cubicBezTo>
                  <a:cubicBezTo>
                    <a:pt x="128" y="204"/>
                    <a:pt x="128" y="204"/>
                    <a:pt x="128" y="204"/>
                  </a:cubicBezTo>
                  <a:cubicBezTo>
                    <a:pt x="128" y="204"/>
                    <a:pt x="128" y="204"/>
                    <a:pt x="128" y="204"/>
                  </a:cubicBezTo>
                  <a:close/>
                  <a:moveTo>
                    <a:pt x="218" y="15"/>
                  </a:moveTo>
                  <a:cubicBezTo>
                    <a:pt x="216" y="10"/>
                    <a:pt x="210" y="5"/>
                    <a:pt x="211" y="1"/>
                  </a:cubicBezTo>
                  <a:cubicBezTo>
                    <a:pt x="192" y="2"/>
                    <a:pt x="192" y="2"/>
                    <a:pt x="192" y="2"/>
                  </a:cubicBezTo>
                  <a:cubicBezTo>
                    <a:pt x="192" y="2"/>
                    <a:pt x="185" y="2"/>
                    <a:pt x="181" y="2"/>
                  </a:cubicBezTo>
                  <a:cubicBezTo>
                    <a:pt x="177" y="2"/>
                    <a:pt x="178" y="11"/>
                    <a:pt x="168" y="12"/>
                  </a:cubicBezTo>
                  <a:cubicBezTo>
                    <a:pt x="158" y="13"/>
                    <a:pt x="152" y="2"/>
                    <a:pt x="143" y="1"/>
                  </a:cubicBezTo>
                  <a:cubicBezTo>
                    <a:pt x="134" y="0"/>
                    <a:pt x="133" y="20"/>
                    <a:pt x="133" y="20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31"/>
                    <a:pt x="119" y="31"/>
                    <a:pt x="119" y="31"/>
                  </a:cubicBezTo>
                  <a:cubicBezTo>
                    <a:pt x="119" y="31"/>
                    <a:pt x="107" y="54"/>
                    <a:pt x="92" y="54"/>
                  </a:cubicBezTo>
                  <a:cubicBezTo>
                    <a:pt x="77" y="54"/>
                    <a:pt x="86" y="46"/>
                    <a:pt x="78" y="45"/>
                  </a:cubicBezTo>
                  <a:cubicBezTo>
                    <a:pt x="70" y="44"/>
                    <a:pt x="65" y="59"/>
                    <a:pt x="65" y="59"/>
                  </a:cubicBezTo>
                  <a:cubicBezTo>
                    <a:pt x="65" y="59"/>
                    <a:pt x="60" y="58"/>
                    <a:pt x="45" y="58"/>
                  </a:cubicBezTo>
                  <a:cubicBezTo>
                    <a:pt x="30" y="58"/>
                    <a:pt x="44" y="85"/>
                    <a:pt x="44" y="85"/>
                  </a:cubicBezTo>
                  <a:cubicBezTo>
                    <a:pt x="35" y="87"/>
                    <a:pt x="35" y="87"/>
                    <a:pt x="35" y="87"/>
                  </a:cubicBezTo>
                  <a:cubicBezTo>
                    <a:pt x="35" y="87"/>
                    <a:pt x="39" y="96"/>
                    <a:pt x="33" y="98"/>
                  </a:cubicBezTo>
                  <a:cubicBezTo>
                    <a:pt x="27" y="100"/>
                    <a:pt x="19" y="102"/>
                    <a:pt x="19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32" y="136"/>
                    <a:pt x="32" y="136"/>
                    <a:pt x="32" y="136"/>
                  </a:cubicBezTo>
                  <a:cubicBezTo>
                    <a:pt x="32" y="136"/>
                    <a:pt x="40" y="167"/>
                    <a:pt x="50" y="175"/>
                  </a:cubicBezTo>
                  <a:cubicBezTo>
                    <a:pt x="59" y="182"/>
                    <a:pt x="77" y="196"/>
                    <a:pt x="80" y="199"/>
                  </a:cubicBezTo>
                  <a:cubicBezTo>
                    <a:pt x="83" y="198"/>
                    <a:pt x="89" y="197"/>
                    <a:pt x="92" y="198"/>
                  </a:cubicBezTo>
                  <a:cubicBezTo>
                    <a:pt x="92" y="197"/>
                    <a:pt x="92" y="197"/>
                    <a:pt x="92" y="197"/>
                  </a:cubicBezTo>
                  <a:cubicBezTo>
                    <a:pt x="89" y="195"/>
                    <a:pt x="78" y="191"/>
                    <a:pt x="81" y="187"/>
                  </a:cubicBezTo>
                  <a:cubicBezTo>
                    <a:pt x="84" y="183"/>
                    <a:pt x="99" y="188"/>
                    <a:pt x="95" y="181"/>
                  </a:cubicBezTo>
                  <a:cubicBezTo>
                    <a:pt x="91" y="175"/>
                    <a:pt x="90" y="175"/>
                    <a:pt x="90" y="175"/>
                  </a:cubicBezTo>
                  <a:cubicBezTo>
                    <a:pt x="90" y="175"/>
                    <a:pt x="79" y="179"/>
                    <a:pt x="79" y="177"/>
                  </a:cubicBezTo>
                  <a:cubicBezTo>
                    <a:pt x="78" y="175"/>
                    <a:pt x="72" y="147"/>
                    <a:pt x="79" y="149"/>
                  </a:cubicBezTo>
                  <a:cubicBezTo>
                    <a:pt x="86" y="151"/>
                    <a:pt x="119" y="177"/>
                    <a:pt x="123" y="185"/>
                  </a:cubicBezTo>
                  <a:cubicBezTo>
                    <a:pt x="126" y="189"/>
                    <a:pt x="127" y="197"/>
                    <a:pt x="128" y="204"/>
                  </a:cubicBezTo>
                  <a:cubicBezTo>
                    <a:pt x="129" y="204"/>
                    <a:pt x="131" y="204"/>
                    <a:pt x="132" y="204"/>
                  </a:cubicBezTo>
                  <a:cubicBezTo>
                    <a:pt x="145" y="205"/>
                    <a:pt x="150" y="211"/>
                    <a:pt x="150" y="211"/>
                  </a:cubicBezTo>
                  <a:cubicBezTo>
                    <a:pt x="150" y="211"/>
                    <a:pt x="150" y="223"/>
                    <a:pt x="162" y="223"/>
                  </a:cubicBezTo>
                  <a:cubicBezTo>
                    <a:pt x="168" y="223"/>
                    <a:pt x="176" y="222"/>
                    <a:pt x="183" y="220"/>
                  </a:cubicBezTo>
                  <a:cubicBezTo>
                    <a:pt x="180" y="218"/>
                    <a:pt x="170" y="205"/>
                    <a:pt x="170" y="192"/>
                  </a:cubicBezTo>
                  <a:cubicBezTo>
                    <a:pt x="170" y="177"/>
                    <a:pt x="182" y="181"/>
                    <a:pt x="182" y="172"/>
                  </a:cubicBezTo>
                  <a:cubicBezTo>
                    <a:pt x="182" y="163"/>
                    <a:pt x="177" y="151"/>
                    <a:pt x="177" y="151"/>
                  </a:cubicBezTo>
                  <a:cubicBezTo>
                    <a:pt x="181" y="119"/>
                    <a:pt x="181" y="119"/>
                    <a:pt x="181" y="119"/>
                  </a:cubicBezTo>
                  <a:cubicBezTo>
                    <a:pt x="191" y="131"/>
                    <a:pt x="191" y="131"/>
                    <a:pt x="191" y="131"/>
                  </a:cubicBezTo>
                  <a:cubicBezTo>
                    <a:pt x="194" y="74"/>
                    <a:pt x="194" y="74"/>
                    <a:pt x="194" y="74"/>
                  </a:cubicBezTo>
                  <a:cubicBezTo>
                    <a:pt x="194" y="74"/>
                    <a:pt x="200" y="53"/>
                    <a:pt x="209" y="44"/>
                  </a:cubicBezTo>
                  <a:cubicBezTo>
                    <a:pt x="218" y="35"/>
                    <a:pt x="220" y="20"/>
                    <a:pt x="218" y="15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56" name="Freeform 172"/>
            <p:cNvSpPr>
              <a:spLocks/>
            </p:cNvSpPr>
            <p:nvPr/>
          </p:nvSpPr>
          <p:spPr bwMode="auto">
            <a:xfrm>
              <a:off x="1130" y="2525"/>
              <a:ext cx="62" cy="58"/>
            </a:xfrm>
            <a:custGeom>
              <a:avLst/>
              <a:gdLst>
                <a:gd name="T0" fmla="*/ 0 w 162"/>
                <a:gd name="T1" fmla="*/ 0 h 152"/>
                <a:gd name="T2" fmla="*/ 0 w 162"/>
                <a:gd name="T3" fmla="*/ 0 h 152"/>
                <a:gd name="T4" fmla="*/ 0 w 162"/>
                <a:gd name="T5" fmla="*/ 0 h 152"/>
                <a:gd name="T6" fmla="*/ 0 w 162"/>
                <a:gd name="T7" fmla="*/ 0 h 152"/>
                <a:gd name="T8" fmla="*/ 0 w 162"/>
                <a:gd name="T9" fmla="*/ 0 h 152"/>
                <a:gd name="T10" fmla="*/ 0 w 162"/>
                <a:gd name="T11" fmla="*/ 0 h 152"/>
                <a:gd name="T12" fmla="*/ 0 w 162"/>
                <a:gd name="T13" fmla="*/ 0 h 152"/>
                <a:gd name="T14" fmla="*/ 0 w 162"/>
                <a:gd name="T15" fmla="*/ 0 h 152"/>
                <a:gd name="T16" fmla="*/ 0 w 162"/>
                <a:gd name="T17" fmla="*/ 0 h 152"/>
                <a:gd name="T18" fmla="*/ 0 w 162"/>
                <a:gd name="T19" fmla="*/ 0 h 152"/>
                <a:gd name="T20" fmla="*/ 0 w 162"/>
                <a:gd name="T21" fmla="*/ 0 h 152"/>
                <a:gd name="T22" fmla="*/ 0 w 162"/>
                <a:gd name="T23" fmla="*/ 0 h 152"/>
                <a:gd name="T24" fmla="*/ 0 w 162"/>
                <a:gd name="T25" fmla="*/ 0 h 152"/>
                <a:gd name="T26" fmla="*/ 0 w 162"/>
                <a:gd name="T27" fmla="*/ 0 h 152"/>
                <a:gd name="T28" fmla="*/ 0 w 162"/>
                <a:gd name="T29" fmla="*/ 0 h 152"/>
                <a:gd name="T30" fmla="*/ 0 w 162"/>
                <a:gd name="T31" fmla="*/ 0 h 152"/>
                <a:gd name="T32" fmla="*/ 0 w 162"/>
                <a:gd name="T33" fmla="*/ 0 h 152"/>
                <a:gd name="T34" fmla="*/ 0 w 162"/>
                <a:gd name="T35" fmla="*/ 0 h 152"/>
                <a:gd name="T36" fmla="*/ 0 w 162"/>
                <a:gd name="T37" fmla="*/ 0 h 152"/>
                <a:gd name="T38" fmla="*/ 0 w 162"/>
                <a:gd name="T39" fmla="*/ 0 h 152"/>
                <a:gd name="T40" fmla="*/ 0 w 162"/>
                <a:gd name="T41" fmla="*/ 0 h 152"/>
                <a:gd name="T42" fmla="*/ 0 w 162"/>
                <a:gd name="T43" fmla="*/ 0 h 152"/>
                <a:gd name="T44" fmla="*/ 0 w 162"/>
                <a:gd name="T45" fmla="*/ 0 h 152"/>
                <a:gd name="T46" fmla="*/ 0 w 162"/>
                <a:gd name="T47" fmla="*/ 0 h 152"/>
                <a:gd name="T48" fmla="*/ 0 w 162"/>
                <a:gd name="T49" fmla="*/ 0 h 152"/>
                <a:gd name="T50" fmla="*/ 0 w 162"/>
                <a:gd name="T51" fmla="*/ 0 h 152"/>
                <a:gd name="T52" fmla="*/ 0 w 162"/>
                <a:gd name="T53" fmla="*/ 0 h 152"/>
                <a:gd name="T54" fmla="*/ 0 w 162"/>
                <a:gd name="T55" fmla="*/ 0 h 152"/>
                <a:gd name="T56" fmla="*/ 0 w 162"/>
                <a:gd name="T57" fmla="*/ 0 h 152"/>
                <a:gd name="T58" fmla="*/ 0 w 162"/>
                <a:gd name="T59" fmla="*/ 0 h 152"/>
                <a:gd name="T60" fmla="*/ 0 w 162"/>
                <a:gd name="T61" fmla="*/ 0 h 152"/>
                <a:gd name="T62" fmla="*/ 0 w 162"/>
                <a:gd name="T63" fmla="*/ 0 h 152"/>
                <a:gd name="T64" fmla="*/ 0 w 162"/>
                <a:gd name="T65" fmla="*/ 0 h 152"/>
                <a:gd name="T66" fmla="*/ 0 w 162"/>
                <a:gd name="T67" fmla="*/ 0 h 15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62"/>
                <a:gd name="T103" fmla="*/ 0 h 152"/>
                <a:gd name="T104" fmla="*/ 162 w 162"/>
                <a:gd name="T105" fmla="*/ 152 h 15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62" h="152">
                  <a:moveTo>
                    <a:pt x="146" y="133"/>
                  </a:moveTo>
                  <a:cubicBezTo>
                    <a:pt x="146" y="133"/>
                    <a:pt x="159" y="127"/>
                    <a:pt x="159" y="122"/>
                  </a:cubicBezTo>
                  <a:cubicBezTo>
                    <a:pt x="159" y="117"/>
                    <a:pt x="145" y="115"/>
                    <a:pt x="145" y="115"/>
                  </a:cubicBezTo>
                  <a:cubicBezTo>
                    <a:pt x="145" y="115"/>
                    <a:pt x="135" y="96"/>
                    <a:pt x="145" y="93"/>
                  </a:cubicBezTo>
                  <a:cubicBezTo>
                    <a:pt x="151" y="91"/>
                    <a:pt x="158" y="88"/>
                    <a:pt x="162" y="87"/>
                  </a:cubicBezTo>
                  <a:cubicBezTo>
                    <a:pt x="154" y="82"/>
                    <a:pt x="143" y="75"/>
                    <a:pt x="140" y="66"/>
                  </a:cubicBezTo>
                  <a:cubicBezTo>
                    <a:pt x="136" y="53"/>
                    <a:pt x="124" y="39"/>
                    <a:pt x="124" y="39"/>
                  </a:cubicBezTo>
                  <a:cubicBezTo>
                    <a:pt x="122" y="24"/>
                    <a:pt x="122" y="24"/>
                    <a:pt x="122" y="24"/>
                  </a:cubicBezTo>
                  <a:cubicBezTo>
                    <a:pt x="122" y="24"/>
                    <a:pt x="122" y="24"/>
                    <a:pt x="122" y="23"/>
                  </a:cubicBezTo>
                  <a:cubicBezTo>
                    <a:pt x="122" y="23"/>
                    <a:pt x="122" y="23"/>
                    <a:pt x="122" y="23"/>
                  </a:cubicBezTo>
                  <a:cubicBezTo>
                    <a:pt x="115" y="25"/>
                    <a:pt x="107" y="26"/>
                    <a:pt x="101" y="26"/>
                  </a:cubicBezTo>
                  <a:cubicBezTo>
                    <a:pt x="89" y="26"/>
                    <a:pt x="89" y="14"/>
                    <a:pt x="89" y="14"/>
                  </a:cubicBezTo>
                  <a:cubicBezTo>
                    <a:pt x="89" y="14"/>
                    <a:pt x="84" y="8"/>
                    <a:pt x="71" y="7"/>
                  </a:cubicBezTo>
                  <a:cubicBezTo>
                    <a:pt x="58" y="6"/>
                    <a:pt x="59" y="12"/>
                    <a:pt x="59" y="12"/>
                  </a:cubicBezTo>
                  <a:cubicBezTo>
                    <a:pt x="59" y="12"/>
                    <a:pt x="39" y="3"/>
                    <a:pt x="33" y="1"/>
                  </a:cubicBezTo>
                  <a:cubicBezTo>
                    <a:pt x="29" y="0"/>
                    <a:pt x="23" y="1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26" y="28"/>
                    <a:pt x="20" y="32"/>
                  </a:cubicBezTo>
                  <a:cubicBezTo>
                    <a:pt x="14" y="36"/>
                    <a:pt x="0" y="46"/>
                    <a:pt x="9" y="60"/>
                  </a:cubicBezTo>
                  <a:cubicBezTo>
                    <a:pt x="18" y="74"/>
                    <a:pt x="33" y="72"/>
                    <a:pt x="33" y="72"/>
                  </a:cubicBezTo>
                  <a:cubicBezTo>
                    <a:pt x="33" y="72"/>
                    <a:pt x="50" y="92"/>
                    <a:pt x="53" y="85"/>
                  </a:cubicBezTo>
                  <a:cubicBezTo>
                    <a:pt x="56" y="78"/>
                    <a:pt x="51" y="67"/>
                    <a:pt x="51" y="67"/>
                  </a:cubicBezTo>
                  <a:cubicBezTo>
                    <a:pt x="51" y="67"/>
                    <a:pt x="24" y="49"/>
                    <a:pt x="33" y="49"/>
                  </a:cubicBezTo>
                  <a:cubicBezTo>
                    <a:pt x="42" y="49"/>
                    <a:pt x="67" y="70"/>
                    <a:pt x="67" y="70"/>
                  </a:cubicBezTo>
                  <a:cubicBezTo>
                    <a:pt x="67" y="70"/>
                    <a:pt x="64" y="89"/>
                    <a:pt x="68" y="89"/>
                  </a:cubicBezTo>
                  <a:cubicBezTo>
                    <a:pt x="72" y="89"/>
                    <a:pt x="95" y="94"/>
                    <a:pt x="95" y="94"/>
                  </a:cubicBezTo>
                  <a:cubicBezTo>
                    <a:pt x="108" y="121"/>
                    <a:pt x="108" y="121"/>
                    <a:pt x="108" y="121"/>
                  </a:cubicBezTo>
                  <a:cubicBezTo>
                    <a:pt x="108" y="121"/>
                    <a:pt x="99" y="129"/>
                    <a:pt x="108" y="138"/>
                  </a:cubicBezTo>
                  <a:cubicBezTo>
                    <a:pt x="117" y="147"/>
                    <a:pt x="131" y="150"/>
                    <a:pt x="131" y="150"/>
                  </a:cubicBezTo>
                  <a:cubicBezTo>
                    <a:pt x="122" y="133"/>
                    <a:pt x="122" y="133"/>
                    <a:pt x="122" y="133"/>
                  </a:cubicBezTo>
                  <a:cubicBezTo>
                    <a:pt x="141" y="152"/>
                    <a:pt x="141" y="152"/>
                    <a:pt x="141" y="152"/>
                  </a:cubicBezTo>
                  <a:cubicBezTo>
                    <a:pt x="145" y="147"/>
                    <a:pt x="145" y="147"/>
                    <a:pt x="145" y="147"/>
                  </a:cubicBezTo>
                  <a:lnTo>
                    <a:pt x="146" y="133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57" name="Freeform 173"/>
            <p:cNvSpPr>
              <a:spLocks/>
            </p:cNvSpPr>
            <p:nvPr/>
          </p:nvSpPr>
          <p:spPr bwMode="auto">
            <a:xfrm>
              <a:off x="2988" y="1866"/>
              <a:ext cx="31" cy="34"/>
            </a:xfrm>
            <a:custGeom>
              <a:avLst/>
              <a:gdLst>
                <a:gd name="T0" fmla="*/ 0 w 80"/>
                <a:gd name="T1" fmla="*/ 0 h 90"/>
                <a:gd name="T2" fmla="*/ 0 w 80"/>
                <a:gd name="T3" fmla="*/ 0 h 90"/>
                <a:gd name="T4" fmla="*/ 0 w 80"/>
                <a:gd name="T5" fmla="*/ 0 h 90"/>
                <a:gd name="T6" fmla="*/ 0 w 80"/>
                <a:gd name="T7" fmla="*/ 0 h 90"/>
                <a:gd name="T8" fmla="*/ 0 w 80"/>
                <a:gd name="T9" fmla="*/ 0 h 90"/>
                <a:gd name="T10" fmla="*/ 0 w 80"/>
                <a:gd name="T11" fmla="*/ 0 h 90"/>
                <a:gd name="T12" fmla="*/ 0 w 80"/>
                <a:gd name="T13" fmla="*/ 0 h 90"/>
                <a:gd name="T14" fmla="*/ 0 w 80"/>
                <a:gd name="T15" fmla="*/ 0 h 90"/>
                <a:gd name="T16" fmla="*/ 0 w 80"/>
                <a:gd name="T17" fmla="*/ 0 h 90"/>
                <a:gd name="T18" fmla="*/ 0 w 80"/>
                <a:gd name="T19" fmla="*/ 0 h 90"/>
                <a:gd name="T20" fmla="*/ 0 w 80"/>
                <a:gd name="T21" fmla="*/ 0 h 90"/>
                <a:gd name="T22" fmla="*/ 0 w 80"/>
                <a:gd name="T23" fmla="*/ 0 h 90"/>
                <a:gd name="T24" fmla="*/ 0 w 80"/>
                <a:gd name="T25" fmla="*/ 0 h 90"/>
                <a:gd name="T26" fmla="*/ 0 w 80"/>
                <a:gd name="T27" fmla="*/ 0 h 90"/>
                <a:gd name="T28" fmla="*/ 0 w 80"/>
                <a:gd name="T29" fmla="*/ 0 h 90"/>
                <a:gd name="T30" fmla="*/ 0 w 80"/>
                <a:gd name="T31" fmla="*/ 0 h 90"/>
                <a:gd name="T32" fmla="*/ 0 w 80"/>
                <a:gd name="T33" fmla="*/ 0 h 90"/>
                <a:gd name="T34" fmla="*/ 0 w 80"/>
                <a:gd name="T35" fmla="*/ 0 h 90"/>
                <a:gd name="T36" fmla="*/ 0 w 80"/>
                <a:gd name="T37" fmla="*/ 0 h 90"/>
                <a:gd name="T38" fmla="*/ 0 w 80"/>
                <a:gd name="T39" fmla="*/ 0 h 90"/>
                <a:gd name="T40" fmla="*/ 0 w 80"/>
                <a:gd name="T41" fmla="*/ 0 h 90"/>
                <a:gd name="T42" fmla="*/ 0 w 80"/>
                <a:gd name="T43" fmla="*/ 0 h 90"/>
                <a:gd name="T44" fmla="*/ 0 w 80"/>
                <a:gd name="T45" fmla="*/ 0 h 90"/>
                <a:gd name="T46" fmla="*/ 0 w 80"/>
                <a:gd name="T47" fmla="*/ 0 h 90"/>
                <a:gd name="T48" fmla="*/ 0 w 80"/>
                <a:gd name="T49" fmla="*/ 0 h 90"/>
                <a:gd name="T50" fmla="*/ 0 w 80"/>
                <a:gd name="T51" fmla="*/ 0 h 90"/>
                <a:gd name="T52" fmla="*/ 0 w 80"/>
                <a:gd name="T53" fmla="*/ 0 h 90"/>
                <a:gd name="T54" fmla="*/ 0 w 80"/>
                <a:gd name="T55" fmla="*/ 0 h 9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0"/>
                <a:gd name="T85" fmla="*/ 0 h 90"/>
                <a:gd name="T86" fmla="*/ 80 w 80"/>
                <a:gd name="T87" fmla="*/ 90 h 9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0" h="90">
                  <a:moveTo>
                    <a:pt x="79" y="27"/>
                  </a:moveTo>
                  <a:cubicBezTo>
                    <a:pt x="73" y="31"/>
                    <a:pt x="73" y="31"/>
                    <a:pt x="73" y="31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9" y="2"/>
                    <a:pt x="29" y="0"/>
                    <a:pt x="29" y="0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5"/>
                    <a:pt x="21" y="10"/>
                    <a:pt x="18" y="14"/>
                  </a:cubicBezTo>
                  <a:cubicBezTo>
                    <a:pt x="15" y="18"/>
                    <a:pt x="9" y="29"/>
                    <a:pt x="9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0" y="36"/>
                    <a:pt x="3" y="39"/>
                  </a:cubicBezTo>
                  <a:cubicBezTo>
                    <a:pt x="6" y="42"/>
                    <a:pt x="17" y="48"/>
                    <a:pt x="17" y="48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5" y="65"/>
                    <a:pt x="6" y="65"/>
                    <a:pt x="6" y="65"/>
                  </a:cubicBezTo>
                  <a:cubicBezTo>
                    <a:pt x="13" y="67"/>
                    <a:pt x="24" y="62"/>
                    <a:pt x="24" y="62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80" y="56"/>
                    <a:pt x="80" y="56"/>
                    <a:pt x="80" y="56"/>
                  </a:cubicBezTo>
                  <a:lnTo>
                    <a:pt x="79" y="27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58" name="Freeform 174"/>
            <p:cNvSpPr>
              <a:spLocks noEditPoints="1"/>
            </p:cNvSpPr>
            <p:nvPr/>
          </p:nvSpPr>
          <p:spPr bwMode="auto">
            <a:xfrm>
              <a:off x="2994" y="1812"/>
              <a:ext cx="70" cy="88"/>
            </a:xfrm>
            <a:custGeom>
              <a:avLst/>
              <a:gdLst>
                <a:gd name="T0" fmla="*/ 0 w 185"/>
                <a:gd name="T1" fmla="*/ 0 h 233"/>
                <a:gd name="T2" fmla="*/ 0 w 185"/>
                <a:gd name="T3" fmla="*/ 0 h 233"/>
                <a:gd name="T4" fmla="*/ 0 w 185"/>
                <a:gd name="T5" fmla="*/ 0 h 233"/>
                <a:gd name="T6" fmla="*/ 0 w 185"/>
                <a:gd name="T7" fmla="*/ 0 h 233"/>
                <a:gd name="T8" fmla="*/ 0 w 185"/>
                <a:gd name="T9" fmla="*/ 0 h 233"/>
                <a:gd name="T10" fmla="*/ 0 w 185"/>
                <a:gd name="T11" fmla="*/ 0 h 233"/>
                <a:gd name="T12" fmla="*/ 0 w 185"/>
                <a:gd name="T13" fmla="*/ 0 h 233"/>
                <a:gd name="T14" fmla="*/ 0 w 185"/>
                <a:gd name="T15" fmla="*/ 0 h 233"/>
                <a:gd name="T16" fmla="*/ 0 w 185"/>
                <a:gd name="T17" fmla="*/ 0 h 233"/>
                <a:gd name="T18" fmla="*/ 0 w 185"/>
                <a:gd name="T19" fmla="*/ 0 h 233"/>
                <a:gd name="T20" fmla="*/ 0 w 185"/>
                <a:gd name="T21" fmla="*/ 0 h 233"/>
                <a:gd name="T22" fmla="*/ 0 w 185"/>
                <a:gd name="T23" fmla="*/ 0 h 233"/>
                <a:gd name="T24" fmla="*/ 0 w 185"/>
                <a:gd name="T25" fmla="*/ 0 h 233"/>
                <a:gd name="T26" fmla="*/ 0 w 185"/>
                <a:gd name="T27" fmla="*/ 0 h 233"/>
                <a:gd name="T28" fmla="*/ 0 w 185"/>
                <a:gd name="T29" fmla="*/ 0 h 233"/>
                <a:gd name="T30" fmla="*/ 0 w 185"/>
                <a:gd name="T31" fmla="*/ 0 h 233"/>
                <a:gd name="T32" fmla="*/ 0 w 185"/>
                <a:gd name="T33" fmla="*/ 0 h 233"/>
                <a:gd name="T34" fmla="*/ 0 w 185"/>
                <a:gd name="T35" fmla="*/ 0 h 233"/>
                <a:gd name="T36" fmla="*/ 0 w 185"/>
                <a:gd name="T37" fmla="*/ 0 h 233"/>
                <a:gd name="T38" fmla="*/ 0 w 185"/>
                <a:gd name="T39" fmla="*/ 0 h 233"/>
                <a:gd name="T40" fmla="*/ 0 w 185"/>
                <a:gd name="T41" fmla="*/ 0 h 233"/>
                <a:gd name="T42" fmla="*/ 0 w 185"/>
                <a:gd name="T43" fmla="*/ 0 h 233"/>
                <a:gd name="T44" fmla="*/ 0 w 185"/>
                <a:gd name="T45" fmla="*/ 0 h 233"/>
                <a:gd name="T46" fmla="*/ 0 w 185"/>
                <a:gd name="T47" fmla="*/ 0 h 233"/>
                <a:gd name="T48" fmla="*/ 0 w 185"/>
                <a:gd name="T49" fmla="*/ 0 h 233"/>
                <a:gd name="T50" fmla="*/ 0 w 185"/>
                <a:gd name="T51" fmla="*/ 0 h 233"/>
                <a:gd name="T52" fmla="*/ 0 w 185"/>
                <a:gd name="T53" fmla="*/ 0 h 233"/>
                <a:gd name="T54" fmla="*/ 0 w 185"/>
                <a:gd name="T55" fmla="*/ 0 h 233"/>
                <a:gd name="T56" fmla="*/ 0 w 185"/>
                <a:gd name="T57" fmla="*/ 0 h 233"/>
                <a:gd name="T58" fmla="*/ 0 w 185"/>
                <a:gd name="T59" fmla="*/ 0 h 233"/>
                <a:gd name="T60" fmla="*/ 0 w 185"/>
                <a:gd name="T61" fmla="*/ 0 h 233"/>
                <a:gd name="T62" fmla="*/ 0 w 185"/>
                <a:gd name="T63" fmla="*/ 0 h 233"/>
                <a:gd name="T64" fmla="*/ 0 w 185"/>
                <a:gd name="T65" fmla="*/ 0 h 233"/>
                <a:gd name="T66" fmla="*/ 0 w 185"/>
                <a:gd name="T67" fmla="*/ 0 h 233"/>
                <a:gd name="T68" fmla="*/ 0 w 185"/>
                <a:gd name="T69" fmla="*/ 0 h 233"/>
                <a:gd name="T70" fmla="*/ 0 w 185"/>
                <a:gd name="T71" fmla="*/ 0 h 2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85"/>
                <a:gd name="T109" fmla="*/ 0 h 233"/>
                <a:gd name="T110" fmla="*/ 185 w 185"/>
                <a:gd name="T111" fmla="*/ 233 h 2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85" h="233">
                  <a:moveTo>
                    <a:pt x="180" y="159"/>
                  </a:moveTo>
                  <a:cubicBezTo>
                    <a:pt x="167" y="152"/>
                    <a:pt x="167" y="152"/>
                    <a:pt x="167" y="152"/>
                  </a:cubicBezTo>
                  <a:cubicBezTo>
                    <a:pt x="169" y="145"/>
                    <a:pt x="169" y="145"/>
                    <a:pt x="169" y="145"/>
                  </a:cubicBezTo>
                  <a:cubicBezTo>
                    <a:pt x="160" y="140"/>
                    <a:pt x="160" y="140"/>
                    <a:pt x="160" y="140"/>
                  </a:cubicBezTo>
                  <a:cubicBezTo>
                    <a:pt x="157" y="128"/>
                    <a:pt x="157" y="128"/>
                    <a:pt x="157" y="128"/>
                  </a:cubicBezTo>
                  <a:cubicBezTo>
                    <a:pt x="166" y="120"/>
                    <a:pt x="166" y="120"/>
                    <a:pt x="166" y="120"/>
                  </a:cubicBezTo>
                  <a:cubicBezTo>
                    <a:pt x="168" y="106"/>
                    <a:pt x="168" y="106"/>
                    <a:pt x="168" y="106"/>
                  </a:cubicBezTo>
                  <a:cubicBezTo>
                    <a:pt x="161" y="102"/>
                    <a:pt x="161" y="102"/>
                    <a:pt x="161" y="102"/>
                  </a:cubicBezTo>
                  <a:cubicBezTo>
                    <a:pt x="168" y="94"/>
                    <a:pt x="168" y="94"/>
                    <a:pt x="168" y="94"/>
                  </a:cubicBezTo>
                  <a:cubicBezTo>
                    <a:pt x="171" y="88"/>
                    <a:pt x="171" y="88"/>
                    <a:pt x="171" y="88"/>
                  </a:cubicBezTo>
                  <a:cubicBezTo>
                    <a:pt x="155" y="84"/>
                    <a:pt x="155" y="84"/>
                    <a:pt x="155" y="84"/>
                  </a:cubicBezTo>
                  <a:cubicBezTo>
                    <a:pt x="139" y="91"/>
                    <a:pt x="139" y="91"/>
                    <a:pt x="139" y="91"/>
                  </a:cubicBezTo>
                  <a:cubicBezTo>
                    <a:pt x="133" y="84"/>
                    <a:pt x="133" y="84"/>
                    <a:pt x="133" y="84"/>
                  </a:cubicBezTo>
                  <a:cubicBezTo>
                    <a:pt x="117" y="82"/>
                    <a:pt x="117" y="82"/>
                    <a:pt x="117" y="82"/>
                  </a:cubicBezTo>
                  <a:cubicBezTo>
                    <a:pt x="112" y="71"/>
                    <a:pt x="112" y="71"/>
                    <a:pt x="112" y="71"/>
                  </a:cubicBezTo>
                  <a:cubicBezTo>
                    <a:pt x="112" y="71"/>
                    <a:pt x="117" y="62"/>
                    <a:pt x="115" y="56"/>
                  </a:cubicBezTo>
                  <a:cubicBezTo>
                    <a:pt x="113" y="50"/>
                    <a:pt x="101" y="49"/>
                    <a:pt x="99" y="54"/>
                  </a:cubicBezTo>
                  <a:cubicBezTo>
                    <a:pt x="97" y="59"/>
                    <a:pt x="91" y="48"/>
                    <a:pt x="91" y="48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33" y="0"/>
                    <a:pt x="30" y="6"/>
                  </a:cubicBezTo>
                  <a:cubicBezTo>
                    <a:pt x="27" y="12"/>
                    <a:pt x="18" y="17"/>
                    <a:pt x="18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24" y="56"/>
                    <a:pt x="25" y="59"/>
                  </a:cubicBezTo>
                  <a:cubicBezTo>
                    <a:pt x="26" y="62"/>
                    <a:pt x="12" y="65"/>
                    <a:pt x="12" y="65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7"/>
                    <a:pt x="27" y="71"/>
                    <a:pt x="27" y="76"/>
                  </a:cubicBezTo>
                  <a:cubicBezTo>
                    <a:pt x="27" y="81"/>
                    <a:pt x="15" y="95"/>
                    <a:pt x="15" y="95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9" y="103"/>
                    <a:pt x="26" y="105"/>
                  </a:cubicBezTo>
                  <a:cubicBezTo>
                    <a:pt x="33" y="107"/>
                    <a:pt x="37" y="118"/>
                    <a:pt x="37" y="118"/>
                  </a:cubicBezTo>
                  <a:cubicBezTo>
                    <a:pt x="23" y="120"/>
                    <a:pt x="23" y="120"/>
                    <a:pt x="23" y="120"/>
                  </a:cubicBezTo>
                  <a:cubicBezTo>
                    <a:pt x="23" y="120"/>
                    <a:pt x="37" y="133"/>
                    <a:pt x="35" y="140"/>
                  </a:cubicBezTo>
                  <a:cubicBezTo>
                    <a:pt x="34" y="142"/>
                    <a:pt x="33" y="143"/>
                    <a:pt x="31" y="143"/>
                  </a:cubicBezTo>
                  <a:cubicBezTo>
                    <a:pt x="41" y="153"/>
                    <a:pt x="41" y="153"/>
                    <a:pt x="41" y="153"/>
                  </a:cubicBezTo>
                  <a:cubicBezTo>
                    <a:pt x="50" y="160"/>
                    <a:pt x="50" y="160"/>
                    <a:pt x="50" y="160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64" y="170"/>
                    <a:pt x="64" y="170"/>
                    <a:pt x="64" y="170"/>
                  </a:cubicBezTo>
                  <a:cubicBezTo>
                    <a:pt x="65" y="199"/>
                    <a:pt x="65" y="199"/>
                    <a:pt x="65" y="199"/>
                  </a:cubicBezTo>
                  <a:cubicBezTo>
                    <a:pt x="63" y="196"/>
                    <a:pt x="63" y="196"/>
                    <a:pt x="63" y="196"/>
                  </a:cubicBezTo>
                  <a:cubicBezTo>
                    <a:pt x="71" y="211"/>
                    <a:pt x="71" y="211"/>
                    <a:pt x="71" y="211"/>
                  </a:cubicBezTo>
                  <a:cubicBezTo>
                    <a:pt x="80" y="211"/>
                    <a:pt x="80" y="211"/>
                    <a:pt x="80" y="21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4" y="233"/>
                    <a:pt x="84" y="233"/>
                    <a:pt x="84" y="233"/>
                  </a:cubicBezTo>
                  <a:cubicBezTo>
                    <a:pt x="95" y="229"/>
                    <a:pt x="95" y="229"/>
                    <a:pt x="95" y="229"/>
                  </a:cubicBezTo>
                  <a:cubicBezTo>
                    <a:pt x="100" y="221"/>
                    <a:pt x="100" y="221"/>
                    <a:pt x="100" y="221"/>
                  </a:cubicBezTo>
                  <a:cubicBezTo>
                    <a:pt x="100" y="221"/>
                    <a:pt x="105" y="221"/>
                    <a:pt x="112" y="221"/>
                  </a:cubicBezTo>
                  <a:cubicBezTo>
                    <a:pt x="119" y="221"/>
                    <a:pt x="115" y="213"/>
                    <a:pt x="115" y="213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32" y="209"/>
                    <a:pt x="132" y="209"/>
                    <a:pt x="132" y="209"/>
                  </a:cubicBezTo>
                  <a:cubicBezTo>
                    <a:pt x="158" y="207"/>
                    <a:pt x="158" y="207"/>
                    <a:pt x="158" y="207"/>
                  </a:cubicBezTo>
                  <a:cubicBezTo>
                    <a:pt x="158" y="207"/>
                    <a:pt x="166" y="206"/>
                    <a:pt x="167" y="203"/>
                  </a:cubicBezTo>
                  <a:cubicBezTo>
                    <a:pt x="168" y="200"/>
                    <a:pt x="165" y="192"/>
                    <a:pt x="165" y="192"/>
                  </a:cubicBezTo>
                  <a:cubicBezTo>
                    <a:pt x="165" y="192"/>
                    <a:pt x="162" y="185"/>
                    <a:pt x="164" y="181"/>
                  </a:cubicBezTo>
                  <a:cubicBezTo>
                    <a:pt x="166" y="177"/>
                    <a:pt x="177" y="180"/>
                    <a:pt x="177" y="180"/>
                  </a:cubicBezTo>
                  <a:cubicBezTo>
                    <a:pt x="177" y="180"/>
                    <a:pt x="181" y="173"/>
                    <a:pt x="183" y="169"/>
                  </a:cubicBezTo>
                  <a:cubicBezTo>
                    <a:pt x="185" y="165"/>
                    <a:pt x="180" y="159"/>
                    <a:pt x="180" y="159"/>
                  </a:cubicBezTo>
                  <a:close/>
                  <a:moveTo>
                    <a:pt x="24" y="144"/>
                  </a:moveTo>
                  <a:cubicBezTo>
                    <a:pt x="25" y="144"/>
                    <a:pt x="26" y="144"/>
                    <a:pt x="27" y="144"/>
                  </a:cubicBezTo>
                  <a:cubicBezTo>
                    <a:pt x="26" y="144"/>
                    <a:pt x="25" y="144"/>
                    <a:pt x="24" y="144"/>
                  </a:cubicBezTo>
                  <a:close/>
                  <a:moveTo>
                    <a:pt x="24" y="144"/>
                  </a:moveTo>
                  <a:cubicBezTo>
                    <a:pt x="22" y="144"/>
                    <a:pt x="19" y="144"/>
                    <a:pt x="18" y="143"/>
                  </a:cubicBezTo>
                  <a:cubicBezTo>
                    <a:pt x="19" y="144"/>
                    <a:pt x="22" y="144"/>
                    <a:pt x="24" y="144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59" name="Freeform 175"/>
            <p:cNvSpPr>
              <a:spLocks noEditPoints="1"/>
            </p:cNvSpPr>
            <p:nvPr/>
          </p:nvSpPr>
          <p:spPr bwMode="auto">
            <a:xfrm>
              <a:off x="114" y="1345"/>
              <a:ext cx="777" cy="336"/>
            </a:xfrm>
            <a:custGeom>
              <a:avLst/>
              <a:gdLst>
                <a:gd name="T0" fmla="*/ 0 w 2049"/>
                <a:gd name="T1" fmla="*/ 0 h 886"/>
                <a:gd name="T2" fmla="*/ 0 w 2049"/>
                <a:gd name="T3" fmla="*/ 0 h 886"/>
                <a:gd name="T4" fmla="*/ 0 w 2049"/>
                <a:gd name="T5" fmla="*/ 0 h 886"/>
                <a:gd name="T6" fmla="*/ 0 w 2049"/>
                <a:gd name="T7" fmla="*/ 0 h 886"/>
                <a:gd name="T8" fmla="*/ 0 w 2049"/>
                <a:gd name="T9" fmla="*/ 0 h 886"/>
                <a:gd name="T10" fmla="*/ 0 w 2049"/>
                <a:gd name="T11" fmla="*/ 0 h 886"/>
                <a:gd name="T12" fmla="*/ 0 w 2049"/>
                <a:gd name="T13" fmla="*/ 0 h 886"/>
                <a:gd name="T14" fmla="*/ 0 w 2049"/>
                <a:gd name="T15" fmla="*/ 0 h 886"/>
                <a:gd name="T16" fmla="*/ 0 w 2049"/>
                <a:gd name="T17" fmla="*/ 0 h 886"/>
                <a:gd name="T18" fmla="*/ 0 w 2049"/>
                <a:gd name="T19" fmla="*/ 0 h 886"/>
                <a:gd name="T20" fmla="*/ 0 w 2049"/>
                <a:gd name="T21" fmla="*/ 0 h 886"/>
                <a:gd name="T22" fmla="*/ 0 w 2049"/>
                <a:gd name="T23" fmla="*/ 0 h 886"/>
                <a:gd name="T24" fmla="*/ 0 w 2049"/>
                <a:gd name="T25" fmla="*/ 0 h 886"/>
                <a:gd name="T26" fmla="*/ 0 w 2049"/>
                <a:gd name="T27" fmla="*/ 0 h 886"/>
                <a:gd name="T28" fmla="*/ 0 w 2049"/>
                <a:gd name="T29" fmla="*/ 0 h 886"/>
                <a:gd name="T30" fmla="*/ 0 w 2049"/>
                <a:gd name="T31" fmla="*/ 0 h 886"/>
                <a:gd name="T32" fmla="*/ 0 w 2049"/>
                <a:gd name="T33" fmla="*/ 0 h 886"/>
                <a:gd name="T34" fmla="*/ 0 w 2049"/>
                <a:gd name="T35" fmla="*/ 0 h 886"/>
                <a:gd name="T36" fmla="*/ 0 w 2049"/>
                <a:gd name="T37" fmla="*/ 0 h 886"/>
                <a:gd name="T38" fmla="*/ 0 w 2049"/>
                <a:gd name="T39" fmla="*/ 0 h 886"/>
                <a:gd name="T40" fmla="*/ 0 w 2049"/>
                <a:gd name="T41" fmla="*/ 0 h 886"/>
                <a:gd name="T42" fmla="*/ 0 w 2049"/>
                <a:gd name="T43" fmla="*/ 0 h 886"/>
                <a:gd name="T44" fmla="*/ 0 w 2049"/>
                <a:gd name="T45" fmla="*/ 0 h 886"/>
                <a:gd name="T46" fmla="*/ 0 w 2049"/>
                <a:gd name="T47" fmla="*/ 0 h 886"/>
                <a:gd name="T48" fmla="*/ 0 w 2049"/>
                <a:gd name="T49" fmla="*/ 0 h 886"/>
                <a:gd name="T50" fmla="*/ 0 w 2049"/>
                <a:gd name="T51" fmla="*/ 0 h 886"/>
                <a:gd name="T52" fmla="*/ 0 w 2049"/>
                <a:gd name="T53" fmla="*/ 0 h 886"/>
                <a:gd name="T54" fmla="*/ 0 w 2049"/>
                <a:gd name="T55" fmla="*/ 0 h 886"/>
                <a:gd name="T56" fmla="*/ 0 w 2049"/>
                <a:gd name="T57" fmla="*/ 0 h 886"/>
                <a:gd name="T58" fmla="*/ 0 w 2049"/>
                <a:gd name="T59" fmla="*/ 0 h 886"/>
                <a:gd name="T60" fmla="*/ 0 w 2049"/>
                <a:gd name="T61" fmla="*/ 0 h 886"/>
                <a:gd name="T62" fmla="*/ 0 w 2049"/>
                <a:gd name="T63" fmla="*/ 0 h 886"/>
                <a:gd name="T64" fmla="*/ 0 w 2049"/>
                <a:gd name="T65" fmla="*/ 0 h 886"/>
                <a:gd name="T66" fmla="*/ 0 w 2049"/>
                <a:gd name="T67" fmla="*/ 0 h 886"/>
                <a:gd name="T68" fmla="*/ 0 w 2049"/>
                <a:gd name="T69" fmla="*/ 0 h 886"/>
                <a:gd name="T70" fmla="*/ 0 w 2049"/>
                <a:gd name="T71" fmla="*/ 0 h 886"/>
                <a:gd name="T72" fmla="*/ 0 w 2049"/>
                <a:gd name="T73" fmla="*/ 0 h 886"/>
                <a:gd name="T74" fmla="*/ 0 w 2049"/>
                <a:gd name="T75" fmla="*/ 0 h 886"/>
                <a:gd name="T76" fmla="*/ 0 w 2049"/>
                <a:gd name="T77" fmla="*/ 0 h 886"/>
                <a:gd name="T78" fmla="*/ 0 w 2049"/>
                <a:gd name="T79" fmla="*/ 0 h 886"/>
                <a:gd name="T80" fmla="*/ 0 w 2049"/>
                <a:gd name="T81" fmla="*/ 0 h 886"/>
                <a:gd name="T82" fmla="*/ 0 w 2049"/>
                <a:gd name="T83" fmla="*/ 0 h 886"/>
                <a:gd name="T84" fmla="*/ 0 w 2049"/>
                <a:gd name="T85" fmla="*/ 0 h 886"/>
                <a:gd name="T86" fmla="*/ 0 w 2049"/>
                <a:gd name="T87" fmla="*/ 0 h 886"/>
                <a:gd name="T88" fmla="*/ 0 w 2049"/>
                <a:gd name="T89" fmla="*/ 0 h 886"/>
                <a:gd name="T90" fmla="*/ 0 w 2049"/>
                <a:gd name="T91" fmla="*/ 0 h 886"/>
                <a:gd name="T92" fmla="*/ 0 w 2049"/>
                <a:gd name="T93" fmla="*/ 0 h 886"/>
                <a:gd name="T94" fmla="*/ 0 w 2049"/>
                <a:gd name="T95" fmla="*/ 0 h 886"/>
                <a:gd name="T96" fmla="*/ 0 w 2049"/>
                <a:gd name="T97" fmla="*/ 0 h 886"/>
                <a:gd name="T98" fmla="*/ 0 w 2049"/>
                <a:gd name="T99" fmla="*/ 0 h 886"/>
                <a:gd name="T100" fmla="*/ 0 w 2049"/>
                <a:gd name="T101" fmla="*/ 0 h 886"/>
                <a:gd name="T102" fmla="*/ 0 w 2049"/>
                <a:gd name="T103" fmla="*/ 0 h 886"/>
                <a:gd name="T104" fmla="*/ 0 w 2049"/>
                <a:gd name="T105" fmla="*/ 0 h 886"/>
                <a:gd name="T106" fmla="*/ 0 w 2049"/>
                <a:gd name="T107" fmla="*/ 0 h 886"/>
                <a:gd name="T108" fmla="*/ 0 w 2049"/>
                <a:gd name="T109" fmla="*/ 0 h 886"/>
                <a:gd name="T110" fmla="*/ 0 w 2049"/>
                <a:gd name="T111" fmla="*/ 0 h 886"/>
                <a:gd name="T112" fmla="*/ 0 w 2049"/>
                <a:gd name="T113" fmla="*/ 0 h 88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049"/>
                <a:gd name="T172" fmla="*/ 0 h 886"/>
                <a:gd name="T173" fmla="*/ 2049 w 2049"/>
                <a:gd name="T174" fmla="*/ 886 h 88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049" h="886">
                  <a:moveTo>
                    <a:pt x="1636" y="622"/>
                  </a:moveTo>
                  <a:cubicBezTo>
                    <a:pt x="1628" y="629"/>
                    <a:pt x="1614" y="645"/>
                    <a:pt x="1614" y="645"/>
                  </a:cubicBezTo>
                  <a:cubicBezTo>
                    <a:pt x="1602" y="669"/>
                    <a:pt x="1602" y="669"/>
                    <a:pt x="1602" y="669"/>
                  </a:cubicBezTo>
                  <a:cubicBezTo>
                    <a:pt x="1602" y="669"/>
                    <a:pt x="1623" y="665"/>
                    <a:pt x="1633" y="656"/>
                  </a:cubicBezTo>
                  <a:cubicBezTo>
                    <a:pt x="1643" y="647"/>
                    <a:pt x="1640" y="638"/>
                    <a:pt x="1640" y="638"/>
                  </a:cubicBezTo>
                  <a:cubicBezTo>
                    <a:pt x="1650" y="628"/>
                    <a:pt x="1650" y="628"/>
                    <a:pt x="1650" y="628"/>
                  </a:cubicBezTo>
                  <a:cubicBezTo>
                    <a:pt x="1650" y="628"/>
                    <a:pt x="1644" y="615"/>
                    <a:pt x="1636" y="622"/>
                  </a:cubicBezTo>
                  <a:close/>
                  <a:moveTo>
                    <a:pt x="1600" y="619"/>
                  </a:moveTo>
                  <a:cubicBezTo>
                    <a:pt x="1600" y="619"/>
                    <a:pt x="1575" y="626"/>
                    <a:pt x="1576" y="633"/>
                  </a:cubicBezTo>
                  <a:cubicBezTo>
                    <a:pt x="1577" y="640"/>
                    <a:pt x="1586" y="650"/>
                    <a:pt x="1586" y="650"/>
                  </a:cubicBezTo>
                  <a:cubicBezTo>
                    <a:pt x="1597" y="654"/>
                    <a:pt x="1614" y="646"/>
                    <a:pt x="1614" y="636"/>
                  </a:cubicBezTo>
                  <a:cubicBezTo>
                    <a:pt x="1614" y="626"/>
                    <a:pt x="1600" y="619"/>
                    <a:pt x="1600" y="619"/>
                  </a:cubicBezTo>
                  <a:close/>
                  <a:moveTo>
                    <a:pt x="1544" y="792"/>
                  </a:moveTo>
                  <a:cubicBezTo>
                    <a:pt x="1553" y="793"/>
                    <a:pt x="1553" y="793"/>
                    <a:pt x="1553" y="793"/>
                  </a:cubicBezTo>
                  <a:cubicBezTo>
                    <a:pt x="1559" y="768"/>
                    <a:pt x="1559" y="768"/>
                    <a:pt x="1559" y="768"/>
                  </a:cubicBezTo>
                  <a:cubicBezTo>
                    <a:pt x="1548" y="773"/>
                    <a:pt x="1548" y="773"/>
                    <a:pt x="1548" y="773"/>
                  </a:cubicBezTo>
                  <a:lnTo>
                    <a:pt x="1544" y="792"/>
                  </a:lnTo>
                  <a:close/>
                  <a:moveTo>
                    <a:pt x="1594" y="717"/>
                  </a:moveTo>
                  <a:cubicBezTo>
                    <a:pt x="1581" y="726"/>
                    <a:pt x="1581" y="726"/>
                    <a:pt x="1581" y="726"/>
                  </a:cubicBezTo>
                  <a:cubicBezTo>
                    <a:pt x="1581" y="726"/>
                    <a:pt x="1587" y="732"/>
                    <a:pt x="1591" y="733"/>
                  </a:cubicBezTo>
                  <a:cubicBezTo>
                    <a:pt x="1595" y="734"/>
                    <a:pt x="1577" y="743"/>
                    <a:pt x="1573" y="745"/>
                  </a:cubicBezTo>
                  <a:cubicBezTo>
                    <a:pt x="1569" y="747"/>
                    <a:pt x="1563" y="758"/>
                    <a:pt x="1568" y="767"/>
                  </a:cubicBezTo>
                  <a:cubicBezTo>
                    <a:pt x="1573" y="776"/>
                    <a:pt x="1572" y="794"/>
                    <a:pt x="1572" y="794"/>
                  </a:cubicBezTo>
                  <a:cubicBezTo>
                    <a:pt x="1572" y="794"/>
                    <a:pt x="1586" y="786"/>
                    <a:pt x="1594" y="777"/>
                  </a:cubicBezTo>
                  <a:cubicBezTo>
                    <a:pt x="1602" y="768"/>
                    <a:pt x="1590" y="756"/>
                    <a:pt x="1590" y="756"/>
                  </a:cubicBezTo>
                  <a:cubicBezTo>
                    <a:pt x="1590" y="756"/>
                    <a:pt x="1600" y="755"/>
                    <a:pt x="1609" y="745"/>
                  </a:cubicBezTo>
                  <a:cubicBezTo>
                    <a:pt x="1618" y="735"/>
                    <a:pt x="1594" y="717"/>
                    <a:pt x="1594" y="717"/>
                  </a:cubicBezTo>
                  <a:close/>
                  <a:moveTo>
                    <a:pt x="1707" y="721"/>
                  </a:moveTo>
                  <a:cubicBezTo>
                    <a:pt x="1707" y="721"/>
                    <a:pt x="1700" y="719"/>
                    <a:pt x="1700" y="714"/>
                  </a:cubicBezTo>
                  <a:cubicBezTo>
                    <a:pt x="1700" y="710"/>
                    <a:pt x="1672" y="709"/>
                    <a:pt x="1677" y="696"/>
                  </a:cubicBezTo>
                  <a:cubicBezTo>
                    <a:pt x="1682" y="683"/>
                    <a:pt x="1688" y="666"/>
                    <a:pt x="1688" y="666"/>
                  </a:cubicBezTo>
                  <a:cubicBezTo>
                    <a:pt x="1688" y="642"/>
                    <a:pt x="1688" y="642"/>
                    <a:pt x="1688" y="642"/>
                  </a:cubicBezTo>
                  <a:cubicBezTo>
                    <a:pt x="1688" y="642"/>
                    <a:pt x="1705" y="623"/>
                    <a:pt x="1698" y="606"/>
                  </a:cubicBezTo>
                  <a:cubicBezTo>
                    <a:pt x="1692" y="588"/>
                    <a:pt x="1685" y="586"/>
                    <a:pt x="1685" y="586"/>
                  </a:cubicBezTo>
                  <a:cubicBezTo>
                    <a:pt x="1691" y="575"/>
                    <a:pt x="1691" y="575"/>
                    <a:pt x="1691" y="575"/>
                  </a:cubicBezTo>
                  <a:cubicBezTo>
                    <a:pt x="1691" y="558"/>
                    <a:pt x="1691" y="558"/>
                    <a:pt x="1691" y="558"/>
                  </a:cubicBezTo>
                  <a:cubicBezTo>
                    <a:pt x="1691" y="558"/>
                    <a:pt x="1718" y="548"/>
                    <a:pt x="1699" y="542"/>
                  </a:cubicBezTo>
                  <a:cubicBezTo>
                    <a:pt x="1681" y="537"/>
                    <a:pt x="1653" y="547"/>
                    <a:pt x="1653" y="547"/>
                  </a:cubicBezTo>
                  <a:cubicBezTo>
                    <a:pt x="1651" y="555"/>
                    <a:pt x="1651" y="555"/>
                    <a:pt x="1651" y="555"/>
                  </a:cubicBezTo>
                  <a:cubicBezTo>
                    <a:pt x="1639" y="555"/>
                    <a:pt x="1639" y="555"/>
                    <a:pt x="1639" y="555"/>
                  </a:cubicBezTo>
                  <a:cubicBezTo>
                    <a:pt x="1639" y="555"/>
                    <a:pt x="1633" y="565"/>
                    <a:pt x="1625" y="565"/>
                  </a:cubicBezTo>
                  <a:cubicBezTo>
                    <a:pt x="1618" y="565"/>
                    <a:pt x="1597" y="572"/>
                    <a:pt x="1597" y="572"/>
                  </a:cubicBezTo>
                  <a:cubicBezTo>
                    <a:pt x="1597" y="572"/>
                    <a:pt x="1581" y="585"/>
                    <a:pt x="1575" y="585"/>
                  </a:cubicBezTo>
                  <a:cubicBezTo>
                    <a:pt x="1570" y="585"/>
                    <a:pt x="1589" y="566"/>
                    <a:pt x="1589" y="566"/>
                  </a:cubicBezTo>
                  <a:cubicBezTo>
                    <a:pt x="1589" y="566"/>
                    <a:pt x="1570" y="558"/>
                    <a:pt x="1570" y="547"/>
                  </a:cubicBezTo>
                  <a:cubicBezTo>
                    <a:pt x="1570" y="537"/>
                    <a:pt x="1570" y="528"/>
                    <a:pt x="1570" y="528"/>
                  </a:cubicBezTo>
                  <a:cubicBezTo>
                    <a:pt x="1585" y="513"/>
                    <a:pt x="1585" y="513"/>
                    <a:pt x="1585" y="513"/>
                  </a:cubicBezTo>
                  <a:cubicBezTo>
                    <a:pt x="1561" y="513"/>
                    <a:pt x="1561" y="513"/>
                    <a:pt x="1561" y="513"/>
                  </a:cubicBezTo>
                  <a:cubicBezTo>
                    <a:pt x="1561" y="513"/>
                    <a:pt x="1552" y="518"/>
                    <a:pt x="1549" y="518"/>
                  </a:cubicBezTo>
                  <a:cubicBezTo>
                    <a:pt x="1549" y="518"/>
                    <a:pt x="1520" y="524"/>
                    <a:pt x="1514" y="518"/>
                  </a:cubicBezTo>
                  <a:cubicBezTo>
                    <a:pt x="1508" y="512"/>
                    <a:pt x="1534" y="498"/>
                    <a:pt x="1534" y="498"/>
                  </a:cubicBezTo>
                  <a:cubicBezTo>
                    <a:pt x="2049" y="74"/>
                    <a:pt x="2049" y="74"/>
                    <a:pt x="2049" y="74"/>
                  </a:cubicBezTo>
                  <a:cubicBezTo>
                    <a:pt x="2037" y="74"/>
                    <a:pt x="2037" y="74"/>
                    <a:pt x="2037" y="74"/>
                  </a:cubicBezTo>
                  <a:cubicBezTo>
                    <a:pt x="2037" y="74"/>
                    <a:pt x="2034" y="51"/>
                    <a:pt x="2008" y="53"/>
                  </a:cubicBezTo>
                  <a:cubicBezTo>
                    <a:pt x="1982" y="55"/>
                    <a:pt x="1951" y="64"/>
                    <a:pt x="1947" y="64"/>
                  </a:cubicBezTo>
                  <a:cubicBezTo>
                    <a:pt x="1943" y="64"/>
                    <a:pt x="1916" y="50"/>
                    <a:pt x="1912" y="48"/>
                  </a:cubicBezTo>
                  <a:cubicBezTo>
                    <a:pt x="1908" y="46"/>
                    <a:pt x="1858" y="47"/>
                    <a:pt x="1858" y="47"/>
                  </a:cubicBezTo>
                  <a:cubicBezTo>
                    <a:pt x="1858" y="47"/>
                    <a:pt x="1842" y="39"/>
                    <a:pt x="1824" y="37"/>
                  </a:cubicBezTo>
                  <a:cubicBezTo>
                    <a:pt x="1806" y="35"/>
                    <a:pt x="1735" y="38"/>
                    <a:pt x="1732" y="38"/>
                  </a:cubicBezTo>
                  <a:cubicBezTo>
                    <a:pt x="1729" y="38"/>
                    <a:pt x="1735" y="24"/>
                    <a:pt x="1735" y="24"/>
                  </a:cubicBezTo>
                  <a:cubicBezTo>
                    <a:pt x="1735" y="24"/>
                    <a:pt x="1699" y="19"/>
                    <a:pt x="1694" y="18"/>
                  </a:cubicBezTo>
                  <a:cubicBezTo>
                    <a:pt x="1689" y="17"/>
                    <a:pt x="1656" y="24"/>
                    <a:pt x="1656" y="24"/>
                  </a:cubicBezTo>
                  <a:cubicBezTo>
                    <a:pt x="1676" y="2"/>
                    <a:pt x="1676" y="2"/>
                    <a:pt x="1676" y="2"/>
                  </a:cubicBezTo>
                  <a:cubicBezTo>
                    <a:pt x="1621" y="24"/>
                    <a:pt x="1621" y="24"/>
                    <a:pt x="1621" y="24"/>
                  </a:cubicBezTo>
                  <a:cubicBezTo>
                    <a:pt x="1642" y="2"/>
                    <a:pt x="1642" y="2"/>
                    <a:pt x="1642" y="2"/>
                  </a:cubicBezTo>
                  <a:cubicBezTo>
                    <a:pt x="1622" y="0"/>
                    <a:pt x="1622" y="0"/>
                    <a:pt x="1622" y="0"/>
                  </a:cubicBezTo>
                  <a:cubicBezTo>
                    <a:pt x="1622" y="0"/>
                    <a:pt x="1591" y="22"/>
                    <a:pt x="1561" y="22"/>
                  </a:cubicBezTo>
                  <a:cubicBezTo>
                    <a:pt x="1531" y="22"/>
                    <a:pt x="1485" y="16"/>
                    <a:pt x="1477" y="24"/>
                  </a:cubicBezTo>
                  <a:cubicBezTo>
                    <a:pt x="1469" y="32"/>
                    <a:pt x="1439" y="39"/>
                    <a:pt x="1439" y="39"/>
                  </a:cubicBezTo>
                  <a:cubicBezTo>
                    <a:pt x="1439" y="39"/>
                    <a:pt x="1390" y="39"/>
                    <a:pt x="1364" y="42"/>
                  </a:cubicBezTo>
                  <a:cubicBezTo>
                    <a:pt x="1338" y="45"/>
                    <a:pt x="1277" y="91"/>
                    <a:pt x="1235" y="97"/>
                  </a:cubicBezTo>
                  <a:cubicBezTo>
                    <a:pt x="1193" y="103"/>
                    <a:pt x="1141" y="107"/>
                    <a:pt x="1141" y="107"/>
                  </a:cubicBezTo>
                  <a:cubicBezTo>
                    <a:pt x="1141" y="107"/>
                    <a:pt x="1078" y="128"/>
                    <a:pt x="1081" y="133"/>
                  </a:cubicBezTo>
                  <a:cubicBezTo>
                    <a:pt x="1084" y="138"/>
                    <a:pt x="1105" y="149"/>
                    <a:pt x="1105" y="149"/>
                  </a:cubicBezTo>
                  <a:cubicBezTo>
                    <a:pt x="1105" y="149"/>
                    <a:pt x="1118" y="172"/>
                    <a:pt x="1112" y="175"/>
                  </a:cubicBezTo>
                  <a:cubicBezTo>
                    <a:pt x="1106" y="178"/>
                    <a:pt x="1097" y="187"/>
                    <a:pt x="1097" y="187"/>
                  </a:cubicBezTo>
                  <a:cubicBezTo>
                    <a:pt x="1157" y="188"/>
                    <a:pt x="1157" y="188"/>
                    <a:pt x="1157" y="188"/>
                  </a:cubicBezTo>
                  <a:cubicBezTo>
                    <a:pt x="1138" y="211"/>
                    <a:pt x="1138" y="211"/>
                    <a:pt x="1138" y="211"/>
                  </a:cubicBezTo>
                  <a:cubicBezTo>
                    <a:pt x="1182" y="213"/>
                    <a:pt x="1182" y="213"/>
                    <a:pt x="1182" y="213"/>
                  </a:cubicBezTo>
                  <a:cubicBezTo>
                    <a:pt x="1175" y="225"/>
                    <a:pt x="1175" y="225"/>
                    <a:pt x="1175" y="225"/>
                  </a:cubicBezTo>
                  <a:cubicBezTo>
                    <a:pt x="1139" y="224"/>
                    <a:pt x="1139" y="224"/>
                    <a:pt x="1139" y="224"/>
                  </a:cubicBezTo>
                  <a:cubicBezTo>
                    <a:pt x="1132" y="232"/>
                    <a:pt x="1132" y="232"/>
                    <a:pt x="1132" y="232"/>
                  </a:cubicBezTo>
                  <a:cubicBezTo>
                    <a:pt x="1110" y="232"/>
                    <a:pt x="1110" y="232"/>
                    <a:pt x="1110" y="232"/>
                  </a:cubicBezTo>
                  <a:cubicBezTo>
                    <a:pt x="1110" y="232"/>
                    <a:pt x="1076" y="238"/>
                    <a:pt x="1051" y="238"/>
                  </a:cubicBezTo>
                  <a:cubicBezTo>
                    <a:pt x="1026" y="238"/>
                    <a:pt x="1031" y="228"/>
                    <a:pt x="1045" y="223"/>
                  </a:cubicBezTo>
                  <a:cubicBezTo>
                    <a:pt x="1059" y="218"/>
                    <a:pt x="1017" y="215"/>
                    <a:pt x="1017" y="215"/>
                  </a:cubicBezTo>
                  <a:cubicBezTo>
                    <a:pt x="1017" y="215"/>
                    <a:pt x="969" y="213"/>
                    <a:pt x="967" y="221"/>
                  </a:cubicBezTo>
                  <a:cubicBezTo>
                    <a:pt x="965" y="229"/>
                    <a:pt x="969" y="234"/>
                    <a:pt x="969" y="234"/>
                  </a:cubicBezTo>
                  <a:cubicBezTo>
                    <a:pt x="969" y="234"/>
                    <a:pt x="934" y="236"/>
                    <a:pt x="911" y="239"/>
                  </a:cubicBezTo>
                  <a:cubicBezTo>
                    <a:pt x="888" y="242"/>
                    <a:pt x="820" y="255"/>
                    <a:pt x="837" y="261"/>
                  </a:cubicBezTo>
                  <a:cubicBezTo>
                    <a:pt x="854" y="267"/>
                    <a:pt x="877" y="270"/>
                    <a:pt x="877" y="270"/>
                  </a:cubicBezTo>
                  <a:cubicBezTo>
                    <a:pt x="848" y="280"/>
                    <a:pt x="848" y="280"/>
                    <a:pt x="848" y="280"/>
                  </a:cubicBezTo>
                  <a:cubicBezTo>
                    <a:pt x="840" y="307"/>
                    <a:pt x="840" y="307"/>
                    <a:pt x="840" y="307"/>
                  </a:cubicBezTo>
                  <a:cubicBezTo>
                    <a:pt x="840" y="307"/>
                    <a:pt x="864" y="311"/>
                    <a:pt x="880" y="311"/>
                  </a:cubicBezTo>
                  <a:cubicBezTo>
                    <a:pt x="896" y="311"/>
                    <a:pt x="910" y="308"/>
                    <a:pt x="910" y="308"/>
                  </a:cubicBezTo>
                  <a:cubicBezTo>
                    <a:pt x="939" y="316"/>
                    <a:pt x="939" y="316"/>
                    <a:pt x="939" y="316"/>
                  </a:cubicBezTo>
                  <a:cubicBezTo>
                    <a:pt x="948" y="304"/>
                    <a:pt x="948" y="304"/>
                    <a:pt x="948" y="304"/>
                  </a:cubicBezTo>
                  <a:cubicBezTo>
                    <a:pt x="957" y="315"/>
                    <a:pt x="957" y="315"/>
                    <a:pt x="957" y="315"/>
                  </a:cubicBezTo>
                  <a:cubicBezTo>
                    <a:pt x="957" y="315"/>
                    <a:pt x="989" y="297"/>
                    <a:pt x="994" y="297"/>
                  </a:cubicBezTo>
                  <a:cubicBezTo>
                    <a:pt x="999" y="297"/>
                    <a:pt x="1007" y="303"/>
                    <a:pt x="1017" y="299"/>
                  </a:cubicBezTo>
                  <a:cubicBezTo>
                    <a:pt x="1027" y="295"/>
                    <a:pt x="1045" y="281"/>
                    <a:pt x="1046" y="290"/>
                  </a:cubicBezTo>
                  <a:cubicBezTo>
                    <a:pt x="1047" y="299"/>
                    <a:pt x="1037" y="311"/>
                    <a:pt x="1037" y="311"/>
                  </a:cubicBezTo>
                  <a:cubicBezTo>
                    <a:pt x="999" y="312"/>
                    <a:pt x="999" y="312"/>
                    <a:pt x="999" y="312"/>
                  </a:cubicBezTo>
                  <a:cubicBezTo>
                    <a:pt x="1004" y="333"/>
                    <a:pt x="1004" y="333"/>
                    <a:pt x="1004" y="333"/>
                  </a:cubicBezTo>
                  <a:cubicBezTo>
                    <a:pt x="1004" y="333"/>
                    <a:pt x="976" y="360"/>
                    <a:pt x="958" y="361"/>
                  </a:cubicBezTo>
                  <a:cubicBezTo>
                    <a:pt x="940" y="362"/>
                    <a:pt x="920" y="362"/>
                    <a:pt x="920" y="362"/>
                  </a:cubicBezTo>
                  <a:cubicBezTo>
                    <a:pt x="910" y="350"/>
                    <a:pt x="910" y="350"/>
                    <a:pt x="910" y="350"/>
                  </a:cubicBezTo>
                  <a:cubicBezTo>
                    <a:pt x="898" y="357"/>
                    <a:pt x="898" y="357"/>
                    <a:pt x="898" y="357"/>
                  </a:cubicBezTo>
                  <a:cubicBezTo>
                    <a:pt x="898" y="365"/>
                    <a:pt x="898" y="365"/>
                    <a:pt x="898" y="365"/>
                  </a:cubicBezTo>
                  <a:cubicBezTo>
                    <a:pt x="898" y="365"/>
                    <a:pt x="857" y="389"/>
                    <a:pt x="844" y="381"/>
                  </a:cubicBezTo>
                  <a:cubicBezTo>
                    <a:pt x="831" y="373"/>
                    <a:pt x="824" y="371"/>
                    <a:pt x="824" y="371"/>
                  </a:cubicBezTo>
                  <a:cubicBezTo>
                    <a:pt x="762" y="406"/>
                    <a:pt x="762" y="406"/>
                    <a:pt x="762" y="406"/>
                  </a:cubicBezTo>
                  <a:cubicBezTo>
                    <a:pt x="748" y="418"/>
                    <a:pt x="748" y="418"/>
                    <a:pt x="748" y="418"/>
                  </a:cubicBezTo>
                  <a:cubicBezTo>
                    <a:pt x="745" y="404"/>
                    <a:pt x="745" y="404"/>
                    <a:pt x="745" y="404"/>
                  </a:cubicBezTo>
                  <a:cubicBezTo>
                    <a:pt x="745" y="404"/>
                    <a:pt x="720" y="415"/>
                    <a:pt x="706" y="420"/>
                  </a:cubicBezTo>
                  <a:cubicBezTo>
                    <a:pt x="692" y="425"/>
                    <a:pt x="682" y="440"/>
                    <a:pt x="682" y="440"/>
                  </a:cubicBezTo>
                  <a:cubicBezTo>
                    <a:pt x="662" y="434"/>
                    <a:pt x="662" y="434"/>
                    <a:pt x="662" y="434"/>
                  </a:cubicBezTo>
                  <a:cubicBezTo>
                    <a:pt x="662" y="447"/>
                    <a:pt x="662" y="447"/>
                    <a:pt x="662" y="447"/>
                  </a:cubicBezTo>
                  <a:cubicBezTo>
                    <a:pt x="662" y="447"/>
                    <a:pt x="649" y="441"/>
                    <a:pt x="646" y="447"/>
                  </a:cubicBezTo>
                  <a:cubicBezTo>
                    <a:pt x="643" y="453"/>
                    <a:pt x="643" y="462"/>
                    <a:pt x="643" y="462"/>
                  </a:cubicBezTo>
                  <a:cubicBezTo>
                    <a:pt x="636" y="471"/>
                    <a:pt x="636" y="471"/>
                    <a:pt x="636" y="471"/>
                  </a:cubicBezTo>
                  <a:cubicBezTo>
                    <a:pt x="676" y="457"/>
                    <a:pt x="676" y="457"/>
                    <a:pt x="676" y="457"/>
                  </a:cubicBezTo>
                  <a:cubicBezTo>
                    <a:pt x="661" y="469"/>
                    <a:pt x="661" y="469"/>
                    <a:pt x="661" y="469"/>
                  </a:cubicBezTo>
                  <a:cubicBezTo>
                    <a:pt x="661" y="475"/>
                    <a:pt x="661" y="475"/>
                    <a:pt x="661" y="475"/>
                  </a:cubicBezTo>
                  <a:cubicBezTo>
                    <a:pt x="648" y="483"/>
                    <a:pt x="648" y="483"/>
                    <a:pt x="648" y="483"/>
                  </a:cubicBezTo>
                  <a:cubicBezTo>
                    <a:pt x="648" y="483"/>
                    <a:pt x="698" y="482"/>
                    <a:pt x="689" y="491"/>
                  </a:cubicBezTo>
                  <a:cubicBezTo>
                    <a:pt x="680" y="500"/>
                    <a:pt x="658" y="498"/>
                    <a:pt x="658" y="498"/>
                  </a:cubicBezTo>
                  <a:cubicBezTo>
                    <a:pt x="641" y="502"/>
                    <a:pt x="641" y="502"/>
                    <a:pt x="641" y="502"/>
                  </a:cubicBezTo>
                  <a:cubicBezTo>
                    <a:pt x="649" y="494"/>
                    <a:pt x="649" y="494"/>
                    <a:pt x="649" y="494"/>
                  </a:cubicBezTo>
                  <a:cubicBezTo>
                    <a:pt x="640" y="489"/>
                    <a:pt x="640" y="489"/>
                    <a:pt x="640" y="489"/>
                  </a:cubicBezTo>
                  <a:cubicBezTo>
                    <a:pt x="640" y="489"/>
                    <a:pt x="611" y="500"/>
                    <a:pt x="612" y="503"/>
                  </a:cubicBezTo>
                  <a:cubicBezTo>
                    <a:pt x="613" y="506"/>
                    <a:pt x="619" y="510"/>
                    <a:pt x="619" y="510"/>
                  </a:cubicBezTo>
                  <a:cubicBezTo>
                    <a:pt x="619" y="510"/>
                    <a:pt x="608" y="537"/>
                    <a:pt x="612" y="538"/>
                  </a:cubicBezTo>
                  <a:cubicBezTo>
                    <a:pt x="616" y="539"/>
                    <a:pt x="659" y="536"/>
                    <a:pt x="659" y="536"/>
                  </a:cubicBezTo>
                  <a:cubicBezTo>
                    <a:pt x="691" y="518"/>
                    <a:pt x="691" y="518"/>
                    <a:pt x="691" y="518"/>
                  </a:cubicBezTo>
                  <a:cubicBezTo>
                    <a:pt x="738" y="499"/>
                    <a:pt x="738" y="499"/>
                    <a:pt x="738" y="499"/>
                  </a:cubicBezTo>
                  <a:cubicBezTo>
                    <a:pt x="738" y="499"/>
                    <a:pt x="694" y="520"/>
                    <a:pt x="689" y="528"/>
                  </a:cubicBezTo>
                  <a:cubicBezTo>
                    <a:pt x="684" y="536"/>
                    <a:pt x="685" y="552"/>
                    <a:pt x="678" y="554"/>
                  </a:cubicBezTo>
                  <a:cubicBezTo>
                    <a:pt x="671" y="556"/>
                    <a:pt x="659" y="549"/>
                    <a:pt x="653" y="558"/>
                  </a:cubicBezTo>
                  <a:cubicBezTo>
                    <a:pt x="647" y="567"/>
                    <a:pt x="643" y="577"/>
                    <a:pt x="638" y="582"/>
                  </a:cubicBezTo>
                  <a:cubicBezTo>
                    <a:pt x="633" y="587"/>
                    <a:pt x="618" y="596"/>
                    <a:pt x="618" y="596"/>
                  </a:cubicBezTo>
                  <a:cubicBezTo>
                    <a:pt x="654" y="592"/>
                    <a:pt x="654" y="592"/>
                    <a:pt x="654" y="592"/>
                  </a:cubicBezTo>
                  <a:cubicBezTo>
                    <a:pt x="647" y="604"/>
                    <a:pt x="647" y="604"/>
                    <a:pt x="647" y="604"/>
                  </a:cubicBezTo>
                  <a:cubicBezTo>
                    <a:pt x="647" y="604"/>
                    <a:pt x="677" y="573"/>
                    <a:pt x="694" y="576"/>
                  </a:cubicBezTo>
                  <a:cubicBezTo>
                    <a:pt x="711" y="579"/>
                    <a:pt x="702" y="584"/>
                    <a:pt x="702" y="584"/>
                  </a:cubicBezTo>
                  <a:cubicBezTo>
                    <a:pt x="718" y="582"/>
                    <a:pt x="718" y="582"/>
                    <a:pt x="718" y="582"/>
                  </a:cubicBezTo>
                  <a:cubicBezTo>
                    <a:pt x="718" y="582"/>
                    <a:pt x="705" y="607"/>
                    <a:pt x="719" y="607"/>
                  </a:cubicBezTo>
                  <a:cubicBezTo>
                    <a:pt x="733" y="607"/>
                    <a:pt x="750" y="585"/>
                    <a:pt x="750" y="585"/>
                  </a:cubicBezTo>
                  <a:cubicBezTo>
                    <a:pt x="778" y="572"/>
                    <a:pt x="778" y="572"/>
                    <a:pt x="778" y="572"/>
                  </a:cubicBezTo>
                  <a:cubicBezTo>
                    <a:pt x="785" y="580"/>
                    <a:pt x="785" y="580"/>
                    <a:pt x="785" y="580"/>
                  </a:cubicBezTo>
                  <a:cubicBezTo>
                    <a:pt x="765" y="582"/>
                    <a:pt x="765" y="582"/>
                    <a:pt x="765" y="582"/>
                  </a:cubicBezTo>
                  <a:cubicBezTo>
                    <a:pt x="765" y="582"/>
                    <a:pt x="751" y="596"/>
                    <a:pt x="762" y="596"/>
                  </a:cubicBezTo>
                  <a:cubicBezTo>
                    <a:pt x="773" y="596"/>
                    <a:pt x="819" y="583"/>
                    <a:pt x="819" y="583"/>
                  </a:cubicBezTo>
                  <a:cubicBezTo>
                    <a:pt x="847" y="571"/>
                    <a:pt x="847" y="571"/>
                    <a:pt x="847" y="571"/>
                  </a:cubicBezTo>
                  <a:cubicBezTo>
                    <a:pt x="815" y="588"/>
                    <a:pt x="815" y="588"/>
                    <a:pt x="815" y="588"/>
                  </a:cubicBezTo>
                  <a:cubicBezTo>
                    <a:pt x="815" y="598"/>
                    <a:pt x="815" y="598"/>
                    <a:pt x="815" y="598"/>
                  </a:cubicBezTo>
                  <a:cubicBezTo>
                    <a:pt x="815" y="598"/>
                    <a:pt x="797" y="599"/>
                    <a:pt x="786" y="603"/>
                  </a:cubicBezTo>
                  <a:cubicBezTo>
                    <a:pt x="775" y="607"/>
                    <a:pt x="767" y="620"/>
                    <a:pt x="767" y="620"/>
                  </a:cubicBezTo>
                  <a:cubicBezTo>
                    <a:pt x="747" y="622"/>
                    <a:pt x="747" y="622"/>
                    <a:pt x="747" y="622"/>
                  </a:cubicBezTo>
                  <a:cubicBezTo>
                    <a:pt x="723" y="642"/>
                    <a:pt x="723" y="642"/>
                    <a:pt x="723" y="642"/>
                  </a:cubicBezTo>
                  <a:cubicBezTo>
                    <a:pt x="724" y="651"/>
                    <a:pt x="724" y="651"/>
                    <a:pt x="724" y="651"/>
                  </a:cubicBezTo>
                  <a:cubicBezTo>
                    <a:pt x="697" y="654"/>
                    <a:pt x="697" y="654"/>
                    <a:pt x="697" y="654"/>
                  </a:cubicBezTo>
                  <a:cubicBezTo>
                    <a:pt x="697" y="654"/>
                    <a:pt x="652" y="663"/>
                    <a:pt x="647" y="670"/>
                  </a:cubicBezTo>
                  <a:cubicBezTo>
                    <a:pt x="642" y="677"/>
                    <a:pt x="645" y="691"/>
                    <a:pt x="636" y="691"/>
                  </a:cubicBezTo>
                  <a:cubicBezTo>
                    <a:pt x="627" y="691"/>
                    <a:pt x="600" y="691"/>
                    <a:pt x="584" y="693"/>
                  </a:cubicBezTo>
                  <a:cubicBezTo>
                    <a:pt x="568" y="695"/>
                    <a:pt x="515" y="734"/>
                    <a:pt x="515" y="734"/>
                  </a:cubicBezTo>
                  <a:cubicBezTo>
                    <a:pt x="500" y="737"/>
                    <a:pt x="500" y="737"/>
                    <a:pt x="500" y="737"/>
                  </a:cubicBezTo>
                  <a:cubicBezTo>
                    <a:pt x="491" y="747"/>
                    <a:pt x="491" y="747"/>
                    <a:pt x="491" y="747"/>
                  </a:cubicBezTo>
                  <a:cubicBezTo>
                    <a:pt x="490" y="736"/>
                    <a:pt x="490" y="736"/>
                    <a:pt x="490" y="736"/>
                  </a:cubicBezTo>
                  <a:cubicBezTo>
                    <a:pt x="490" y="736"/>
                    <a:pt x="458" y="732"/>
                    <a:pt x="447" y="738"/>
                  </a:cubicBezTo>
                  <a:cubicBezTo>
                    <a:pt x="436" y="744"/>
                    <a:pt x="412" y="754"/>
                    <a:pt x="412" y="754"/>
                  </a:cubicBezTo>
                  <a:cubicBezTo>
                    <a:pt x="403" y="752"/>
                    <a:pt x="403" y="752"/>
                    <a:pt x="403" y="752"/>
                  </a:cubicBezTo>
                  <a:cubicBezTo>
                    <a:pt x="404" y="760"/>
                    <a:pt x="404" y="760"/>
                    <a:pt x="404" y="760"/>
                  </a:cubicBezTo>
                  <a:cubicBezTo>
                    <a:pt x="385" y="763"/>
                    <a:pt x="385" y="763"/>
                    <a:pt x="385" y="763"/>
                  </a:cubicBezTo>
                  <a:cubicBezTo>
                    <a:pt x="378" y="769"/>
                    <a:pt x="378" y="769"/>
                    <a:pt x="378" y="769"/>
                  </a:cubicBezTo>
                  <a:cubicBezTo>
                    <a:pt x="362" y="767"/>
                    <a:pt x="362" y="767"/>
                    <a:pt x="362" y="767"/>
                  </a:cubicBezTo>
                  <a:cubicBezTo>
                    <a:pt x="345" y="782"/>
                    <a:pt x="345" y="782"/>
                    <a:pt x="345" y="782"/>
                  </a:cubicBezTo>
                  <a:cubicBezTo>
                    <a:pt x="350" y="788"/>
                    <a:pt x="350" y="788"/>
                    <a:pt x="350" y="788"/>
                  </a:cubicBezTo>
                  <a:cubicBezTo>
                    <a:pt x="360" y="776"/>
                    <a:pt x="360" y="776"/>
                    <a:pt x="360" y="776"/>
                  </a:cubicBezTo>
                  <a:cubicBezTo>
                    <a:pt x="373" y="783"/>
                    <a:pt x="373" y="783"/>
                    <a:pt x="373" y="783"/>
                  </a:cubicBezTo>
                  <a:cubicBezTo>
                    <a:pt x="387" y="771"/>
                    <a:pt x="387" y="771"/>
                    <a:pt x="387" y="771"/>
                  </a:cubicBezTo>
                  <a:cubicBezTo>
                    <a:pt x="388" y="779"/>
                    <a:pt x="388" y="779"/>
                    <a:pt x="388" y="779"/>
                  </a:cubicBezTo>
                  <a:cubicBezTo>
                    <a:pt x="388" y="779"/>
                    <a:pt x="409" y="778"/>
                    <a:pt x="417" y="771"/>
                  </a:cubicBezTo>
                  <a:cubicBezTo>
                    <a:pt x="425" y="764"/>
                    <a:pt x="441" y="750"/>
                    <a:pt x="450" y="748"/>
                  </a:cubicBezTo>
                  <a:cubicBezTo>
                    <a:pt x="459" y="746"/>
                    <a:pt x="451" y="762"/>
                    <a:pt x="464" y="762"/>
                  </a:cubicBezTo>
                  <a:cubicBezTo>
                    <a:pt x="477" y="762"/>
                    <a:pt x="514" y="746"/>
                    <a:pt x="514" y="746"/>
                  </a:cubicBezTo>
                  <a:cubicBezTo>
                    <a:pt x="536" y="752"/>
                    <a:pt x="536" y="752"/>
                    <a:pt x="536" y="752"/>
                  </a:cubicBezTo>
                  <a:cubicBezTo>
                    <a:pt x="548" y="740"/>
                    <a:pt x="548" y="740"/>
                    <a:pt x="548" y="740"/>
                  </a:cubicBezTo>
                  <a:cubicBezTo>
                    <a:pt x="548" y="740"/>
                    <a:pt x="585" y="738"/>
                    <a:pt x="596" y="729"/>
                  </a:cubicBezTo>
                  <a:cubicBezTo>
                    <a:pt x="607" y="720"/>
                    <a:pt x="619" y="706"/>
                    <a:pt x="628" y="705"/>
                  </a:cubicBezTo>
                  <a:cubicBezTo>
                    <a:pt x="637" y="704"/>
                    <a:pt x="649" y="704"/>
                    <a:pt x="649" y="704"/>
                  </a:cubicBezTo>
                  <a:cubicBezTo>
                    <a:pt x="653" y="697"/>
                    <a:pt x="653" y="697"/>
                    <a:pt x="653" y="697"/>
                  </a:cubicBezTo>
                  <a:cubicBezTo>
                    <a:pt x="677" y="697"/>
                    <a:pt x="677" y="697"/>
                    <a:pt x="677" y="697"/>
                  </a:cubicBezTo>
                  <a:cubicBezTo>
                    <a:pt x="684" y="691"/>
                    <a:pt x="684" y="691"/>
                    <a:pt x="684" y="691"/>
                  </a:cubicBezTo>
                  <a:cubicBezTo>
                    <a:pt x="684" y="691"/>
                    <a:pt x="717" y="684"/>
                    <a:pt x="732" y="677"/>
                  </a:cubicBezTo>
                  <a:cubicBezTo>
                    <a:pt x="747" y="670"/>
                    <a:pt x="762" y="656"/>
                    <a:pt x="762" y="656"/>
                  </a:cubicBezTo>
                  <a:cubicBezTo>
                    <a:pt x="803" y="650"/>
                    <a:pt x="803" y="650"/>
                    <a:pt x="803" y="650"/>
                  </a:cubicBezTo>
                  <a:cubicBezTo>
                    <a:pt x="841" y="628"/>
                    <a:pt x="841" y="628"/>
                    <a:pt x="841" y="628"/>
                  </a:cubicBezTo>
                  <a:cubicBezTo>
                    <a:pt x="841" y="628"/>
                    <a:pt x="885" y="627"/>
                    <a:pt x="892" y="620"/>
                  </a:cubicBezTo>
                  <a:cubicBezTo>
                    <a:pt x="899" y="613"/>
                    <a:pt x="912" y="601"/>
                    <a:pt x="912" y="601"/>
                  </a:cubicBezTo>
                  <a:cubicBezTo>
                    <a:pt x="912" y="601"/>
                    <a:pt x="954" y="594"/>
                    <a:pt x="958" y="586"/>
                  </a:cubicBezTo>
                  <a:cubicBezTo>
                    <a:pt x="962" y="578"/>
                    <a:pt x="947" y="578"/>
                    <a:pt x="947" y="578"/>
                  </a:cubicBezTo>
                  <a:cubicBezTo>
                    <a:pt x="947" y="578"/>
                    <a:pt x="970" y="562"/>
                    <a:pt x="979" y="557"/>
                  </a:cubicBezTo>
                  <a:cubicBezTo>
                    <a:pt x="988" y="552"/>
                    <a:pt x="1015" y="545"/>
                    <a:pt x="1015" y="545"/>
                  </a:cubicBezTo>
                  <a:cubicBezTo>
                    <a:pt x="1066" y="526"/>
                    <a:pt x="1066" y="526"/>
                    <a:pt x="1066" y="526"/>
                  </a:cubicBezTo>
                  <a:cubicBezTo>
                    <a:pt x="1060" y="513"/>
                    <a:pt x="1060" y="513"/>
                    <a:pt x="1060" y="513"/>
                  </a:cubicBezTo>
                  <a:cubicBezTo>
                    <a:pt x="1060" y="513"/>
                    <a:pt x="1083" y="519"/>
                    <a:pt x="1090" y="514"/>
                  </a:cubicBezTo>
                  <a:cubicBezTo>
                    <a:pt x="1097" y="509"/>
                    <a:pt x="1130" y="494"/>
                    <a:pt x="1130" y="494"/>
                  </a:cubicBezTo>
                  <a:cubicBezTo>
                    <a:pt x="1130" y="494"/>
                    <a:pt x="1188" y="470"/>
                    <a:pt x="1196" y="467"/>
                  </a:cubicBezTo>
                  <a:cubicBezTo>
                    <a:pt x="1204" y="464"/>
                    <a:pt x="1234" y="485"/>
                    <a:pt x="1234" y="485"/>
                  </a:cubicBezTo>
                  <a:cubicBezTo>
                    <a:pt x="1210" y="485"/>
                    <a:pt x="1210" y="485"/>
                    <a:pt x="1210" y="485"/>
                  </a:cubicBezTo>
                  <a:cubicBezTo>
                    <a:pt x="1197" y="477"/>
                    <a:pt x="1197" y="477"/>
                    <a:pt x="1197" y="477"/>
                  </a:cubicBezTo>
                  <a:cubicBezTo>
                    <a:pt x="1174" y="493"/>
                    <a:pt x="1174" y="493"/>
                    <a:pt x="1174" y="493"/>
                  </a:cubicBezTo>
                  <a:cubicBezTo>
                    <a:pt x="1151" y="493"/>
                    <a:pt x="1151" y="493"/>
                    <a:pt x="1151" y="493"/>
                  </a:cubicBezTo>
                  <a:cubicBezTo>
                    <a:pt x="1151" y="493"/>
                    <a:pt x="1128" y="515"/>
                    <a:pt x="1119" y="518"/>
                  </a:cubicBezTo>
                  <a:cubicBezTo>
                    <a:pt x="1110" y="521"/>
                    <a:pt x="1071" y="527"/>
                    <a:pt x="1075" y="536"/>
                  </a:cubicBezTo>
                  <a:cubicBezTo>
                    <a:pt x="1079" y="545"/>
                    <a:pt x="1099" y="544"/>
                    <a:pt x="1099" y="544"/>
                  </a:cubicBezTo>
                  <a:cubicBezTo>
                    <a:pt x="1099" y="544"/>
                    <a:pt x="1079" y="552"/>
                    <a:pt x="1075" y="552"/>
                  </a:cubicBezTo>
                  <a:cubicBezTo>
                    <a:pt x="1071" y="552"/>
                    <a:pt x="1042" y="551"/>
                    <a:pt x="1042" y="557"/>
                  </a:cubicBezTo>
                  <a:cubicBezTo>
                    <a:pt x="1042" y="563"/>
                    <a:pt x="1045" y="576"/>
                    <a:pt x="1065" y="568"/>
                  </a:cubicBezTo>
                  <a:cubicBezTo>
                    <a:pt x="1085" y="560"/>
                    <a:pt x="1129" y="536"/>
                    <a:pt x="1147" y="532"/>
                  </a:cubicBezTo>
                  <a:cubicBezTo>
                    <a:pt x="1165" y="528"/>
                    <a:pt x="1197" y="537"/>
                    <a:pt x="1211" y="530"/>
                  </a:cubicBezTo>
                  <a:cubicBezTo>
                    <a:pt x="1225" y="523"/>
                    <a:pt x="1247" y="502"/>
                    <a:pt x="1247" y="502"/>
                  </a:cubicBezTo>
                  <a:cubicBezTo>
                    <a:pt x="1245" y="492"/>
                    <a:pt x="1245" y="492"/>
                    <a:pt x="1245" y="492"/>
                  </a:cubicBezTo>
                  <a:cubicBezTo>
                    <a:pt x="1245" y="492"/>
                    <a:pt x="1299" y="471"/>
                    <a:pt x="1309" y="472"/>
                  </a:cubicBezTo>
                  <a:cubicBezTo>
                    <a:pt x="1319" y="473"/>
                    <a:pt x="1322" y="483"/>
                    <a:pt x="1322" y="483"/>
                  </a:cubicBezTo>
                  <a:cubicBezTo>
                    <a:pt x="1364" y="470"/>
                    <a:pt x="1364" y="470"/>
                    <a:pt x="1364" y="470"/>
                  </a:cubicBezTo>
                  <a:cubicBezTo>
                    <a:pt x="1336" y="492"/>
                    <a:pt x="1336" y="492"/>
                    <a:pt x="1336" y="492"/>
                  </a:cubicBezTo>
                  <a:cubicBezTo>
                    <a:pt x="1350" y="498"/>
                    <a:pt x="1350" y="498"/>
                    <a:pt x="1350" y="498"/>
                  </a:cubicBezTo>
                  <a:cubicBezTo>
                    <a:pt x="1350" y="498"/>
                    <a:pt x="1346" y="510"/>
                    <a:pt x="1350" y="510"/>
                  </a:cubicBezTo>
                  <a:cubicBezTo>
                    <a:pt x="1354" y="510"/>
                    <a:pt x="1395" y="485"/>
                    <a:pt x="1395" y="485"/>
                  </a:cubicBezTo>
                  <a:cubicBezTo>
                    <a:pt x="1395" y="485"/>
                    <a:pt x="1356" y="515"/>
                    <a:pt x="1367" y="520"/>
                  </a:cubicBezTo>
                  <a:cubicBezTo>
                    <a:pt x="1378" y="525"/>
                    <a:pt x="1406" y="526"/>
                    <a:pt x="1406" y="526"/>
                  </a:cubicBezTo>
                  <a:cubicBezTo>
                    <a:pt x="1472" y="532"/>
                    <a:pt x="1472" y="532"/>
                    <a:pt x="1472" y="532"/>
                  </a:cubicBezTo>
                  <a:cubicBezTo>
                    <a:pt x="1493" y="519"/>
                    <a:pt x="1493" y="519"/>
                    <a:pt x="1493" y="519"/>
                  </a:cubicBezTo>
                  <a:cubicBezTo>
                    <a:pt x="1493" y="519"/>
                    <a:pt x="1480" y="541"/>
                    <a:pt x="1491" y="542"/>
                  </a:cubicBezTo>
                  <a:cubicBezTo>
                    <a:pt x="1502" y="543"/>
                    <a:pt x="1534" y="541"/>
                    <a:pt x="1534" y="541"/>
                  </a:cubicBezTo>
                  <a:cubicBezTo>
                    <a:pt x="1556" y="535"/>
                    <a:pt x="1556" y="535"/>
                    <a:pt x="1556" y="535"/>
                  </a:cubicBezTo>
                  <a:cubicBezTo>
                    <a:pt x="1556" y="535"/>
                    <a:pt x="1517" y="549"/>
                    <a:pt x="1520" y="557"/>
                  </a:cubicBezTo>
                  <a:cubicBezTo>
                    <a:pt x="1523" y="565"/>
                    <a:pt x="1541" y="573"/>
                    <a:pt x="1541" y="573"/>
                  </a:cubicBezTo>
                  <a:cubicBezTo>
                    <a:pt x="1541" y="573"/>
                    <a:pt x="1539" y="609"/>
                    <a:pt x="1551" y="609"/>
                  </a:cubicBezTo>
                  <a:cubicBezTo>
                    <a:pt x="1563" y="609"/>
                    <a:pt x="1594" y="606"/>
                    <a:pt x="1594" y="606"/>
                  </a:cubicBezTo>
                  <a:cubicBezTo>
                    <a:pt x="1587" y="585"/>
                    <a:pt x="1587" y="585"/>
                    <a:pt x="1587" y="585"/>
                  </a:cubicBezTo>
                  <a:cubicBezTo>
                    <a:pt x="1601" y="580"/>
                    <a:pt x="1601" y="580"/>
                    <a:pt x="1601" y="580"/>
                  </a:cubicBezTo>
                  <a:cubicBezTo>
                    <a:pt x="1610" y="591"/>
                    <a:pt x="1610" y="591"/>
                    <a:pt x="1610" y="591"/>
                  </a:cubicBezTo>
                  <a:cubicBezTo>
                    <a:pt x="1630" y="585"/>
                    <a:pt x="1630" y="585"/>
                    <a:pt x="1630" y="585"/>
                  </a:cubicBezTo>
                  <a:cubicBezTo>
                    <a:pt x="1630" y="585"/>
                    <a:pt x="1610" y="608"/>
                    <a:pt x="1621" y="612"/>
                  </a:cubicBezTo>
                  <a:cubicBezTo>
                    <a:pt x="1632" y="616"/>
                    <a:pt x="1650" y="586"/>
                    <a:pt x="1650" y="586"/>
                  </a:cubicBezTo>
                  <a:cubicBezTo>
                    <a:pt x="1670" y="557"/>
                    <a:pt x="1670" y="557"/>
                    <a:pt x="1670" y="557"/>
                  </a:cubicBezTo>
                  <a:cubicBezTo>
                    <a:pt x="1652" y="599"/>
                    <a:pt x="1652" y="599"/>
                    <a:pt x="1652" y="599"/>
                  </a:cubicBezTo>
                  <a:cubicBezTo>
                    <a:pt x="1656" y="615"/>
                    <a:pt x="1656" y="615"/>
                    <a:pt x="1656" y="615"/>
                  </a:cubicBezTo>
                  <a:cubicBezTo>
                    <a:pt x="1679" y="607"/>
                    <a:pt x="1679" y="607"/>
                    <a:pt x="1679" y="607"/>
                  </a:cubicBezTo>
                  <a:cubicBezTo>
                    <a:pt x="1664" y="623"/>
                    <a:pt x="1664" y="623"/>
                    <a:pt x="1664" y="623"/>
                  </a:cubicBezTo>
                  <a:cubicBezTo>
                    <a:pt x="1681" y="638"/>
                    <a:pt x="1681" y="638"/>
                    <a:pt x="1681" y="638"/>
                  </a:cubicBezTo>
                  <a:cubicBezTo>
                    <a:pt x="1669" y="635"/>
                    <a:pt x="1669" y="635"/>
                    <a:pt x="1669" y="635"/>
                  </a:cubicBezTo>
                  <a:cubicBezTo>
                    <a:pt x="1667" y="647"/>
                    <a:pt x="1667" y="647"/>
                    <a:pt x="1667" y="647"/>
                  </a:cubicBezTo>
                  <a:cubicBezTo>
                    <a:pt x="1648" y="660"/>
                    <a:pt x="1648" y="660"/>
                    <a:pt x="1648" y="660"/>
                  </a:cubicBezTo>
                  <a:cubicBezTo>
                    <a:pt x="1636" y="670"/>
                    <a:pt x="1636" y="670"/>
                    <a:pt x="1636" y="670"/>
                  </a:cubicBezTo>
                  <a:cubicBezTo>
                    <a:pt x="1657" y="681"/>
                    <a:pt x="1657" y="681"/>
                    <a:pt x="1657" y="681"/>
                  </a:cubicBezTo>
                  <a:cubicBezTo>
                    <a:pt x="1654" y="702"/>
                    <a:pt x="1654" y="702"/>
                    <a:pt x="1654" y="702"/>
                  </a:cubicBezTo>
                  <a:cubicBezTo>
                    <a:pt x="1642" y="714"/>
                    <a:pt x="1642" y="714"/>
                    <a:pt x="1642" y="714"/>
                  </a:cubicBezTo>
                  <a:cubicBezTo>
                    <a:pt x="1654" y="719"/>
                    <a:pt x="1654" y="719"/>
                    <a:pt x="1654" y="719"/>
                  </a:cubicBezTo>
                  <a:cubicBezTo>
                    <a:pt x="1639" y="733"/>
                    <a:pt x="1639" y="733"/>
                    <a:pt x="1639" y="733"/>
                  </a:cubicBezTo>
                  <a:cubicBezTo>
                    <a:pt x="1660" y="733"/>
                    <a:pt x="1660" y="733"/>
                    <a:pt x="1660" y="733"/>
                  </a:cubicBezTo>
                  <a:cubicBezTo>
                    <a:pt x="1685" y="724"/>
                    <a:pt x="1685" y="724"/>
                    <a:pt x="1685" y="724"/>
                  </a:cubicBezTo>
                  <a:cubicBezTo>
                    <a:pt x="1663" y="750"/>
                    <a:pt x="1663" y="750"/>
                    <a:pt x="1663" y="750"/>
                  </a:cubicBezTo>
                  <a:cubicBezTo>
                    <a:pt x="1652" y="760"/>
                    <a:pt x="1652" y="760"/>
                    <a:pt x="1652" y="760"/>
                  </a:cubicBezTo>
                  <a:cubicBezTo>
                    <a:pt x="1667" y="765"/>
                    <a:pt x="1667" y="765"/>
                    <a:pt x="1667" y="765"/>
                  </a:cubicBezTo>
                  <a:cubicBezTo>
                    <a:pt x="1637" y="777"/>
                    <a:pt x="1637" y="777"/>
                    <a:pt x="1637" y="777"/>
                  </a:cubicBezTo>
                  <a:cubicBezTo>
                    <a:pt x="1623" y="785"/>
                    <a:pt x="1623" y="785"/>
                    <a:pt x="1623" y="785"/>
                  </a:cubicBezTo>
                  <a:cubicBezTo>
                    <a:pt x="1637" y="791"/>
                    <a:pt x="1637" y="791"/>
                    <a:pt x="1637" y="791"/>
                  </a:cubicBezTo>
                  <a:cubicBezTo>
                    <a:pt x="1637" y="791"/>
                    <a:pt x="1636" y="794"/>
                    <a:pt x="1634" y="798"/>
                  </a:cubicBezTo>
                  <a:cubicBezTo>
                    <a:pt x="1655" y="788"/>
                    <a:pt x="1676" y="777"/>
                    <a:pt x="1680" y="773"/>
                  </a:cubicBezTo>
                  <a:cubicBezTo>
                    <a:pt x="1690" y="763"/>
                    <a:pt x="1690" y="747"/>
                    <a:pt x="1690" y="747"/>
                  </a:cubicBezTo>
                  <a:cubicBezTo>
                    <a:pt x="1690" y="747"/>
                    <a:pt x="1717" y="736"/>
                    <a:pt x="1717" y="728"/>
                  </a:cubicBezTo>
                  <a:cubicBezTo>
                    <a:pt x="1717" y="720"/>
                    <a:pt x="1707" y="721"/>
                    <a:pt x="1707" y="721"/>
                  </a:cubicBezTo>
                  <a:close/>
                  <a:moveTo>
                    <a:pt x="1598" y="704"/>
                  </a:moveTo>
                  <a:cubicBezTo>
                    <a:pt x="1604" y="718"/>
                    <a:pt x="1624" y="696"/>
                    <a:pt x="1624" y="696"/>
                  </a:cubicBezTo>
                  <a:cubicBezTo>
                    <a:pt x="1639" y="692"/>
                    <a:pt x="1639" y="692"/>
                    <a:pt x="1639" y="692"/>
                  </a:cubicBezTo>
                  <a:cubicBezTo>
                    <a:pt x="1638" y="682"/>
                    <a:pt x="1638" y="682"/>
                    <a:pt x="1638" y="682"/>
                  </a:cubicBezTo>
                  <a:cubicBezTo>
                    <a:pt x="1620" y="679"/>
                    <a:pt x="1620" y="679"/>
                    <a:pt x="1620" y="679"/>
                  </a:cubicBezTo>
                  <a:cubicBezTo>
                    <a:pt x="1620" y="679"/>
                    <a:pt x="1595" y="697"/>
                    <a:pt x="1598" y="704"/>
                  </a:cubicBezTo>
                  <a:close/>
                  <a:moveTo>
                    <a:pt x="1583" y="656"/>
                  </a:moveTo>
                  <a:cubicBezTo>
                    <a:pt x="1576" y="653"/>
                    <a:pt x="1559" y="664"/>
                    <a:pt x="1558" y="670"/>
                  </a:cubicBezTo>
                  <a:cubicBezTo>
                    <a:pt x="1557" y="676"/>
                    <a:pt x="1550" y="689"/>
                    <a:pt x="1550" y="689"/>
                  </a:cubicBezTo>
                  <a:cubicBezTo>
                    <a:pt x="1549" y="698"/>
                    <a:pt x="1549" y="698"/>
                    <a:pt x="1549" y="698"/>
                  </a:cubicBezTo>
                  <a:cubicBezTo>
                    <a:pt x="1549" y="698"/>
                    <a:pt x="1541" y="702"/>
                    <a:pt x="1540" y="709"/>
                  </a:cubicBezTo>
                  <a:cubicBezTo>
                    <a:pt x="1539" y="716"/>
                    <a:pt x="1546" y="720"/>
                    <a:pt x="1546" y="720"/>
                  </a:cubicBezTo>
                  <a:cubicBezTo>
                    <a:pt x="1546" y="720"/>
                    <a:pt x="1559" y="700"/>
                    <a:pt x="1576" y="687"/>
                  </a:cubicBezTo>
                  <a:cubicBezTo>
                    <a:pt x="1593" y="674"/>
                    <a:pt x="1590" y="659"/>
                    <a:pt x="1583" y="656"/>
                  </a:cubicBezTo>
                  <a:close/>
                  <a:moveTo>
                    <a:pt x="525" y="542"/>
                  </a:moveTo>
                  <a:cubicBezTo>
                    <a:pt x="547" y="540"/>
                    <a:pt x="594" y="519"/>
                    <a:pt x="578" y="515"/>
                  </a:cubicBezTo>
                  <a:cubicBezTo>
                    <a:pt x="561" y="510"/>
                    <a:pt x="539" y="507"/>
                    <a:pt x="533" y="513"/>
                  </a:cubicBezTo>
                  <a:cubicBezTo>
                    <a:pt x="527" y="519"/>
                    <a:pt x="514" y="506"/>
                    <a:pt x="510" y="517"/>
                  </a:cubicBezTo>
                  <a:cubicBezTo>
                    <a:pt x="507" y="528"/>
                    <a:pt x="513" y="543"/>
                    <a:pt x="525" y="542"/>
                  </a:cubicBezTo>
                  <a:close/>
                  <a:moveTo>
                    <a:pt x="0" y="886"/>
                  </a:moveTo>
                  <a:cubicBezTo>
                    <a:pt x="41" y="880"/>
                    <a:pt x="41" y="880"/>
                    <a:pt x="41" y="880"/>
                  </a:cubicBezTo>
                  <a:cubicBezTo>
                    <a:pt x="49" y="869"/>
                    <a:pt x="49" y="869"/>
                    <a:pt x="49" y="869"/>
                  </a:cubicBezTo>
                  <a:cubicBezTo>
                    <a:pt x="90" y="863"/>
                    <a:pt x="90" y="863"/>
                    <a:pt x="90" y="863"/>
                  </a:cubicBezTo>
                  <a:cubicBezTo>
                    <a:pt x="76" y="849"/>
                    <a:pt x="76" y="849"/>
                    <a:pt x="76" y="849"/>
                  </a:cubicBezTo>
                  <a:lnTo>
                    <a:pt x="0" y="886"/>
                  </a:lnTo>
                  <a:close/>
                  <a:moveTo>
                    <a:pt x="908" y="635"/>
                  </a:moveTo>
                  <a:cubicBezTo>
                    <a:pt x="905" y="636"/>
                    <a:pt x="892" y="641"/>
                    <a:pt x="892" y="641"/>
                  </a:cubicBezTo>
                  <a:cubicBezTo>
                    <a:pt x="892" y="641"/>
                    <a:pt x="884" y="634"/>
                    <a:pt x="879" y="635"/>
                  </a:cubicBezTo>
                  <a:cubicBezTo>
                    <a:pt x="874" y="636"/>
                    <a:pt x="875" y="651"/>
                    <a:pt x="875" y="651"/>
                  </a:cubicBezTo>
                  <a:cubicBezTo>
                    <a:pt x="859" y="663"/>
                    <a:pt x="859" y="663"/>
                    <a:pt x="859" y="663"/>
                  </a:cubicBezTo>
                  <a:cubicBezTo>
                    <a:pt x="859" y="646"/>
                    <a:pt x="859" y="646"/>
                    <a:pt x="859" y="646"/>
                  </a:cubicBezTo>
                  <a:cubicBezTo>
                    <a:pt x="859" y="646"/>
                    <a:pt x="845" y="641"/>
                    <a:pt x="831" y="654"/>
                  </a:cubicBezTo>
                  <a:cubicBezTo>
                    <a:pt x="831" y="654"/>
                    <a:pt x="814" y="665"/>
                    <a:pt x="811" y="672"/>
                  </a:cubicBezTo>
                  <a:cubicBezTo>
                    <a:pt x="809" y="680"/>
                    <a:pt x="831" y="681"/>
                    <a:pt x="831" y="681"/>
                  </a:cubicBezTo>
                  <a:cubicBezTo>
                    <a:pt x="831" y="681"/>
                    <a:pt x="861" y="681"/>
                    <a:pt x="872" y="676"/>
                  </a:cubicBezTo>
                  <a:cubicBezTo>
                    <a:pt x="884" y="671"/>
                    <a:pt x="881" y="664"/>
                    <a:pt x="881" y="664"/>
                  </a:cubicBezTo>
                  <a:cubicBezTo>
                    <a:pt x="899" y="661"/>
                    <a:pt x="899" y="661"/>
                    <a:pt x="899" y="661"/>
                  </a:cubicBezTo>
                  <a:cubicBezTo>
                    <a:pt x="900" y="655"/>
                    <a:pt x="900" y="655"/>
                    <a:pt x="900" y="655"/>
                  </a:cubicBezTo>
                  <a:cubicBezTo>
                    <a:pt x="925" y="654"/>
                    <a:pt x="925" y="654"/>
                    <a:pt x="925" y="654"/>
                  </a:cubicBezTo>
                  <a:cubicBezTo>
                    <a:pt x="931" y="638"/>
                    <a:pt x="931" y="638"/>
                    <a:pt x="931" y="638"/>
                  </a:cubicBezTo>
                  <a:cubicBezTo>
                    <a:pt x="920" y="640"/>
                    <a:pt x="920" y="640"/>
                    <a:pt x="920" y="640"/>
                  </a:cubicBezTo>
                  <a:cubicBezTo>
                    <a:pt x="920" y="640"/>
                    <a:pt x="912" y="634"/>
                    <a:pt x="908" y="635"/>
                  </a:cubicBezTo>
                  <a:close/>
                  <a:moveTo>
                    <a:pt x="107" y="860"/>
                  </a:moveTo>
                  <a:cubicBezTo>
                    <a:pt x="135" y="859"/>
                    <a:pt x="135" y="859"/>
                    <a:pt x="135" y="859"/>
                  </a:cubicBezTo>
                  <a:cubicBezTo>
                    <a:pt x="161" y="840"/>
                    <a:pt x="161" y="840"/>
                    <a:pt x="161" y="840"/>
                  </a:cubicBezTo>
                  <a:cubicBezTo>
                    <a:pt x="152" y="829"/>
                    <a:pt x="152" y="829"/>
                    <a:pt x="152" y="829"/>
                  </a:cubicBezTo>
                  <a:lnTo>
                    <a:pt x="107" y="860"/>
                  </a:lnTo>
                  <a:close/>
                  <a:moveTo>
                    <a:pt x="1646" y="762"/>
                  </a:moveTo>
                  <a:cubicBezTo>
                    <a:pt x="1652" y="749"/>
                    <a:pt x="1637" y="734"/>
                    <a:pt x="1627" y="744"/>
                  </a:cubicBezTo>
                  <a:cubicBezTo>
                    <a:pt x="1617" y="754"/>
                    <a:pt x="1611" y="784"/>
                    <a:pt x="1611" y="784"/>
                  </a:cubicBezTo>
                  <a:cubicBezTo>
                    <a:pt x="1611" y="784"/>
                    <a:pt x="1624" y="773"/>
                    <a:pt x="1629" y="773"/>
                  </a:cubicBezTo>
                  <a:cubicBezTo>
                    <a:pt x="1634" y="773"/>
                    <a:pt x="1640" y="775"/>
                    <a:pt x="1646" y="762"/>
                  </a:cubicBezTo>
                  <a:close/>
                  <a:moveTo>
                    <a:pt x="953" y="609"/>
                  </a:moveTo>
                  <a:cubicBezTo>
                    <a:pt x="940" y="618"/>
                    <a:pt x="916" y="623"/>
                    <a:pt x="923" y="630"/>
                  </a:cubicBezTo>
                  <a:cubicBezTo>
                    <a:pt x="934" y="641"/>
                    <a:pt x="959" y="629"/>
                    <a:pt x="959" y="629"/>
                  </a:cubicBezTo>
                  <a:cubicBezTo>
                    <a:pt x="966" y="620"/>
                    <a:pt x="966" y="620"/>
                    <a:pt x="966" y="620"/>
                  </a:cubicBezTo>
                  <a:cubicBezTo>
                    <a:pt x="966" y="620"/>
                    <a:pt x="982" y="624"/>
                    <a:pt x="979" y="618"/>
                  </a:cubicBezTo>
                  <a:cubicBezTo>
                    <a:pt x="977" y="612"/>
                    <a:pt x="967" y="600"/>
                    <a:pt x="953" y="609"/>
                  </a:cubicBezTo>
                  <a:close/>
                  <a:moveTo>
                    <a:pt x="331" y="777"/>
                  </a:moveTo>
                  <a:cubicBezTo>
                    <a:pt x="319" y="777"/>
                    <a:pt x="290" y="788"/>
                    <a:pt x="290" y="788"/>
                  </a:cubicBezTo>
                  <a:cubicBezTo>
                    <a:pt x="290" y="788"/>
                    <a:pt x="253" y="802"/>
                    <a:pt x="254" y="809"/>
                  </a:cubicBezTo>
                  <a:cubicBezTo>
                    <a:pt x="256" y="818"/>
                    <a:pt x="270" y="812"/>
                    <a:pt x="289" y="806"/>
                  </a:cubicBezTo>
                  <a:cubicBezTo>
                    <a:pt x="308" y="799"/>
                    <a:pt x="328" y="809"/>
                    <a:pt x="335" y="803"/>
                  </a:cubicBezTo>
                  <a:cubicBezTo>
                    <a:pt x="342" y="797"/>
                    <a:pt x="344" y="777"/>
                    <a:pt x="331" y="777"/>
                  </a:cubicBezTo>
                  <a:close/>
                  <a:moveTo>
                    <a:pt x="219" y="828"/>
                  </a:moveTo>
                  <a:cubicBezTo>
                    <a:pt x="221" y="814"/>
                    <a:pt x="221" y="814"/>
                    <a:pt x="221" y="814"/>
                  </a:cubicBezTo>
                  <a:cubicBezTo>
                    <a:pt x="184" y="829"/>
                    <a:pt x="184" y="829"/>
                    <a:pt x="184" y="829"/>
                  </a:cubicBezTo>
                  <a:lnTo>
                    <a:pt x="219" y="828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  <p:sp>
          <p:nvSpPr>
            <p:cNvPr id="35060" name="Freeform 176"/>
            <p:cNvSpPr>
              <a:spLocks noEditPoints="1"/>
            </p:cNvSpPr>
            <p:nvPr/>
          </p:nvSpPr>
          <p:spPr bwMode="auto">
            <a:xfrm>
              <a:off x="623" y="1747"/>
              <a:ext cx="989" cy="494"/>
            </a:xfrm>
            <a:custGeom>
              <a:avLst/>
              <a:gdLst>
                <a:gd name="T0" fmla="*/ 0 w 2609"/>
                <a:gd name="T1" fmla="*/ 0 h 1304"/>
                <a:gd name="T2" fmla="*/ 0 w 2609"/>
                <a:gd name="T3" fmla="*/ 0 h 1304"/>
                <a:gd name="T4" fmla="*/ 0 w 2609"/>
                <a:gd name="T5" fmla="*/ 0 h 1304"/>
                <a:gd name="T6" fmla="*/ 0 w 2609"/>
                <a:gd name="T7" fmla="*/ 0 h 1304"/>
                <a:gd name="T8" fmla="*/ 0 w 2609"/>
                <a:gd name="T9" fmla="*/ 0 h 1304"/>
                <a:gd name="T10" fmla="*/ 0 w 2609"/>
                <a:gd name="T11" fmla="*/ 0 h 1304"/>
                <a:gd name="T12" fmla="*/ 0 w 2609"/>
                <a:gd name="T13" fmla="*/ 0 h 1304"/>
                <a:gd name="T14" fmla="*/ 0 w 2609"/>
                <a:gd name="T15" fmla="*/ 0 h 1304"/>
                <a:gd name="T16" fmla="*/ 0 w 2609"/>
                <a:gd name="T17" fmla="*/ 0 h 1304"/>
                <a:gd name="T18" fmla="*/ 0 w 2609"/>
                <a:gd name="T19" fmla="*/ 0 h 1304"/>
                <a:gd name="T20" fmla="*/ 0 w 2609"/>
                <a:gd name="T21" fmla="*/ 0 h 1304"/>
                <a:gd name="T22" fmla="*/ 0 w 2609"/>
                <a:gd name="T23" fmla="*/ 0 h 1304"/>
                <a:gd name="T24" fmla="*/ 0 w 2609"/>
                <a:gd name="T25" fmla="*/ 0 h 1304"/>
                <a:gd name="T26" fmla="*/ 0 w 2609"/>
                <a:gd name="T27" fmla="*/ 0 h 1304"/>
                <a:gd name="T28" fmla="*/ 0 w 2609"/>
                <a:gd name="T29" fmla="*/ 0 h 1304"/>
                <a:gd name="T30" fmla="*/ 0 w 2609"/>
                <a:gd name="T31" fmla="*/ 0 h 1304"/>
                <a:gd name="T32" fmla="*/ 0 w 2609"/>
                <a:gd name="T33" fmla="*/ 0 h 1304"/>
                <a:gd name="T34" fmla="*/ 0 w 2609"/>
                <a:gd name="T35" fmla="*/ 0 h 1304"/>
                <a:gd name="T36" fmla="*/ 0 w 2609"/>
                <a:gd name="T37" fmla="*/ 0 h 1304"/>
                <a:gd name="T38" fmla="*/ 0 w 2609"/>
                <a:gd name="T39" fmla="*/ 0 h 1304"/>
                <a:gd name="T40" fmla="*/ 0 w 2609"/>
                <a:gd name="T41" fmla="*/ 0 h 1304"/>
                <a:gd name="T42" fmla="*/ 0 w 2609"/>
                <a:gd name="T43" fmla="*/ 0 h 1304"/>
                <a:gd name="T44" fmla="*/ 0 w 2609"/>
                <a:gd name="T45" fmla="*/ 0 h 1304"/>
                <a:gd name="T46" fmla="*/ 0 w 2609"/>
                <a:gd name="T47" fmla="*/ 0 h 1304"/>
                <a:gd name="T48" fmla="*/ 0 w 2609"/>
                <a:gd name="T49" fmla="*/ 0 h 1304"/>
                <a:gd name="T50" fmla="*/ 0 w 2609"/>
                <a:gd name="T51" fmla="*/ 0 h 1304"/>
                <a:gd name="T52" fmla="*/ 0 w 2609"/>
                <a:gd name="T53" fmla="*/ 0 h 1304"/>
                <a:gd name="T54" fmla="*/ 0 w 2609"/>
                <a:gd name="T55" fmla="*/ 0 h 1304"/>
                <a:gd name="T56" fmla="*/ 0 w 2609"/>
                <a:gd name="T57" fmla="*/ 0 h 1304"/>
                <a:gd name="T58" fmla="*/ 0 w 2609"/>
                <a:gd name="T59" fmla="*/ 0 h 1304"/>
                <a:gd name="T60" fmla="*/ 0 w 2609"/>
                <a:gd name="T61" fmla="*/ 0 h 1304"/>
                <a:gd name="T62" fmla="*/ 0 w 2609"/>
                <a:gd name="T63" fmla="*/ 0 h 1304"/>
                <a:gd name="T64" fmla="*/ 0 w 2609"/>
                <a:gd name="T65" fmla="*/ 0 h 1304"/>
                <a:gd name="T66" fmla="*/ 0 w 2609"/>
                <a:gd name="T67" fmla="*/ 0 h 1304"/>
                <a:gd name="T68" fmla="*/ 0 w 2609"/>
                <a:gd name="T69" fmla="*/ 0 h 1304"/>
                <a:gd name="T70" fmla="*/ 0 w 2609"/>
                <a:gd name="T71" fmla="*/ 0 h 1304"/>
                <a:gd name="T72" fmla="*/ 0 w 2609"/>
                <a:gd name="T73" fmla="*/ 0 h 1304"/>
                <a:gd name="T74" fmla="*/ 0 w 2609"/>
                <a:gd name="T75" fmla="*/ 0 h 1304"/>
                <a:gd name="T76" fmla="*/ 0 w 2609"/>
                <a:gd name="T77" fmla="*/ 0 h 1304"/>
                <a:gd name="T78" fmla="*/ 0 w 2609"/>
                <a:gd name="T79" fmla="*/ 0 h 1304"/>
                <a:gd name="T80" fmla="*/ 0 w 2609"/>
                <a:gd name="T81" fmla="*/ 0 h 1304"/>
                <a:gd name="T82" fmla="*/ 0 w 2609"/>
                <a:gd name="T83" fmla="*/ 0 h 1304"/>
                <a:gd name="T84" fmla="*/ 0 w 2609"/>
                <a:gd name="T85" fmla="*/ 0 h 1304"/>
                <a:gd name="T86" fmla="*/ 0 w 2609"/>
                <a:gd name="T87" fmla="*/ 0 h 1304"/>
                <a:gd name="T88" fmla="*/ 0 w 2609"/>
                <a:gd name="T89" fmla="*/ 0 h 1304"/>
                <a:gd name="T90" fmla="*/ 0 w 2609"/>
                <a:gd name="T91" fmla="*/ 0 h 1304"/>
                <a:gd name="T92" fmla="*/ 0 w 2609"/>
                <a:gd name="T93" fmla="*/ 0 h 1304"/>
                <a:gd name="T94" fmla="*/ 0 w 2609"/>
                <a:gd name="T95" fmla="*/ 0 h 1304"/>
                <a:gd name="T96" fmla="*/ 0 w 2609"/>
                <a:gd name="T97" fmla="*/ 0 h 1304"/>
                <a:gd name="T98" fmla="*/ 0 w 2609"/>
                <a:gd name="T99" fmla="*/ 0 h 1304"/>
                <a:gd name="T100" fmla="*/ 0 w 2609"/>
                <a:gd name="T101" fmla="*/ 0 h 1304"/>
                <a:gd name="T102" fmla="*/ 0 w 2609"/>
                <a:gd name="T103" fmla="*/ 0 h 1304"/>
                <a:gd name="T104" fmla="*/ 0 w 2609"/>
                <a:gd name="T105" fmla="*/ 0 h 1304"/>
                <a:gd name="T106" fmla="*/ 0 w 2609"/>
                <a:gd name="T107" fmla="*/ 0 h 1304"/>
                <a:gd name="T108" fmla="*/ 0 w 2609"/>
                <a:gd name="T109" fmla="*/ 0 h 13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609"/>
                <a:gd name="T166" fmla="*/ 0 h 1304"/>
                <a:gd name="T167" fmla="*/ 2609 w 2609"/>
                <a:gd name="T168" fmla="*/ 1304 h 13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609" h="1304">
                  <a:moveTo>
                    <a:pt x="2570" y="119"/>
                  </a:moveTo>
                  <a:cubicBezTo>
                    <a:pt x="2558" y="119"/>
                    <a:pt x="2567" y="110"/>
                    <a:pt x="2554" y="110"/>
                  </a:cubicBezTo>
                  <a:cubicBezTo>
                    <a:pt x="2541" y="110"/>
                    <a:pt x="2530" y="131"/>
                    <a:pt x="2530" y="131"/>
                  </a:cubicBezTo>
                  <a:cubicBezTo>
                    <a:pt x="2503" y="150"/>
                    <a:pt x="2503" y="150"/>
                    <a:pt x="2503" y="150"/>
                  </a:cubicBezTo>
                  <a:cubicBezTo>
                    <a:pt x="2503" y="164"/>
                    <a:pt x="2503" y="164"/>
                    <a:pt x="2503" y="164"/>
                  </a:cubicBezTo>
                  <a:cubicBezTo>
                    <a:pt x="2503" y="164"/>
                    <a:pt x="2495" y="172"/>
                    <a:pt x="2489" y="172"/>
                  </a:cubicBezTo>
                  <a:cubicBezTo>
                    <a:pt x="2483" y="172"/>
                    <a:pt x="2480" y="194"/>
                    <a:pt x="2480" y="201"/>
                  </a:cubicBezTo>
                  <a:cubicBezTo>
                    <a:pt x="2480" y="208"/>
                    <a:pt x="2473" y="201"/>
                    <a:pt x="2463" y="201"/>
                  </a:cubicBezTo>
                  <a:cubicBezTo>
                    <a:pt x="2454" y="201"/>
                    <a:pt x="2443" y="222"/>
                    <a:pt x="2443" y="222"/>
                  </a:cubicBezTo>
                  <a:cubicBezTo>
                    <a:pt x="2443" y="222"/>
                    <a:pt x="2435" y="223"/>
                    <a:pt x="2423" y="223"/>
                  </a:cubicBezTo>
                  <a:cubicBezTo>
                    <a:pt x="2411" y="223"/>
                    <a:pt x="2411" y="238"/>
                    <a:pt x="2411" y="238"/>
                  </a:cubicBezTo>
                  <a:cubicBezTo>
                    <a:pt x="2411" y="238"/>
                    <a:pt x="2280" y="238"/>
                    <a:pt x="2263" y="238"/>
                  </a:cubicBezTo>
                  <a:cubicBezTo>
                    <a:pt x="2246" y="238"/>
                    <a:pt x="2212" y="276"/>
                    <a:pt x="2204" y="276"/>
                  </a:cubicBezTo>
                  <a:cubicBezTo>
                    <a:pt x="2196" y="276"/>
                    <a:pt x="2194" y="278"/>
                    <a:pt x="2188" y="278"/>
                  </a:cubicBezTo>
                  <a:cubicBezTo>
                    <a:pt x="2187" y="278"/>
                    <a:pt x="2185" y="279"/>
                    <a:pt x="2183" y="280"/>
                  </a:cubicBezTo>
                  <a:cubicBezTo>
                    <a:pt x="2188" y="285"/>
                    <a:pt x="2189" y="291"/>
                    <a:pt x="2189" y="291"/>
                  </a:cubicBezTo>
                  <a:cubicBezTo>
                    <a:pt x="2189" y="291"/>
                    <a:pt x="2188" y="299"/>
                    <a:pt x="2181" y="305"/>
                  </a:cubicBezTo>
                  <a:cubicBezTo>
                    <a:pt x="2174" y="311"/>
                    <a:pt x="2174" y="321"/>
                    <a:pt x="2174" y="321"/>
                  </a:cubicBezTo>
                  <a:cubicBezTo>
                    <a:pt x="2162" y="320"/>
                    <a:pt x="2162" y="320"/>
                    <a:pt x="2162" y="320"/>
                  </a:cubicBezTo>
                  <a:cubicBezTo>
                    <a:pt x="2162" y="320"/>
                    <a:pt x="2162" y="324"/>
                    <a:pt x="2150" y="329"/>
                  </a:cubicBezTo>
                  <a:cubicBezTo>
                    <a:pt x="2138" y="334"/>
                    <a:pt x="2132" y="324"/>
                    <a:pt x="2132" y="324"/>
                  </a:cubicBezTo>
                  <a:cubicBezTo>
                    <a:pt x="2132" y="324"/>
                    <a:pt x="2127" y="332"/>
                    <a:pt x="2114" y="333"/>
                  </a:cubicBezTo>
                  <a:cubicBezTo>
                    <a:pt x="2101" y="334"/>
                    <a:pt x="2097" y="324"/>
                    <a:pt x="2088" y="323"/>
                  </a:cubicBezTo>
                  <a:cubicBezTo>
                    <a:pt x="2079" y="322"/>
                    <a:pt x="2072" y="330"/>
                    <a:pt x="2051" y="335"/>
                  </a:cubicBezTo>
                  <a:cubicBezTo>
                    <a:pt x="2050" y="335"/>
                    <a:pt x="2048" y="336"/>
                    <a:pt x="2047" y="336"/>
                  </a:cubicBezTo>
                  <a:cubicBezTo>
                    <a:pt x="2048" y="340"/>
                    <a:pt x="2048" y="344"/>
                    <a:pt x="2046" y="350"/>
                  </a:cubicBezTo>
                  <a:cubicBezTo>
                    <a:pt x="2045" y="352"/>
                    <a:pt x="2043" y="354"/>
                    <a:pt x="2040" y="357"/>
                  </a:cubicBezTo>
                  <a:cubicBezTo>
                    <a:pt x="2049" y="357"/>
                    <a:pt x="2049" y="357"/>
                    <a:pt x="2049" y="357"/>
                  </a:cubicBezTo>
                  <a:cubicBezTo>
                    <a:pt x="2049" y="357"/>
                    <a:pt x="1969" y="398"/>
                    <a:pt x="1961" y="401"/>
                  </a:cubicBezTo>
                  <a:cubicBezTo>
                    <a:pt x="1953" y="404"/>
                    <a:pt x="1945" y="407"/>
                    <a:pt x="1925" y="412"/>
                  </a:cubicBezTo>
                  <a:cubicBezTo>
                    <a:pt x="1905" y="417"/>
                    <a:pt x="1897" y="423"/>
                    <a:pt x="1890" y="426"/>
                  </a:cubicBezTo>
                  <a:cubicBezTo>
                    <a:pt x="1883" y="429"/>
                    <a:pt x="1871" y="427"/>
                    <a:pt x="1871" y="427"/>
                  </a:cubicBezTo>
                  <a:cubicBezTo>
                    <a:pt x="1871" y="427"/>
                    <a:pt x="1871" y="432"/>
                    <a:pt x="1859" y="433"/>
                  </a:cubicBezTo>
                  <a:cubicBezTo>
                    <a:pt x="1847" y="434"/>
                    <a:pt x="1846" y="423"/>
                    <a:pt x="1846" y="423"/>
                  </a:cubicBezTo>
                  <a:cubicBezTo>
                    <a:pt x="1846" y="423"/>
                    <a:pt x="1824" y="420"/>
                    <a:pt x="1824" y="413"/>
                  </a:cubicBezTo>
                  <a:cubicBezTo>
                    <a:pt x="1824" y="413"/>
                    <a:pt x="1837" y="407"/>
                    <a:pt x="1848" y="402"/>
                  </a:cubicBezTo>
                  <a:cubicBezTo>
                    <a:pt x="1847" y="401"/>
                    <a:pt x="1847" y="400"/>
                    <a:pt x="1846" y="400"/>
                  </a:cubicBezTo>
                  <a:cubicBezTo>
                    <a:pt x="1836" y="390"/>
                    <a:pt x="1881" y="368"/>
                    <a:pt x="1889" y="368"/>
                  </a:cubicBezTo>
                  <a:cubicBezTo>
                    <a:pt x="1897" y="368"/>
                    <a:pt x="1895" y="347"/>
                    <a:pt x="1895" y="347"/>
                  </a:cubicBezTo>
                  <a:cubicBezTo>
                    <a:pt x="1895" y="347"/>
                    <a:pt x="1898" y="343"/>
                    <a:pt x="1902" y="338"/>
                  </a:cubicBezTo>
                  <a:cubicBezTo>
                    <a:pt x="1902" y="337"/>
                    <a:pt x="1901" y="337"/>
                    <a:pt x="1901" y="337"/>
                  </a:cubicBezTo>
                  <a:cubicBezTo>
                    <a:pt x="1895" y="331"/>
                    <a:pt x="1908" y="302"/>
                    <a:pt x="1906" y="294"/>
                  </a:cubicBezTo>
                  <a:cubicBezTo>
                    <a:pt x="1904" y="286"/>
                    <a:pt x="1890" y="293"/>
                    <a:pt x="1884" y="298"/>
                  </a:cubicBezTo>
                  <a:cubicBezTo>
                    <a:pt x="1878" y="303"/>
                    <a:pt x="1850" y="321"/>
                    <a:pt x="1848" y="308"/>
                  </a:cubicBezTo>
                  <a:cubicBezTo>
                    <a:pt x="1847" y="302"/>
                    <a:pt x="1871" y="288"/>
                    <a:pt x="1874" y="283"/>
                  </a:cubicBezTo>
                  <a:cubicBezTo>
                    <a:pt x="1877" y="278"/>
                    <a:pt x="1888" y="275"/>
                    <a:pt x="1897" y="269"/>
                  </a:cubicBezTo>
                  <a:cubicBezTo>
                    <a:pt x="1906" y="263"/>
                    <a:pt x="1898" y="240"/>
                    <a:pt x="1898" y="240"/>
                  </a:cubicBezTo>
                  <a:cubicBezTo>
                    <a:pt x="1898" y="240"/>
                    <a:pt x="1901" y="245"/>
                    <a:pt x="1909" y="228"/>
                  </a:cubicBezTo>
                  <a:cubicBezTo>
                    <a:pt x="1917" y="211"/>
                    <a:pt x="1897" y="218"/>
                    <a:pt x="1888" y="211"/>
                  </a:cubicBezTo>
                  <a:cubicBezTo>
                    <a:pt x="1879" y="204"/>
                    <a:pt x="1879" y="198"/>
                    <a:pt x="1879" y="198"/>
                  </a:cubicBezTo>
                  <a:cubicBezTo>
                    <a:pt x="1879" y="198"/>
                    <a:pt x="1876" y="205"/>
                    <a:pt x="1871" y="200"/>
                  </a:cubicBezTo>
                  <a:cubicBezTo>
                    <a:pt x="1866" y="195"/>
                    <a:pt x="1872" y="185"/>
                    <a:pt x="1872" y="185"/>
                  </a:cubicBezTo>
                  <a:cubicBezTo>
                    <a:pt x="1896" y="189"/>
                    <a:pt x="1896" y="189"/>
                    <a:pt x="1896" y="189"/>
                  </a:cubicBezTo>
                  <a:cubicBezTo>
                    <a:pt x="1896" y="189"/>
                    <a:pt x="1900" y="186"/>
                    <a:pt x="1897" y="178"/>
                  </a:cubicBezTo>
                  <a:cubicBezTo>
                    <a:pt x="1896" y="174"/>
                    <a:pt x="1900" y="174"/>
                    <a:pt x="1905" y="174"/>
                  </a:cubicBezTo>
                  <a:cubicBezTo>
                    <a:pt x="1909" y="159"/>
                    <a:pt x="1909" y="159"/>
                    <a:pt x="1909" y="159"/>
                  </a:cubicBezTo>
                  <a:cubicBezTo>
                    <a:pt x="1896" y="159"/>
                    <a:pt x="1896" y="159"/>
                    <a:pt x="1896" y="159"/>
                  </a:cubicBezTo>
                  <a:cubicBezTo>
                    <a:pt x="1894" y="167"/>
                    <a:pt x="1894" y="167"/>
                    <a:pt x="1894" y="167"/>
                  </a:cubicBezTo>
                  <a:cubicBezTo>
                    <a:pt x="1878" y="161"/>
                    <a:pt x="1878" y="161"/>
                    <a:pt x="1878" y="161"/>
                  </a:cubicBezTo>
                  <a:cubicBezTo>
                    <a:pt x="1877" y="147"/>
                    <a:pt x="1877" y="147"/>
                    <a:pt x="1877" y="147"/>
                  </a:cubicBezTo>
                  <a:cubicBezTo>
                    <a:pt x="1868" y="149"/>
                    <a:pt x="1868" y="149"/>
                    <a:pt x="1868" y="149"/>
                  </a:cubicBezTo>
                  <a:cubicBezTo>
                    <a:pt x="1857" y="154"/>
                    <a:pt x="1857" y="154"/>
                    <a:pt x="1857" y="154"/>
                  </a:cubicBezTo>
                  <a:cubicBezTo>
                    <a:pt x="1821" y="151"/>
                    <a:pt x="1821" y="151"/>
                    <a:pt x="1821" y="151"/>
                  </a:cubicBezTo>
                  <a:cubicBezTo>
                    <a:pt x="1821" y="151"/>
                    <a:pt x="1808" y="162"/>
                    <a:pt x="1787" y="160"/>
                  </a:cubicBezTo>
                  <a:cubicBezTo>
                    <a:pt x="1766" y="158"/>
                    <a:pt x="1771" y="144"/>
                    <a:pt x="1767" y="139"/>
                  </a:cubicBezTo>
                  <a:cubicBezTo>
                    <a:pt x="1763" y="134"/>
                    <a:pt x="1743" y="145"/>
                    <a:pt x="1740" y="136"/>
                  </a:cubicBezTo>
                  <a:cubicBezTo>
                    <a:pt x="1777" y="115"/>
                    <a:pt x="1777" y="115"/>
                    <a:pt x="1777" y="115"/>
                  </a:cubicBezTo>
                  <a:cubicBezTo>
                    <a:pt x="1777" y="115"/>
                    <a:pt x="1772" y="110"/>
                    <a:pt x="1765" y="110"/>
                  </a:cubicBezTo>
                  <a:cubicBezTo>
                    <a:pt x="1758" y="110"/>
                    <a:pt x="1744" y="122"/>
                    <a:pt x="1740" y="123"/>
                  </a:cubicBezTo>
                  <a:cubicBezTo>
                    <a:pt x="1736" y="124"/>
                    <a:pt x="1714" y="137"/>
                    <a:pt x="1700" y="142"/>
                  </a:cubicBezTo>
                  <a:cubicBezTo>
                    <a:pt x="1686" y="147"/>
                    <a:pt x="1670" y="144"/>
                    <a:pt x="1670" y="144"/>
                  </a:cubicBezTo>
                  <a:cubicBezTo>
                    <a:pt x="1664" y="153"/>
                    <a:pt x="1664" y="153"/>
                    <a:pt x="1664" y="153"/>
                  </a:cubicBezTo>
                  <a:cubicBezTo>
                    <a:pt x="1664" y="153"/>
                    <a:pt x="1640" y="155"/>
                    <a:pt x="1631" y="154"/>
                  </a:cubicBezTo>
                  <a:cubicBezTo>
                    <a:pt x="1622" y="153"/>
                    <a:pt x="1646" y="136"/>
                    <a:pt x="1646" y="136"/>
                  </a:cubicBezTo>
                  <a:cubicBezTo>
                    <a:pt x="1646" y="136"/>
                    <a:pt x="1636" y="140"/>
                    <a:pt x="1617" y="141"/>
                  </a:cubicBezTo>
                  <a:cubicBezTo>
                    <a:pt x="1598" y="142"/>
                    <a:pt x="1596" y="154"/>
                    <a:pt x="1579" y="148"/>
                  </a:cubicBezTo>
                  <a:cubicBezTo>
                    <a:pt x="1562" y="142"/>
                    <a:pt x="1655" y="109"/>
                    <a:pt x="1667" y="101"/>
                  </a:cubicBezTo>
                  <a:cubicBezTo>
                    <a:pt x="1679" y="93"/>
                    <a:pt x="1694" y="90"/>
                    <a:pt x="1713" y="86"/>
                  </a:cubicBezTo>
                  <a:cubicBezTo>
                    <a:pt x="1718" y="85"/>
                    <a:pt x="1722" y="83"/>
                    <a:pt x="1726" y="80"/>
                  </a:cubicBezTo>
                  <a:cubicBezTo>
                    <a:pt x="1698" y="80"/>
                    <a:pt x="1701" y="74"/>
                    <a:pt x="1701" y="74"/>
                  </a:cubicBezTo>
                  <a:cubicBezTo>
                    <a:pt x="1671" y="75"/>
                    <a:pt x="1671" y="75"/>
                    <a:pt x="1671" y="75"/>
                  </a:cubicBezTo>
                  <a:cubicBezTo>
                    <a:pt x="1671" y="65"/>
                    <a:pt x="1671" y="65"/>
                    <a:pt x="1671" y="65"/>
                  </a:cubicBezTo>
                  <a:cubicBezTo>
                    <a:pt x="1671" y="65"/>
                    <a:pt x="1655" y="76"/>
                    <a:pt x="1649" y="82"/>
                  </a:cubicBezTo>
                  <a:cubicBezTo>
                    <a:pt x="1643" y="88"/>
                    <a:pt x="1630" y="64"/>
                    <a:pt x="1627" y="67"/>
                  </a:cubicBezTo>
                  <a:cubicBezTo>
                    <a:pt x="1624" y="70"/>
                    <a:pt x="1617" y="67"/>
                    <a:pt x="1611" y="67"/>
                  </a:cubicBezTo>
                  <a:cubicBezTo>
                    <a:pt x="1605" y="67"/>
                    <a:pt x="1602" y="47"/>
                    <a:pt x="1589" y="47"/>
                  </a:cubicBezTo>
                  <a:cubicBezTo>
                    <a:pt x="1576" y="47"/>
                    <a:pt x="1578" y="59"/>
                    <a:pt x="1570" y="59"/>
                  </a:cubicBezTo>
                  <a:cubicBezTo>
                    <a:pt x="1562" y="59"/>
                    <a:pt x="1555" y="49"/>
                    <a:pt x="1555" y="49"/>
                  </a:cubicBezTo>
                  <a:cubicBezTo>
                    <a:pt x="1555" y="49"/>
                    <a:pt x="1536" y="48"/>
                    <a:pt x="1528" y="40"/>
                  </a:cubicBezTo>
                  <a:cubicBezTo>
                    <a:pt x="1519" y="31"/>
                    <a:pt x="1544" y="21"/>
                    <a:pt x="1534" y="11"/>
                  </a:cubicBezTo>
                  <a:cubicBezTo>
                    <a:pt x="1524" y="0"/>
                    <a:pt x="1510" y="35"/>
                    <a:pt x="1510" y="35"/>
                  </a:cubicBezTo>
                  <a:cubicBezTo>
                    <a:pt x="368" y="35"/>
                    <a:pt x="368" y="35"/>
                    <a:pt x="368" y="35"/>
                  </a:cubicBezTo>
                  <a:cubicBezTo>
                    <a:pt x="367" y="42"/>
                    <a:pt x="365" y="48"/>
                    <a:pt x="364" y="50"/>
                  </a:cubicBezTo>
                  <a:cubicBezTo>
                    <a:pt x="360" y="56"/>
                    <a:pt x="359" y="80"/>
                    <a:pt x="359" y="80"/>
                  </a:cubicBezTo>
                  <a:cubicBezTo>
                    <a:pt x="337" y="92"/>
                    <a:pt x="337" y="92"/>
                    <a:pt x="337" y="92"/>
                  </a:cubicBezTo>
                  <a:cubicBezTo>
                    <a:pt x="335" y="104"/>
                    <a:pt x="335" y="104"/>
                    <a:pt x="335" y="104"/>
                  </a:cubicBezTo>
                  <a:cubicBezTo>
                    <a:pt x="324" y="119"/>
                    <a:pt x="324" y="119"/>
                    <a:pt x="324" y="119"/>
                  </a:cubicBezTo>
                  <a:cubicBezTo>
                    <a:pt x="292" y="130"/>
                    <a:pt x="292" y="130"/>
                    <a:pt x="292" y="130"/>
                  </a:cubicBezTo>
                  <a:cubicBezTo>
                    <a:pt x="315" y="117"/>
                    <a:pt x="315" y="117"/>
                    <a:pt x="315" y="117"/>
                  </a:cubicBezTo>
                  <a:cubicBezTo>
                    <a:pt x="300" y="115"/>
                    <a:pt x="300" y="115"/>
                    <a:pt x="300" y="115"/>
                  </a:cubicBezTo>
                  <a:cubicBezTo>
                    <a:pt x="300" y="115"/>
                    <a:pt x="314" y="95"/>
                    <a:pt x="318" y="92"/>
                  </a:cubicBezTo>
                  <a:cubicBezTo>
                    <a:pt x="322" y="89"/>
                    <a:pt x="342" y="75"/>
                    <a:pt x="332" y="75"/>
                  </a:cubicBezTo>
                  <a:cubicBezTo>
                    <a:pt x="322" y="75"/>
                    <a:pt x="313" y="77"/>
                    <a:pt x="303" y="76"/>
                  </a:cubicBezTo>
                  <a:cubicBezTo>
                    <a:pt x="293" y="75"/>
                    <a:pt x="284" y="57"/>
                    <a:pt x="275" y="61"/>
                  </a:cubicBezTo>
                  <a:cubicBezTo>
                    <a:pt x="266" y="65"/>
                    <a:pt x="257" y="57"/>
                    <a:pt x="255" y="78"/>
                  </a:cubicBezTo>
                  <a:cubicBezTo>
                    <a:pt x="253" y="99"/>
                    <a:pt x="255" y="111"/>
                    <a:pt x="252" y="113"/>
                  </a:cubicBezTo>
                  <a:cubicBezTo>
                    <a:pt x="249" y="115"/>
                    <a:pt x="239" y="130"/>
                    <a:pt x="239" y="130"/>
                  </a:cubicBezTo>
                  <a:cubicBezTo>
                    <a:pt x="257" y="134"/>
                    <a:pt x="257" y="134"/>
                    <a:pt x="257" y="134"/>
                  </a:cubicBezTo>
                  <a:cubicBezTo>
                    <a:pt x="238" y="137"/>
                    <a:pt x="238" y="137"/>
                    <a:pt x="238" y="137"/>
                  </a:cubicBezTo>
                  <a:cubicBezTo>
                    <a:pt x="241" y="148"/>
                    <a:pt x="241" y="148"/>
                    <a:pt x="241" y="148"/>
                  </a:cubicBezTo>
                  <a:cubicBezTo>
                    <a:pt x="230" y="165"/>
                    <a:pt x="230" y="165"/>
                    <a:pt x="230" y="165"/>
                  </a:cubicBezTo>
                  <a:cubicBezTo>
                    <a:pt x="230" y="165"/>
                    <a:pt x="251" y="173"/>
                    <a:pt x="250" y="177"/>
                  </a:cubicBezTo>
                  <a:cubicBezTo>
                    <a:pt x="249" y="181"/>
                    <a:pt x="218" y="175"/>
                    <a:pt x="218" y="175"/>
                  </a:cubicBezTo>
                  <a:cubicBezTo>
                    <a:pt x="218" y="175"/>
                    <a:pt x="179" y="235"/>
                    <a:pt x="169" y="247"/>
                  </a:cubicBezTo>
                  <a:cubicBezTo>
                    <a:pt x="159" y="259"/>
                    <a:pt x="112" y="315"/>
                    <a:pt x="112" y="315"/>
                  </a:cubicBezTo>
                  <a:cubicBezTo>
                    <a:pt x="114" y="330"/>
                    <a:pt x="114" y="330"/>
                    <a:pt x="114" y="330"/>
                  </a:cubicBezTo>
                  <a:cubicBezTo>
                    <a:pt x="114" y="330"/>
                    <a:pt x="101" y="332"/>
                    <a:pt x="90" y="344"/>
                  </a:cubicBezTo>
                  <a:cubicBezTo>
                    <a:pt x="79" y="356"/>
                    <a:pt x="79" y="374"/>
                    <a:pt x="79" y="374"/>
                  </a:cubicBezTo>
                  <a:cubicBezTo>
                    <a:pt x="66" y="387"/>
                    <a:pt x="66" y="387"/>
                    <a:pt x="66" y="387"/>
                  </a:cubicBezTo>
                  <a:cubicBezTo>
                    <a:pt x="63" y="421"/>
                    <a:pt x="63" y="421"/>
                    <a:pt x="63" y="421"/>
                  </a:cubicBezTo>
                  <a:cubicBezTo>
                    <a:pt x="63" y="421"/>
                    <a:pt x="39" y="453"/>
                    <a:pt x="33" y="459"/>
                  </a:cubicBezTo>
                  <a:cubicBezTo>
                    <a:pt x="27" y="465"/>
                    <a:pt x="6" y="477"/>
                    <a:pt x="8" y="488"/>
                  </a:cubicBezTo>
                  <a:cubicBezTo>
                    <a:pt x="10" y="499"/>
                    <a:pt x="26" y="506"/>
                    <a:pt x="23" y="516"/>
                  </a:cubicBezTo>
                  <a:cubicBezTo>
                    <a:pt x="20" y="526"/>
                    <a:pt x="0" y="550"/>
                    <a:pt x="0" y="562"/>
                  </a:cubicBezTo>
                  <a:cubicBezTo>
                    <a:pt x="0" y="574"/>
                    <a:pt x="13" y="615"/>
                    <a:pt x="13" y="615"/>
                  </a:cubicBezTo>
                  <a:cubicBezTo>
                    <a:pt x="29" y="605"/>
                    <a:pt x="29" y="605"/>
                    <a:pt x="29" y="605"/>
                  </a:cubicBezTo>
                  <a:cubicBezTo>
                    <a:pt x="74" y="609"/>
                    <a:pt x="74" y="609"/>
                    <a:pt x="74" y="609"/>
                  </a:cubicBezTo>
                  <a:cubicBezTo>
                    <a:pt x="74" y="609"/>
                    <a:pt x="36" y="609"/>
                    <a:pt x="33" y="615"/>
                  </a:cubicBezTo>
                  <a:cubicBezTo>
                    <a:pt x="30" y="621"/>
                    <a:pt x="31" y="635"/>
                    <a:pt x="31" y="635"/>
                  </a:cubicBezTo>
                  <a:cubicBezTo>
                    <a:pt x="31" y="635"/>
                    <a:pt x="20" y="620"/>
                    <a:pt x="16" y="626"/>
                  </a:cubicBezTo>
                  <a:cubicBezTo>
                    <a:pt x="12" y="632"/>
                    <a:pt x="2" y="651"/>
                    <a:pt x="7" y="659"/>
                  </a:cubicBezTo>
                  <a:cubicBezTo>
                    <a:pt x="12" y="667"/>
                    <a:pt x="25" y="667"/>
                    <a:pt x="25" y="667"/>
                  </a:cubicBezTo>
                  <a:cubicBezTo>
                    <a:pt x="25" y="667"/>
                    <a:pt x="23" y="688"/>
                    <a:pt x="20" y="688"/>
                  </a:cubicBezTo>
                  <a:cubicBezTo>
                    <a:pt x="17" y="688"/>
                    <a:pt x="7" y="700"/>
                    <a:pt x="7" y="709"/>
                  </a:cubicBezTo>
                  <a:cubicBezTo>
                    <a:pt x="7" y="718"/>
                    <a:pt x="20" y="733"/>
                    <a:pt x="20" y="733"/>
                  </a:cubicBezTo>
                  <a:cubicBezTo>
                    <a:pt x="20" y="733"/>
                    <a:pt x="40" y="763"/>
                    <a:pt x="39" y="770"/>
                  </a:cubicBezTo>
                  <a:cubicBezTo>
                    <a:pt x="38" y="777"/>
                    <a:pt x="16" y="799"/>
                    <a:pt x="28" y="803"/>
                  </a:cubicBezTo>
                  <a:cubicBezTo>
                    <a:pt x="40" y="807"/>
                    <a:pt x="65" y="807"/>
                    <a:pt x="65" y="807"/>
                  </a:cubicBezTo>
                  <a:cubicBezTo>
                    <a:pt x="65" y="807"/>
                    <a:pt x="67" y="828"/>
                    <a:pt x="79" y="828"/>
                  </a:cubicBezTo>
                  <a:cubicBezTo>
                    <a:pt x="91" y="828"/>
                    <a:pt x="108" y="822"/>
                    <a:pt x="108" y="822"/>
                  </a:cubicBezTo>
                  <a:cubicBezTo>
                    <a:pt x="111" y="841"/>
                    <a:pt x="111" y="841"/>
                    <a:pt x="111" y="841"/>
                  </a:cubicBezTo>
                  <a:cubicBezTo>
                    <a:pt x="111" y="841"/>
                    <a:pt x="143" y="852"/>
                    <a:pt x="143" y="867"/>
                  </a:cubicBezTo>
                  <a:cubicBezTo>
                    <a:pt x="143" y="875"/>
                    <a:pt x="140" y="889"/>
                    <a:pt x="138" y="901"/>
                  </a:cubicBezTo>
                  <a:cubicBezTo>
                    <a:pt x="141" y="903"/>
                    <a:pt x="141" y="903"/>
                    <a:pt x="141" y="903"/>
                  </a:cubicBezTo>
                  <a:cubicBezTo>
                    <a:pt x="240" y="899"/>
                    <a:pt x="240" y="899"/>
                    <a:pt x="240" y="899"/>
                  </a:cubicBezTo>
                  <a:cubicBezTo>
                    <a:pt x="230" y="909"/>
                    <a:pt x="240" y="909"/>
                    <a:pt x="240" y="909"/>
                  </a:cubicBezTo>
                  <a:cubicBezTo>
                    <a:pt x="380" y="973"/>
                    <a:pt x="380" y="973"/>
                    <a:pt x="380" y="973"/>
                  </a:cubicBezTo>
                  <a:cubicBezTo>
                    <a:pt x="512" y="971"/>
                    <a:pt x="512" y="971"/>
                    <a:pt x="512" y="971"/>
                  </a:cubicBezTo>
                  <a:cubicBezTo>
                    <a:pt x="512" y="971"/>
                    <a:pt x="512" y="971"/>
                    <a:pt x="516" y="968"/>
                  </a:cubicBezTo>
                  <a:cubicBezTo>
                    <a:pt x="519" y="964"/>
                    <a:pt x="517" y="960"/>
                    <a:pt x="517" y="954"/>
                  </a:cubicBezTo>
                  <a:cubicBezTo>
                    <a:pt x="517" y="948"/>
                    <a:pt x="524" y="944"/>
                    <a:pt x="524" y="944"/>
                  </a:cubicBezTo>
                  <a:cubicBezTo>
                    <a:pt x="597" y="944"/>
                    <a:pt x="597" y="944"/>
                    <a:pt x="597" y="944"/>
                  </a:cubicBezTo>
                  <a:cubicBezTo>
                    <a:pt x="612" y="959"/>
                    <a:pt x="607" y="967"/>
                    <a:pt x="607" y="967"/>
                  </a:cubicBezTo>
                  <a:cubicBezTo>
                    <a:pt x="625" y="975"/>
                    <a:pt x="625" y="975"/>
                    <a:pt x="625" y="975"/>
                  </a:cubicBezTo>
                  <a:cubicBezTo>
                    <a:pt x="631" y="996"/>
                    <a:pt x="631" y="996"/>
                    <a:pt x="631" y="996"/>
                  </a:cubicBezTo>
                  <a:cubicBezTo>
                    <a:pt x="631" y="996"/>
                    <a:pt x="642" y="997"/>
                    <a:pt x="653" y="1008"/>
                  </a:cubicBezTo>
                  <a:cubicBezTo>
                    <a:pt x="663" y="1018"/>
                    <a:pt x="653" y="1060"/>
                    <a:pt x="653" y="1060"/>
                  </a:cubicBezTo>
                  <a:cubicBezTo>
                    <a:pt x="653" y="1060"/>
                    <a:pt x="684" y="1094"/>
                    <a:pt x="703" y="1094"/>
                  </a:cubicBezTo>
                  <a:cubicBezTo>
                    <a:pt x="722" y="1094"/>
                    <a:pt x="735" y="1060"/>
                    <a:pt x="739" y="1056"/>
                  </a:cubicBezTo>
                  <a:cubicBezTo>
                    <a:pt x="743" y="1052"/>
                    <a:pt x="755" y="1053"/>
                    <a:pt x="755" y="1053"/>
                  </a:cubicBezTo>
                  <a:cubicBezTo>
                    <a:pt x="756" y="1047"/>
                    <a:pt x="756" y="1047"/>
                    <a:pt x="756" y="1047"/>
                  </a:cubicBezTo>
                  <a:cubicBezTo>
                    <a:pt x="766" y="1052"/>
                    <a:pt x="766" y="1052"/>
                    <a:pt x="766" y="1052"/>
                  </a:cubicBezTo>
                  <a:cubicBezTo>
                    <a:pt x="795" y="1053"/>
                    <a:pt x="795" y="1053"/>
                    <a:pt x="795" y="1053"/>
                  </a:cubicBezTo>
                  <a:cubicBezTo>
                    <a:pt x="795" y="1053"/>
                    <a:pt x="815" y="1084"/>
                    <a:pt x="823" y="1092"/>
                  </a:cubicBezTo>
                  <a:cubicBezTo>
                    <a:pt x="831" y="1100"/>
                    <a:pt x="823" y="1115"/>
                    <a:pt x="823" y="1124"/>
                  </a:cubicBezTo>
                  <a:cubicBezTo>
                    <a:pt x="823" y="1133"/>
                    <a:pt x="834" y="1140"/>
                    <a:pt x="834" y="1140"/>
                  </a:cubicBezTo>
                  <a:cubicBezTo>
                    <a:pt x="834" y="1140"/>
                    <a:pt x="835" y="1146"/>
                    <a:pt x="835" y="1153"/>
                  </a:cubicBezTo>
                  <a:cubicBezTo>
                    <a:pt x="835" y="1161"/>
                    <a:pt x="844" y="1162"/>
                    <a:pt x="851" y="1169"/>
                  </a:cubicBezTo>
                  <a:cubicBezTo>
                    <a:pt x="858" y="1176"/>
                    <a:pt x="848" y="1179"/>
                    <a:pt x="848" y="1179"/>
                  </a:cubicBezTo>
                  <a:cubicBezTo>
                    <a:pt x="848" y="1206"/>
                    <a:pt x="848" y="1206"/>
                    <a:pt x="848" y="1206"/>
                  </a:cubicBezTo>
                  <a:cubicBezTo>
                    <a:pt x="856" y="1212"/>
                    <a:pt x="856" y="1212"/>
                    <a:pt x="856" y="1212"/>
                  </a:cubicBezTo>
                  <a:cubicBezTo>
                    <a:pt x="856" y="1212"/>
                    <a:pt x="854" y="1220"/>
                    <a:pt x="854" y="1231"/>
                  </a:cubicBezTo>
                  <a:cubicBezTo>
                    <a:pt x="854" y="1242"/>
                    <a:pt x="884" y="1243"/>
                    <a:pt x="884" y="1243"/>
                  </a:cubicBezTo>
                  <a:cubicBezTo>
                    <a:pt x="890" y="1254"/>
                    <a:pt x="890" y="1254"/>
                    <a:pt x="890" y="1254"/>
                  </a:cubicBezTo>
                  <a:cubicBezTo>
                    <a:pt x="890" y="1254"/>
                    <a:pt x="909" y="1254"/>
                    <a:pt x="914" y="1254"/>
                  </a:cubicBezTo>
                  <a:cubicBezTo>
                    <a:pt x="919" y="1254"/>
                    <a:pt x="917" y="1264"/>
                    <a:pt x="928" y="1264"/>
                  </a:cubicBezTo>
                  <a:cubicBezTo>
                    <a:pt x="933" y="1264"/>
                    <a:pt x="937" y="1263"/>
                    <a:pt x="940" y="1262"/>
                  </a:cubicBezTo>
                  <a:cubicBezTo>
                    <a:pt x="930" y="1213"/>
                    <a:pt x="930" y="1213"/>
                    <a:pt x="930" y="1213"/>
                  </a:cubicBezTo>
                  <a:cubicBezTo>
                    <a:pt x="942" y="1202"/>
                    <a:pt x="942" y="1202"/>
                    <a:pt x="942" y="1202"/>
                  </a:cubicBezTo>
                  <a:cubicBezTo>
                    <a:pt x="929" y="1193"/>
                    <a:pt x="929" y="1193"/>
                    <a:pt x="929" y="1193"/>
                  </a:cubicBezTo>
                  <a:cubicBezTo>
                    <a:pt x="929" y="1180"/>
                    <a:pt x="929" y="1180"/>
                    <a:pt x="929" y="1180"/>
                  </a:cubicBezTo>
                  <a:cubicBezTo>
                    <a:pt x="929" y="1180"/>
                    <a:pt x="947" y="1192"/>
                    <a:pt x="950" y="1180"/>
                  </a:cubicBezTo>
                  <a:cubicBezTo>
                    <a:pt x="953" y="1168"/>
                    <a:pt x="950" y="1159"/>
                    <a:pt x="950" y="1159"/>
                  </a:cubicBezTo>
                  <a:cubicBezTo>
                    <a:pt x="966" y="1157"/>
                    <a:pt x="966" y="1157"/>
                    <a:pt x="966" y="1157"/>
                  </a:cubicBezTo>
                  <a:cubicBezTo>
                    <a:pt x="971" y="1139"/>
                    <a:pt x="971" y="1139"/>
                    <a:pt x="971" y="1139"/>
                  </a:cubicBezTo>
                  <a:cubicBezTo>
                    <a:pt x="981" y="1144"/>
                    <a:pt x="981" y="1144"/>
                    <a:pt x="981" y="1144"/>
                  </a:cubicBezTo>
                  <a:cubicBezTo>
                    <a:pt x="994" y="1137"/>
                    <a:pt x="994" y="1137"/>
                    <a:pt x="994" y="1137"/>
                  </a:cubicBezTo>
                  <a:cubicBezTo>
                    <a:pt x="989" y="1121"/>
                    <a:pt x="989" y="1121"/>
                    <a:pt x="989" y="1121"/>
                  </a:cubicBezTo>
                  <a:cubicBezTo>
                    <a:pt x="999" y="1128"/>
                    <a:pt x="999" y="1128"/>
                    <a:pt x="999" y="1128"/>
                  </a:cubicBezTo>
                  <a:cubicBezTo>
                    <a:pt x="999" y="1128"/>
                    <a:pt x="1003" y="1106"/>
                    <a:pt x="1009" y="1110"/>
                  </a:cubicBezTo>
                  <a:cubicBezTo>
                    <a:pt x="1015" y="1114"/>
                    <a:pt x="1016" y="1125"/>
                    <a:pt x="1022" y="1122"/>
                  </a:cubicBezTo>
                  <a:cubicBezTo>
                    <a:pt x="1028" y="1119"/>
                    <a:pt x="1056" y="1111"/>
                    <a:pt x="1064" y="1103"/>
                  </a:cubicBezTo>
                  <a:cubicBezTo>
                    <a:pt x="1072" y="1095"/>
                    <a:pt x="1086" y="1076"/>
                    <a:pt x="1086" y="1076"/>
                  </a:cubicBezTo>
                  <a:cubicBezTo>
                    <a:pt x="1086" y="1076"/>
                    <a:pt x="1078" y="1053"/>
                    <a:pt x="1088" y="1052"/>
                  </a:cubicBezTo>
                  <a:cubicBezTo>
                    <a:pt x="1098" y="1051"/>
                    <a:pt x="1109" y="1075"/>
                    <a:pt x="1121" y="1068"/>
                  </a:cubicBezTo>
                  <a:cubicBezTo>
                    <a:pt x="1133" y="1061"/>
                    <a:pt x="1137" y="1033"/>
                    <a:pt x="1143" y="1040"/>
                  </a:cubicBezTo>
                  <a:cubicBezTo>
                    <a:pt x="1149" y="1047"/>
                    <a:pt x="1152" y="1053"/>
                    <a:pt x="1157" y="1053"/>
                  </a:cubicBezTo>
                  <a:cubicBezTo>
                    <a:pt x="1162" y="1053"/>
                    <a:pt x="1173" y="1037"/>
                    <a:pt x="1173" y="1037"/>
                  </a:cubicBezTo>
                  <a:cubicBezTo>
                    <a:pt x="1173" y="1037"/>
                    <a:pt x="1192" y="1068"/>
                    <a:pt x="1206" y="1066"/>
                  </a:cubicBezTo>
                  <a:cubicBezTo>
                    <a:pt x="1220" y="1064"/>
                    <a:pt x="1222" y="1033"/>
                    <a:pt x="1238" y="1049"/>
                  </a:cubicBezTo>
                  <a:cubicBezTo>
                    <a:pt x="1254" y="1065"/>
                    <a:pt x="1246" y="1083"/>
                    <a:pt x="1256" y="1083"/>
                  </a:cubicBezTo>
                  <a:cubicBezTo>
                    <a:pt x="1266" y="1083"/>
                    <a:pt x="1282" y="1090"/>
                    <a:pt x="1282" y="1090"/>
                  </a:cubicBezTo>
                  <a:cubicBezTo>
                    <a:pt x="1282" y="1090"/>
                    <a:pt x="1281" y="1074"/>
                    <a:pt x="1288" y="1079"/>
                  </a:cubicBezTo>
                  <a:cubicBezTo>
                    <a:pt x="1295" y="1084"/>
                    <a:pt x="1303" y="1103"/>
                    <a:pt x="1308" y="1091"/>
                  </a:cubicBezTo>
                  <a:cubicBezTo>
                    <a:pt x="1313" y="1079"/>
                    <a:pt x="1306" y="1064"/>
                    <a:pt x="1306" y="1064"/>
                  </a:cubicBezTo>
                  <a:cubicBezTo>
                    <a:pt x="1320" y="1069"/>
                    <a:pt x="1320" y="1069"/>
                    <a:pt x="1320" y="1069"/>
                  </a:cubicBezTo>
                  <a:cubicBezTo>
                    <a:pt x="1325" y="1080"/>
                    <a:pt x="1325" y="1080"/>
                    <a:pt x="1325" y="1080"/>
                  </a:cubicBezTo>
                  <a:cubicBezTo>
                    <a:pt x="1335" y="1083"/>
                    <a:pt x="1335" y="1083"/>
                    <a:pt x="1335" y="1083"/>
                  </a:cubicBezTo>
                  <a:cubicBezTo>
                    <a:pt x="1335" y="1092"/>
                    <a:pt x="1335" y="1092"/>
                    <a:pt x="1335" y="1092"/>
                  </a:cubicBezTo>
                  <a:cubicBezTo>
                    <a:pt x="1335" y="1092"/>
                    <a:pt x="1359" y="1099"/>
                    <a:pt x="1354" y="1087"/>
                  </a:cubicBezTo>
                  <a:cubicBezTo>
                    <a:pt x="1349" y="1075"/>
                    <a:pt x="1335" y="1070"/>
                    <a:pt x="1335" y="1070"/>
                  </a:cubicBezTo>
                  <a:cubicBezTo>
                    <a:pt x="1329" y="1060"/>
                    <a:pt x="1329" y="1060"/>
                    <a:pt x="1329" y="1060"/>
                  </a:cubicBezTo>
                  <a:cubicBezTo>
                    <a:pt x="1329" y="1060"/>
                    <a:pt x="1349" y="1057"/>
                    <a:pt x="1347" y="1049"/>
                  </a:cubicBezTo>
                  <a:cubicBezTo>
                    <a:pt x="1345" y="1041"/>
                    <a:pt x="1343" y="1039"/>
                    <a:pt x="1334" y="1040"/>
                  </a:cubicBezTo>
                  <a:cubicBezTo>
                    <a:pt x="1325" y="1041"/>
                    <a:pt x="1298" y="1044"/>
                    <a:pt x="1307" y="1030"/>
                  </a:cubicBezTo>
                  <a:cubicBezTo>
                    <a:pt x="1316" y="1016"/>
                    <a:pt x="1325" y="1027"/>
                    <a:pt x="1336" y="1030"/>
                  </a:cubicBezTo>
                  <a:cubicBezTo>
                    <a:pt x="1347" y="1033"/>
                    <a:pt x="1355" y="1031"/>
                    <a:pt x="1365" y="1024"/>
                  </a:cubicBezTo>
                  <a:cubicBezTo>
                    <a:pt x="1375" y="1017"/>
                    <a:pt x="1386" y="1017"/>
                    <a:pt x="1386" y="1017"/>
                  </a:cubicBezTo>
                  <a:cubicBezTo>
                    <a:pt x="1387" y="1021"/>
                    <a:pt x="1387" y="1021"/>
                    <a:pt x="1387" y="1021"/>
                  </a:cubicBezTo>
                  <a:cubicBezTo>
                    <a:pt x="1387" y="1021"/>
                    <a:pt x="1417" y="1021"/>
                    <a:pt x="1417" y="1014"/>
                  </a:cubicBezTo>
                  <a:cubicBezTo>
                    <a:pt x="1417" y="1007"/>
                    <a:pt x="1423" y="992"/>
                    <a:pt x="1426" y="997"/>
                  </a:cubicBezTo>
                  <a:cubicBezTo>
                    <a:pt x="1429" y="1002"/>
                    <a:pt x="1429" y="1024"/>
                    <a:pt x="1429" y="1024"/>
                  </a:cubicBezTo>
                  <a:cubicBezTo>
                    <a:pt x="1429" y="1024"/>
                    <a:pt x="1462" y="1012"/>
                    <a:pt x="1471" y="1013"/>
                  </a:cubicBezTo>
                  <a:cubicBezTo>
                    <a:pt x="1480" y="1014"/>
                    <a:pt x="1487" y="1024"/>
                    <a:pt x="1487" y="1024"/>
                  </a:cubicBezTo>
                  <a:cubicBezTo>
                    <a:pt x="1487" y="1024"/>
                    <a:pt x="1484" y="1008"/>
                    <a:pt x="1494" y="1012"/>
                  </a:cubicBezTo>
                  <a:cubicBezTo>
                    <a:pt x="1504" y="1016"/>
                    <a:pt x="1504" y="1030"/>
                    <a:pt x="1504" y="1030"/>
                  </a:cubicBezTo>
                  <a:cubicBezTo>
                    <a:pt x="1524" y="1025"/>
                    <a:pt x="1524" y="1025"/>
                    <a:pt x="1524" y="1025"/>
                  </a:cubicBezTo>
                  <a:cubicBezTo>
                    <a:pt x="1520" y="1033"/>
                    <a:pt x="1520" y="1033"/>
                    <a:pt x="1520" y="1033"/>
                  </a:cubicBezTo>
                  <a:cubicBezTo>
                    <a:pt x="1520" y="1033"/>
                    <a:pt x="1521" y="1065"/>
                    <a:pt x="1539" y="1061"/>
                  </a:cubicBezTo>
                  <a:cubicBezTo>
                    <a:pt x="1557" y="1057"/>
                    <a:pt x="1570" y="1031"/>
                    <a:pt x="1588" y="1035"/>
                  </a:cubicBezTo>
                  <a:cubicBezTo>
                    <a:pt x="1606" y="1039"/>
                    <a:pt x="1607" y="1073"/>
                    <a:pt x="1616" y="1079"/>
                  </a:cubicBezTo>
                  <a:cubicBezTo>
                    <a:pt x="1625" y="1085"/>
                    <a:pt x="1643" y="1085"/>
                    <a:pt x="1643" y="1085"/>
                  </a:cubicBezTo>
                  <a:cubicBezTo>
                    <a:pt x="1640" y="1111"/>
                    <a:pt x="1640" y="1111"/>
                    <a:pt x="1640" y="1111"/>
                  </a:cubicBezTo>
                  <a:cubicBezTo>
                    <a:pt x="1640" y="1111"/>
                    <a:pt x="1621" y="1139"/>
                    <a:pt x="1623" y="1147"/>
                  </a:cubicBezTo>
                  <a:cubicBezTo>
                    <a:pt x="1625" y="1155"/>
                    <a:pt x="1635" y="1156"/>
                    <a:pt x="1635" y="1156"/>
                  </a:cubicBezTo>
                  <a:cubicBezTo>
                    <a:pt x="1640" y="1166"/>
                    <a:pt x="1640" y="1166"/>
                    <a:pt x="1640" y="1166"/>
                  </a:cubicBezTo>
                  <a:cubicBezTo>
                    <a:pt x="1621" y="1179"/>
                    <a:pt x="1621" y="1179"/>
                    <a:pt x="1621" y="1179"/>
                  </a:cubicBezTo>
                  <a:cubicBezTo>
                    <a:pt x="1634" y="1212"/>
                    <a:pt x="1634" y="1212"/>
                    <a:pt x="1634" y="1212"/>
                  </a:cubicBezTo>
                  <a:cubicBezTo>
                    <a:pt x="1634" y="1212"/>
                    <a:pt x="1649" y="1193"/>
                    <a:pt x="1650" y="1199"/>
                  </a:cubicBezTo>
                  <a:cubicBezTo>
                    <a:pt x="1651" y="1205"/>
                    <a:pt x="1639" y="1230"/>
                    <a:pt x="1639" y="1230"/>
                  </a:cubicBezTo>
                  <a:cubicBezTo>
                    <a:pt x="1649" y="1227"/>
                    <a:pt x="1649" y="1227"/>
                    <a:pt x="1649" y="1227"/>
                  </a:cubicBezTo>
                  <a:cubicBezTo>
                    <a:pt x="1652" y="1259"/>
                    <a:pt x="1652" y="1259"/>
                    <a:pt x="1652" y="1259"/>
                  </a:cubicBezTo>
                  <a:cubicBezTo>
                    <a:pt x="1652" y="1259"/>
                    <a:pt x="1669" y="1259"/>
                    <a:pt x="1669" y="1265"/>
                  </a:cubicBezTo>
                  <a:cubicBezTo>
                    <a:pt x="1669" y="1271"/>
                    <a:pt x="1666" y="1287"/>
                    <a:pt x="1666" y="1287"/>
                  </a:cubicBezTo>
                  <a:cubicBezTo>
                    <a:pt x="1681" y="1304"/>
                    <a:pt x="1681" y="1304"/>
                    <a:pt x="1681" y="1304"/>
                  </a:cubicBezTo>
                  <a:cubicBezTo>
                    <a:pt x="1681" y="1304"/>
                    <a:pt x="1705" y="1298"/>
                    <a:pt x="1707" y="1291"/>
                  </a:cubicBezTo>
                  <a:cubicBezTo>
                    <a:pt x="1709" y="1284"/>
                    <a:pt x="1711" y="1271"/>
                    <a:pt x="1711" y="1271"/>
                  </a:cubicBezTo>
                  <a:cubicBezTo>
                    <a:pt x="1723" y="1271"/>
                    <a:pt x="1723" y="1271"/>
                    <a:pt x="1723" y="1271"/>
                  </a:cubicBezTo>
                  <a:cubicBezTo>
                    <a:pt x="1723" y="1271"/>
                    <a:pt x="1722" y="1250"/>
                    <a:pt x="1729" y="1240"/>
                  </a:cubicBezTo>
                  <a:cubicBezTo>
                    <a:pt x="1736" y="1230"/>
                    <a:pt x="1740" y="1213"/>
                    <a:pt x="1737" y="1203"/>
                  </a:cubicBezTo>
                  <a:cubicBezTo>
                    <a:pt x="1734" y="1193"/>
                    <a:pt x="1724" y="1160"/>
                    <a:pt x="1724" y="1151"/>
                  </a:cubicBezTo>
                  <a:cubicBezTo>
                    <a:pt x="1724" y="1142"/>
                    <a:pt x="1730" y="1128"/>
                    <a:pt x="1730" y="1112"/>
                  </a:cubicBezTo>
                  <a:cubicBezTo>
                    <a:pt x="1730" y="1096"/>
                    <a:pt x="1710" y="1070"/>
                    <a:pt x="1714" y="1056"/>
                  </a:cubicBezTo>
                  <a:cubicBezTo>
                    <a:pt x="1718" y="1042"/>
                    <a:pt x="1710" y="1002"/>
                    <a:pt x="1722" y="987"/>
                  </a:cubicBezTo>
                  <a:cubicBezTo>
                    <a:pt x="1734" y="972"/>
                    <a:pt x="1742" y="948"/>
                    <a:pt x="1742" y="948"/>
                  </a:cubicBezTo>
                  <a:cubicBezTo>
                    <a:pt x="1752" y="942"/>
                    <a:pt x="1752" y="942"/>
                    <a:pt x="1752" y="942"/>
                  </a:cubicBezTo>
                  <a:cubicBezTo>
                    <a:pt x="1765" y="929"/>
                    <a:pt x="1765" y="929"/>
                    <a:pt x="1765" y="929"/>
                  </a:cubicBezTo>
                  <a:cubicBezTo>
                    <a:pt x="1771" y="913"/>
                    <a:pt x="1771" y="913"/>
                    <a:pt x="1771" y="913"/>
                  </a:cubicBezTo>
                  <a:cubicBezTo>
                    <a:pt x="1780" y="919"/>
                    <a:pt x="1780" y="919"/>
                    <a:pt x="1780" y="919"/>
                  </a:cubicBezTo>
                  <a:cubicBezTo>
                    <a:pt x="1783" y="905"/>
                    <a:pt x="1783" y="905"/>
                    <a:pt x="1783" y="905"/>
                  </a:cubicBezTo>
                  <a:cubicBezTo>
                    <a:pt x="1783" y="905"/>
                    <a:pt x="1813" y="909"/>
                    <a:pt x="1818" y="903"/>
                  </a:cubicBezTo>
                  <a:cubicBezTo>
                    <a:pt x="1823" y="897"/>
                    <a:pt x="1819" y="886"/>
                    <a:pt x="1819" y="886"/>
                  </a:cubicBezTo>
                  <a:cubicBezTo>
                    <a:pt x="1832" y="887"/>
                    <a:pt x="1832" y="887"/>
                    <a:pt x="1832" y="887"/>
                  </a:cubicBezTo>
                  <a:cubicBezTo>
                    <a:pt x="1836" y="881"/>
                    <a:pt x="1836" y="881"/>
                    <a:pt x="1836" y="881"/>
                  </a:cubicBezTo>
                  <a:cubicBezTo>
                    <a:pt x="1847" y="880"/>
                    <a:pt x="1847" y="880"/>
                    <a:pt x="1847" y="880"/>
                  </a:cubicBezTo>
                  <a:cubicBezTo>
                    <a:pt x="1864" y="859"/>
                    <a:pt x="1864" y="859"/>
                    <a:pt x="1864" y="859"/>
                  </a:cubicBezTo>
                  <a:cubicBezTo>
                    <a:pt x="1864" y="859"/>
                    <a:pt x="1868" y="839"/>
                    <a:pt x="1887" y="834"/>
                  </a:cubicBezTo>
                  <a:cubicBezTo>
                    <a:pt x="1906" y="829"/>
                    <a:pt x="1917" y="840"/>
                    <a:pt x="1926" y="831"/>
                  </a:cubicBezTo>
                  <a:cubicBezTo>
                    <a:pt x="1935" y="822"/>
                    <a:pt x="1941" y="805"/>
                    <a:pt x="1941" y="805"/>
                  </a:cubicBezTo>
                  <a:cubicBezTo>
                    <a:pt x="1951" y="807"/>
                    <a:pt x="1951" y="807"/>
                    <a:pt x="1951" y="807"/>
                  </a:cubicBezTo>
                  <a:cubicBezTo>
                    <a:pt x="1956" y="792"/>
                    <a:pt x="1956" y="792"/>
                    <a:pt x="1956" y="792"/>
                  </a:cubicBezTo>
                  <a:cubicBezTo>
                    <a:pt x="2010" y="789"/>
                    <a:pt x="2010" y="789"/>
                    <a:pt x="2010" y="789"/>
                  </a:cubicBezTo>
                  <a:cubicBezTo>
                    <a:pt x="2013" y="773"/>
                    <a:pt x="2013" y="773"/>
                    <a:pt x="2013" y="773"/>
                  </a:cubicBezTo>
                  <a:cubicBezTo>
                    <a:pt x="1988" y="775"/>
                    <a:pt x="1988" y="775"/>
                    <a:pt x="1988" y="775"/>
                  </a:cubicBezTo>
                  <a:cubicBezTo>
                    <a:pt x="1988" y="775"/>
                    <a:pt x="2002" y="770"/>
                    <a:pt x="2001" y="763"/>
                  </a:cubicBezTo>
                  <a:cubicBezTo>
                    <a:pt x="2000" y="756"/>
                    <a:pt x="1990" y="749"/>
                    <a:pt x="1990" y="749"/>
                  </a:cubicBezTo>
                  <a:cubicBezTo>
                    <a:pt x="2013" y="745"/>
                    <a:pt x="2013" y="745"/>
                    <a:pt x="2013" y="745"/>
                  </a:cubicBezTo>
                  <a:cubicBezTo>
                    <a:pt x="2029" y="751"/>
                    <a:pt x="2029" y="751"/>
                    <a:pt x="2029" y="751"/>
                  </a:cubicBezTo>
                  <a:cubicBezTo>
                    <a:pt x="2052" y="727"/>
                    <a:pt x="2052" y="727"/>
                    <a:pt x="2052" y="727"/>
                  </a:cubicBezTo>
                  <a:cubicBezTo>
                    <a:pt x="2015" y="726"/>
                    <a:pt x="2015" y="726"/>
                    <a:pt x="2015" y="726"/>
                  </a:cubicBezTo>
                  <a:cubicBezTo>
                    <a:pt x="2013" y="709"/>
                    <a:pt x="2013" y="709"/>
                    <a:pt x="2013" y="709"/>
                  </a:cubicBezTo>
                  <a:cubicBezTo>
                    <a:pt x="2022" y="718"/>
                    <a:pt x="2022" y="718"/>
                    <a:pt x="2022" y="718"/>
                  </a:cubicBezTo>
                  <a:cubicBezTo>
                    <a:pt x="2052" y="707"/>
                    <a:pt x="2052" y="707"/>
                    <a:pt x="2052" y="707"/>
                  </a:cubicBezTo>
                  <a:cubicBezTo>
                    <a:pt x="2055" y="668"/>
                    <a:pt x="2055" y="668"/>
                    <a:pt x="2055" y="668"/>
                  </a:cubicBezTo>
                  <a:cubicBezTo>
                    <a:pt x="2036" y="676"/>
                    <a:pt x="2036" y="676"/>
                    <a:pt x="2036" y="676"/>
                  </a:cubicBezTo>
                  <a:cubicBezTo>
                    <a:pt x="2032" y="658"/>
                    <a:pt x="2032" y="658"/>
                    <a:pt x="2032" y="658"/>
                  </a:cubicBezTo>
                  <a:cubicBezTo>
                    <a:pt x="2016" y="647"/>
                    <a:pt x="2016" y="647"/>
                    <a:pt x="2016" y="647"/>
                  </a:cubicBezTo>
                  <a:cubicBezTo>
                    <a:pt x="2045" y="662"/>
                    <a:pt x="2045" y="662"/>
                    <a:pt x="2045" y="662"/>
                  </a:cubicBezTo>
                  <a:cubicBezTo>
                    <a:pt x="2052" y="656"/>
                    <a:pt x="2052" y="656"/>
                    <a:pt x="2052" y="656"/>
                  </a:cubicBezTo>
                  <a:cubicBezTo>
                    <a:pt x="2039" y="646"/>
                    <a:pt x="2039" y="646"/>
                    <a:pt x="2039" y="646"/>
                  </a:cubicBezTo>
                  <a:cubicBezTo>
                    <a:pt x="2057" y="646"/>
                    <a:pt x="2057" y="646"/>
                    <a:pt x="2057" y="646"/>
                  </a:cubicBezTo>
                  <a:cubicBezTo>
                    <a:pt x="2057" y="646"/>
                    <a:pt x="2035" y="617"/>
                    <a:pt x="2035" y="610"/>
                  </a:cubicBezTo>
                  <a:cubicBezTo>
                    <a:pt x="2035" y="603"/>
                    <a:pt x="2040" y="600"/>
                    <a:pt x="2040" y="600"/>
                  </a:cubicBezTo>
                  <a:cubicBezTo>
                    <a:pt x="2040" y="600"/>
                    <a:pt x="2023" y="589"/>
                    <a:pt x="2025" y="586"/>
                  </a:cubicBezTo>
                  <a:cubicBezTo>
                    <a:pt x="2027" y="583"/>
                    <a:pt x="2046" y="571"/>
                    <a:pt x="2046" y="571"/>
                  </a:cubicBezTo>
                  <a:cubicBezTo>
                    <a:pt x="2041" y="589"/>
                    <a:pt x="2041" y="589"/>
                    <a:pt x="2041" y="589"/>
                  </a:cubicBezTo>
                  <a:cubicBezTo>
                    <a:pt x="2062" y="606"/>
                    <a:pt x="2062" y="606"/>
                    <a:pt x="2062" y="606"/>
                  </a:cubicBezTo>
                  <a:cubicBezTo>
                    <a:pt x="2062" y="606"/>
                    <a:pt x="2070" y="582"/>
                    <a:pt x="2070" y="569"/>
                  </a:cubicBezTo>
                  <a:cubicBezTo>
                    <a:pt x="2070" y="556"/>
                    <a:pt x="2108" y="525"/>
                    <a:pt x="2107" y="533"/>
                  </a:cubicBezTo>
                  <a:cubicBezTo>
                    <a:pt x="2106" y="541"/>
                    <a:pt x="2083" y="574"/>
                    <a:pt x="2083" y="574"/>
                  </a:cubicBezTo>
                  <a:cubicBezTo>
                    <a:pt x="2077" y="596"/>
                    <a:pt x="2077" y="596"/>
                    <a:pt x="2077" y="596"/>
                  </a:cubicBezTo>
                  <a:cubicBezTo>
                    <a:pt x="2090" y="597"/>
                    <a:pt x="2090" y="597"/>
                    <a:pt x="2090" y="597"/>
                  </a:cubicBezTo>
                  <a:cubicBezTo>
                    <a:pt x="2090" y="597"/>
                    <a:pt x="2087" y="619"/>
                    <a:pt x="2082" y="623"/>
                  </a:cubicBezTo>
                  <a:cubicBezTo>
                    <a:pt x="2077" y="627"/>
                    <a:pt x="2059" y="661"/>
                    <a:pt x="2066" y="661"/>
                  </a:cubicBezTo>
                  <a:cubicBezTo>
                    <a:pt x="2073" y="661"/>
                    <a:pt x="2083" y="637"/>
                    <a:pt x="2089" y="632"/>
                  </a:cubicBezTo>
                  <a:cubicBezTo>
                    <a:pt x="2095" y="627"/>
                    <a:pt x="2125" y="611"/>
                    <a:pt x="2127" y="598"/>
                  </a:cubicBezTo>
                  <a:cubicBezTo>
                    <a:pt x="2129" y="585"/>
                    <a:pt x="2125" y="564"/>
                    <a:pt x="2125" y="553"/>
                  </a:cubicBezTo>
                  <a:cubicBezTo>
                    <a:pt x="2125" y="542"/>
                    <a:pt x="2129" y="516"/>
                    <a:pt x="2136" y="513"/>
                  </a:cubicBezTo>
                  <a:cubicBezTo>
                    <a:pt x="2143" y="510"/>
                    <a:pt x="2138" y="515"/>
                    <a:pt x="2135" y="528"/>
                  </a:cubicBezTo>
                  <a:cubicBezTo>
                    <a:pt x="2132" y="541"/>
                    <a:pt x="2144" y="545"/>
                    <a:pt x="2144" y="545"/>
                  </a:cubicBezTo>
                  <a:cubicBezTo>
                    <a:pt x="2144" y="545"/>
                    <a:pt x="2138" y="570"/>
                    <a:pt x="2141" y="570"/>
                  </a:cubicBezTo>
                  <a:cubicBezTo>
                    <a:pt x="2144" y="570"/>
                    <a:pt x="2175" y="531"/>
                    <a:pt x="2185" y="521"/>
                  </a:cubicBezTo>
                  <a:cubicBezTo>
                    <a:pt x="2195" y="511"/>
                    <a:pt x="2217" y="495"/>
                    <a:pt x="2214" y="491"/>
                  </a:cubicBezTo>
                  <a:cubicBezTo>
                    <a:pt x="2211" y="487"/>
                    <a:pt x="2202" y="490"/>
                    <a:pt x="2202" y="480"/>
                  </a:cubicBezTo>
                  <a:cubicBezTo>
                    <a:pt x="2202" y="470"/>
                    <a:pt x="2220" y="475"/>
                    <a:pt x="2240" y="475"/>
                  </a:cubicBezTo>
                  <a:cubicBezTo>
                    <a:pt x="2260" y="475"/>
                    <a:pt x="2306" y="453"/>
                    <a:pt x="2306" y="453"/>
                  </a:cubicBezTo>
                  <a:cubicBezTo>
                    <a:pt x="2293" y="447"/>
                    <a:pt x="2293" y="447"/>
                    <a:pt x="2293" y="447"/>
                  </a:cubicBezTo>
                  <a:cubicBezTo>
                    <a:pt x="2293" y="447"/>
                    <a:pt x="2269" y="458"/>
                    <a:pt x="2257" y="459"/>
                  </a:cubicBezTo>
                  <a:cubicBezTo>
                    <a:pt x="2245" y="460"/>
                    <a:pt x="2225" y="468"/>
                    <a:pt x="2228" y="455"/>
                  </a:cubicBezTo>
                  <a:cubicBezTo>
                    <a:pt x="2231" y="442"/>
                    <a:pt x="2266" y="439"/>
                    <a:pt x="2266" y="439"/>
                  </a:cubicBezTo>
                  <a:cubicBezTo>
                    <a:pt x="2326" y="438"/>
                    <a:pt x="2326" y="438"/>
                    <a:pt x="2326" y="438"/>
                  </a:cubicBezTo>
                  <a:cubicBezTo>
                    <a:pt x="2355" y="411"/>
                    <a:pt x="2355" y="411"/>
                    <a:pt x="2355" y="411"/>
                  </a:cubicBezTo>
                  <a:cubicBezTo>
                    <a:pt x="2361" y="421"/>
                    <a:pt x="2361" y="421"/>
                    <a:pt x="2361" y="421"/>
                  </a:cubicBezTo>
                  <a:cubicBezTo>
                    <a:pt x="2379" y="412"/>
                    <a:pt x="2379" y="412"/>
                    <a:pt x="2379" y="412"/>
                  </a:cubicBezTo>
                  <a:cubicBezTo>
                    <a:pt x="2377" y="435"/>
                    <a:pt x="2377" y="435"/>
                    <a:pt x="2377" y="435"/>
                  </a:cubicBezTo>
                  <a:cubicBezTo>
                    <a:pt x="2397" y="422"/>
                    <a:pt x="2397" y="422"/>
                    <a:pt x="2397" y="422"/>
                  </a:cubicBezTo>
                  <a:cubicBezTo>
                    <a:pt x="2413" y="418"/>
                    <a:pt x="2413" y="418"/>
                    <a:pt x="2413" y="418"/>
                  </a:cubicBezTo>
                  <a:cubicBezTo>
                    <a:pt x="2418" y="396"/>
                    <a:pt x="2418" y="396"/>
                    <a:pt x="2418" y="396"/>
                  </a:cubicBezTo>
                  <a:cubicBezTo>
                    <a:pt x="2409" y="388"/>
                    <a:pt x="2409" y="388"/>
                    <a:pt x="2409" y="388"/>
                  </a:cubicBezTo>
                  <a:cubicBezTo>
                    <a:pt x="2407" y="407"/>
                    <a:pt x="2407" y="407"/>
                    <a:pt x="2407" y="407"/>
                  </a:cubicBezTo>
                  <a:cubicBezTo>
                    <a:pt x="2391" y="410"/>
                    <a:pt x="2391" y="410"/>
                    <a:pt x="2391" y="410"/>
                  </a:cubicBezTo>
                  <a:cubicBezTo>
                    <a:pt x="2391" y="391"/>
                    <a:pt x="2391" y="391"/>
                    <a:pt x="2391" y="391"/>
                  </a:cubicBezTo>
                  <a:cubicBezTo>
                    <a:pt x="2378" y="377"/>
                    <a:pt x="2378" y="377"/>
                    <a:pt x="2378" y="377"/>
                  </a:cubicBezTo>
                  <a:cubicBezTo>
                    <a:pt x="2394" y="369"/>
                    <a:pt x="2394" y="369"/>
                    <a:pt x="2394" y="369"/>
                  </a:cubicBezTo>
                  <a:cubicBezTo>
                    <a:pt x="2398" y="346"/>
                    <a:pt x="2398" y="346"/>
                    <a:pt x="2398" y="346"/>
                  </a:cubicBezTo>
                  <a:cubicBezTo>
                    <a:pt x="2398" y="346"/>
                    <a:pt x="2413" y="329"/>
                    <a:pt x="2423" y="324"/>
                  </a:cubicBezTo>
                  <a:cubicBezTo>
                    <a:pt x="2433" y="319"/>
                    <a:pt x="2438" y="301"/>
                    <a:pt x="2438" y="301"/>
                  </a:cubicBezTo>
                  <a:cubicBezTo>
                    <a:pt x="2457" y="306"/>
                    <a:pt x="2457" y="306"/>
                    <a:pt x="2457" y="306"/>
                  </a:cubicBezTo>
                  <a:cubicBezTo>
                    <a:pt x="2467" y="291"/>
                    <a:pt x="2467" y="291"/>
                    <a:pt x="2467" y="291"/>
                  </a:cubicBezTo>
                  <a:cubicBezTo>
                    <a:pt x="2467" y="291"/>
                    <a:pt x="2470" y="302"/>
                    <a:pt x="2479" y="296"/>
                  </a:cubicBezTo>
                  <a:cubicBezTo>
                    <a:pt x="2488" y="290"/>
                    <a:pt x="2515" y="266"/>
                    <a:pt x="2515" y="266"/>
                  </a:cubicBezTo>
                  <a:cubicBezTo>
                    <a:pt x="2516" y="284"/>
                    <a:pt x="2516" y="284"/>
                    <a:pt x="2516" y="284"/>
                  </a:cubicBezTo>
                  <a:cubicBezTo>
                    <a:pt x="2516" y="284"/>
                    <a:pt x="2547" y="265"/>
                    <a:pt x="2556" y="260"/>
                  </a:cubicBezTo>
                  <a:cubicBezTo>
                    <a:pt x="2565" y="255"/>
                    <a:pt x="2597" y="254"/>
                    <a:pt x="2597" y="254"/>
                  </a:cubicBezTo>
                  <a:cubicBezTo>
                    <a:pt x="2597" y="232"/>
                    <a:pt x="2597" y="232"/>
                    <a:pt x="2597" y="232"/>
                  </a:cubicBezTo>
                  <a:cubicBezTo>
                    <a:pt x="2597" y="232"/>
                    <a:pt x="2598" y="232"/>
                    <a:pt x="2598" y="233"/>
                  </a:cubicBezTo>
                  <a:cubicBezTo>
                    <a:pt x="2597" y="229"/>
                    <a:pt x="2597" y="229"/>
                    <a:pt x="2597" y="229"/>
                  </a:cubicBezTo>
                  <a:cubicBezTo>
                    <a:pt x="2597" y="229"/>
                    <a:pt x="2589" y="232"/>
                    <a:pt x="2584" y="227"/>
                  </a:cubicBezTo>
                  <a:cubicBezTo>
                    <a:pt x="2579" y="222"/>
                    <a:pt x="2593" y="209"/>
                    <a:pt x="2593" y="209"/>
                  </a:cubicBezTo>
                  <a:cubicBezTo>
                    <a:pt x="2593" y="209"/>
                    <a:pt x="2585" y="205"/>
                    <a:pt x="2582" y="202"/>
                  </a:cubicBezTo>
                  <a:cubicBezTo>
                    <a:pt x="2579" y="199"/>
                    <a:pt x="2609" y="142"/>
                    <a:pt x="2609" y="125"/>
                  </a:cubicBezTo>
                  <a:cubicBezTo>
                    <a:pt x="2609" y="108"/>
                    <a:pt x="2582" y="119"/>
                    <a:pt x="2570" y="119"/>
                  </a:cubicBezTo>
                  <a:close/>
                  <a:moveTo>
                    <a:pt x="1811" y="252"/>
                  </a:moveTo>
                  <a:cubicBezTo>
                    <a:pt x="1797" y="252"/>
                    <a:pt x="1817" y="235"/>
                    <a:pt x="1810" y="232"/>
                  </a:cubicBezTo>
                  <a:cubicBezTo>
                    <a:pt x="1803" y="229"/>
                    <a:pt x="1793" y="242"/>
                    <a:pt x="1793" y="242"/>
                  </a:cubicBezTo>
                  <a:cubicBezTo>
                    <a:pt x="1788" y="244"/>
                    <a:pt x="1788" y="244"/>
                    <a:pt x="1788" y="244"/>
                  </a:cubicBezTo>
                  <a:cubicBezTo>
                    <a:pt x="1784" y="255"/>
                    <a:pt x="1784" y="255"/>
                    <a:pt x="1784" y="255"/>
                  </a:cubicBezTo>
                  <a:cubicBezTo>
                    <a:pt x="1773" y="251"/>
                    <a:pt x="1773" y="251"/>
                    <a:pt x="1773" y="251"/>
                  </a:cubicBezTo>
                  <a:cubicBezTo>
                    <a:pt x="1773" y="251"/>
                    <a:pt x="1773" y="262"/>
                    <a:pt x="1770" y="269"/>
                  </a:cubicBezTo>
                  <a:cubicBezTo>
                    <a:pt x="1767" y="276"/>
                    <a:pt x="1757" y="279"/>
                    <a:pt x="1752" y="284"/>
                  </a:cubicBezTo>
                  <a:cubicBezTo>
                    <a:pt x="1747" y="289"/>
                    <a:pt x="1753" y="297"/>
                    <a:pt x="1753" y="297"/>
                  </a:cubicBezTo>
                  <a:cubicBezTo>
                    <a:pt x="1753" y="297"/>
                    <a:pt x="1749" y="297"/>
                    <a:pt x="1736" y="311"/>
                  </a:cubicBezTo>
                  <a:cubicBezTo>
                    <a:pt x="1723" y="325"/>
                    <a:pt x="1741" y="325"/>
                    <a:pt x="1741" y="333"/>
                  </a:cubicBezTo>
                  <a:cubicBezTo>
                    <a:pt x="1741" y="341"/>
                    <a:pt x="1734" y="342"/>
                    <a:pt x="1734" y="342"/>
                  </a:cubicBezTo>
                  <a:cubicBezTo>
                    <a:pt x="1734" y="342"/>
                    <a:pt x="1742" y="346"/>
                    <a:pt x="1719" y="378"/>
                  </a:cubicBezTo>
                  <a:cubicBezTo>
                    <a:pt x="1696" y="410"/>
                    <a:pt x="1651" y="420"/>
                    <a:pt x="1651" y="420"/>
                  </a:cubicBezTo>
                  <a:cubicBezTo>
                    <a:pt x="1654" y="400"/>
                    <a:pt x="1654" y="400"/>
                    <a:pt x="1654" y="400"/>
                  </a:cubicBezTo>
                  <a:cubicBezTo>
                    <a:pt x="1654" y="400"/>
                    <a:pt x="1650" y="393"/>
                    <a:pt x="1648" y="389"/>
                  </a:cubicBezTo>
                  <a:cubicBezTo>
                    <a:pt x="1646" y="385"/>
                    <a:pt x="1663" y="365"/>
                    <a:pt x="1665" y="358"/>
                  </a:cubicBezTo>
                  <a:cubicBezTo>
                    <a:pt x="1667" y="351"/>
                    <a:pt x="1661" y="350"/>
                    <a:pt x="1663" y="338"/>
                  </a:cubicBezTo>
                  <a:cubicBezTo>
                    <a:pt x="1665" y="326"/>
                    <a:pt x="1687" y="307"/>
                    <a:pt x="1687" y="307"/>
                  </a:cubicBezTo>
                  <a:cubicBezTo>
                    <a:pt x="1687" y="298"/>
                    <a:pt x="1687" y="298"/>
                    <a:pt x="1687" y="298"/>
                  </a:cubicBezTo>
                  <a:cubicBezTo>
                    <a:pt x="1687" y="298"/>
                    <a:pt x="1708" y="283"/>
                    <a:pt x="1711" y="277"/>
                  </a:cubicBezTo>
                  <a:cubicBezTo>
                    <a:pt x="1714" y="271"/>
                    <a:pt x="1746" y="240"/>
                    <a:pt x="1746" y="240"/>
                  </a:cubicBezTo>
                  <a:cubicBezTo>
                    <a:pt x="1725" y="246"/>
                    <a:pt x="1725" y="246"/>
                    <a:pt x="1725" y="246"/>
                  </a:cubicBezTo>
                  <a:cubicBezTo>
                    <a:pt x="1725" y="246"/>
                    <a:pt x="1702" y="265"/>
                    <a:pt x="1698" y="260"/>
                  </a:cubicBezTo>
                  <a:cubicBezTo>
                    <a:pt x="1694" y="255"/>
                    <a:pt x="1734" y="231"/>
                    <a:pt x="1739" y="223"/>
                  </a:cubicBezTo>
                  <a:cubicBezTo>
                    <a:pt x="1744" y="215"/>
                    <a:pt x="1772" y="194"/>
                    <a:pt x="1772" y="194"/>
                  </a:cubicBezTo>
                  <a:cubicBezTo>
                    <a:pt x="1777" y="200"/>
                    <a:pt x="1777" y="200"/>
                    <a:pt x="1777" y="200"/>
                  </a:cubicBezTo>
                  <a:cubicBezTo>
                    <a:pt x="1787" y="194"/>
                    <a:pt x="1787" y="194"/>
                    <a:pt x="1787" y="194"/>
                  </a:cubicBezTo>
                  <a:cubicBezTo>
                    <a:pt x="1787" y="194"/>
                    <a:pt x="1782" y="203"/>
                    <a:pt x="1792" y="202"/>
                  </a:cubicBezTo>
                  <a:cubicBezTo>
                    <a:pt x="1802" y="201"/>
                    <a:pt x="1799" y="187"/>
                    <a:pt x="1799" y="187"/>
                  </a:cubicBezTo>
                  <a:cubicBezTo>
                    <a:pt x="1815" y="192"/>
                    <a:pt x="1815" y="192"/>
                    <a:pt x="1815" y="192"/>
                  </a:cubicBezTo>
                  <a:cubicBezTo>
                    <a:pt x="1815" y="192"/>
                    <a:pt x="1837" y="181"/>
                    <a:pt x="1847" y="184"/>
                  </a:cubicBezTo>
                  <a:cubicBezTo>
                    <a:pt x="1857" y="187"/>
                    <a:pt x="1862" y="199"/>
                    <a:pt x="1862" y="199"/>
                  </a:cubicBezTo>
                  <a:cubicBezTo>
                    <a:pt x="1845" y="205"/>
                    <a:pt x="1845" y="205"/>
                    <a:pt x="1845" y="205"/>
                  </a:cubicBezTo>
                  <a:cubicBezTo>
                    <a:pt x="1847" y="222"/>
                    <a:pt x="1847" y="222"/>
                    <a:pt x="1847" y="222"/>
                  </a:cubicBezTo>
                  <a:cubicBezTo>
                    <a:pt x="1847" y="222"/>
                    <a:pt x="1835" y="220"/>
                    <a:pt x="1828" y="220"/>
                  </a:cubicBezTo>
                  <a:cubicBezTo>
                    <a:pt x="1821" y="220"/>
                    <a:pt x="1824" y="237"/>
                    <a:pt x="1824" y="237"/>
                  </a:cubicBezTo>
                  <a:cubicBezTo>
                    <a:pt x="1824" y="237"/>
                    <a:pt x="1825" y="252"/>
                    <a:pt x="1811" y="252"/>
                  </a:cubicBezTo>
                  <a:close/>
                </a:path>
              </a:pathLst>
            </a:custGeom>
            <a:grpFill/>
            <a:ln w="317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237" dirty="0"/>
            </a:p>
          </p:txBody>
        </p:sp>
      </p:grpSp>
      <p:sp>
        <p:nvSpPr>
          <p:cNvPr id="34821" name="Rectangle 18"/>
          <p:cNvSpPr>
            <a:spLocks noChangeArrowheads="1"/>
          </p:cNvSpPr>
          <p:nvPr/>
        </p:nvSpPr>
        <p:spPr bwMode="auto">
          <a:xfrm>
            <a:off x="4912231" y="4821611"/>
            <a:ext cx="54021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Johannesburg</a:t>
            </a:r>
            <a:endParaRPr lang="en-US" sz="1999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22" name="Oval 19"/>
          <p:cNvSpPr>
            <a:spLocks noChangeArrowheads="1"/>
          </p:cNvSpPr>
          <p:nvPr/>
        </p:nvSpPr>
        <p:spPr bwMode="auto">
          <a:xfrm>
            <a:off x="4814518" y="4553119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23" name="Rectangle 28"/>
          <p:cNvSpPr>
            <a:spLocks noChangeArrowheads="1"/>
          </p:cNvSpPr>
          <p:nvPr/>
        </p:nvSpPr>
        <p:spPr bwMode="auto">
          <a:xfrm>
            <a:off x="6790584" y="4128560"/>
            <a:ext cx="38472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Singapore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24" name="Oval 29"/>
          <p:cNvSpPr>
            <a:spLocks noChangeArrowheads="1"/>
          </p:cNvSpPr>
          <p:nvPr/>
        </p:nvSpPr>
        <p:spPr bwMode="auto">
          <a:xfrm>
            <a:off x="6707174" y="3774101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25" name="Oval 20"/>
          <p:cNvSpPr>
            <a:spLocks noChangeArrowheads="1"/>
          </p:cNvSpPr>
          <p:nvPr/>
        </p:nvSpPr>
        <p:spPr bwMode="auto">
          <a:xfrm>
            <a:off x="6942598" y="3112792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26" name="Rectangle 24"/>
          <p:cNvSpPr>
            <a:spLocks noChangeArrowheads="1"/>
          </p:cNvSpPr>
          <p:nvPr/>
        </p:nvSpPr>
        <p:spPr bwMode="auto">
          <a:xfrm>
            <a:off x="7315315" y="3144541"/>
            <a:ext cx="4264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Hong Kong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27" name="Oval 30"/>
          <p:cNvSpPr>
            <a:spLocks noChangeArrowheads="1"/>
          </p:cNvSpPr>
          <p:nvPr/>
        </p:nvSpPr>
        <p:spPr bwMode="auto">
          <a:xfrm>
            <a:off x="6814306" y="2660464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28" name="Rectangle 31"/>
          <p:cNvSpPr>
            <a:spLocks noChangeArrowheads="1"/>
          </p:cNvSpPr>
          <p:nvPr/>
        </p:nvSpPr>
        <p:spPr bwMode="auto">
          <a:xfrm>
            <a:off x="6938643" y="1545067"/>
            <a:ext cx="26449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Beijing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29" name="Oval 16"/>
          <p:cNvSpPr>
            <a:spLocks noChangeArrowheads="1"/>
          </p:cNvSpPr>
          <p:nvPr/>
        </p:nvSpPr>
        <p:spPr bwMode="auto">
          <a:xfrm>
            <a:off x="1957681" y="3234477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30" name="Oval 17"/>
          <p:cNvSpPr>
            <a:spLocks noChangeArrowheads="1"/>
          </p:cNvSpPr>
          <p:nvPr/>
        </p:nvSpPr>
        <p:spPr bwMode="auto">
          <a:xfrm>
            <a:off x="2552855" y="2726593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31" name="Rectangle 22"/>
          <p:cNvSpPr>
            <a:spLocks noChangeArrowheads="1"/>
          </p:cNvSpPr>
          <p:nvPr/>
        </p:nvSpPr>
        <p:spPr bwMode="auto">
          <a:xfrm>
            <a:off x="2676171" y="1438373"/>
            <a:ext cx="63158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Washington D.C.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32" name="Rectangle 27"/>
          <p:cNvSpPr>
            <a:spLocks noChangeArrowheads="1"/>
          </p:cNvSpPr>
          <p:nvPr/>
        </p:nvSpPr>
        <p:spPr bwMode="auto">
          <a:xfrm>
            <a:off x="2085413" y="1297163"/>
            <a:ext cx="46006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Mexico  City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33" name="Freeform 14"/>
          <p:cNvSpPr>
            <a:spLocks/>
          </p:cNvSpPr>
          <p:nvPr/>
        </p:nvSpPr>
        <p:spPr bwMode="auto">
          <a:xfrm>
            <a:off x="4471963" y="2315261"/>
            <a:ext cx="44990" cy="44990"/>
          </a:xfrm>
          <a:custGeom>
            <a:avLst/>
            <a:gdLst>
              <a:gd name="T0" fmla="*/ 0 w 23"/>
              <a:gd name="T1" fmla="*/ 2147483647 h 21"/>
              <a:gd name="T2" fmla="*/ 0 w 23"/>
              <a:gd name="T3" fmla="*/ 2147483647 h 21"/>
              <a:gd name="T4" fmla="*/ 2147483647 w 23"/>
              <a:gd name="T5" fmla="*/ 2147483647 h 21"/>
              <a:gd name="T6" fmla="*/ 2147483647 w 23"/>
              <a:gd name="T7" fmla="*/ 2147483647 h 21"/>
              <a:gd name="T8" fmla="*/ 2147483647 w 23"/>
              <a:gd name="T9" fmla="*/ 2147483647 h 21"/>
              <a:gd name="T10" fmla="*/ 2147483647 w 23"/>
              <a:gd name="T11" fmla="*/ 2147483647 h 21"/>
              <a:gd name="T12" fmla="*/ 2147483647 w 23"/>
              <a:gd name="T13" fmla="*/ 2147483647 h 21"/>
              <a:gd name="T14" fmla="*/ 2147483647 w 23"/>
              <a:gd name="T15" fmla="*/ 2147483647 h 21"/>
              <a:gd name="T16" fmla="*/ 2147483647 w 23"/>
              <a:gd name="T17" fmla="*/ 2147483647 h 21"/>
              <a:gd name="T18" fmla="*/ 2147483647 w 23"/>
              <a:gd name="T19" fmla="*/ 2147483647 h 21"/>
              <a:gd name="T20" fmla="*/ 2147483647 w 23"/>
              <a:gd name="T21" fmla="*/ 2147483647 h 21"/>
              <a:gd name="T22" fmla="*/ 2147483647 w 23"/>
              <a:gd name="T23" fmla="*/ 2147483647 h 21"/>
              <a:gd name="T24" fmla="*/ 2147483647 w 23"/>
              <a:gd name="T25" fmla="*/ 2147483647 h 21"/>
              <a:gd name="T26" fmla="*/ 2147483647 w 23"/>
              <a:gd name="T27" fmla="*/ 2147483647 h 21"/>
              <a:gd name="T28" fmla="*/ 2147483647 w 23"/>
              <a:gd name="T29" fmla="*/ 2147483647 h 21"/>
              <a:gd name="T30" fmla="*/ 2147483647 w 23"/>
              <a:gd name="T31" fmla="*/ 2147483647 h 21"/>
              <a:gd name="T32" fmla="*/ 2147483647 w 23"/>
              <a:gd name="T33" fmla="*/ 2147483647 h 21"/>
              <a:gd name="T34" fmla="*/ 2147483647 w 23"/>
              <a:gd name="T35" fmla="*/ 2147483647 h 21"/>
              <a:gd name="T36" fmla="*/ 2147483647 w 23"/>
              <a:gd name="T37" fmla="*/ 2147483647 h 21"/>
              <a:gd name="T38" fmla="*/ 2147483647 w 23"/>
              <a:gd name="T39" fmla="*/ 2147483647 h 21"/>
              <a:gd name="T40" fmla="*/ 2147483647 w 23"/>
              <a:gd name="T41" fmla="*/ 2147483647 h 21"/>
              <a:gd name="T42" fmla="*/ 2147483647 w 23"/>
              <a:gd name="T43" fmla="*/ 2147483647 h 21"/>
              <a:gd name="T44" fmla="*/ 2147483647 w 23"/>
              <a:gd name="T45" fmla="*/ 2147483647 h 21"/>
              <a:gd name="T46" fmla="*/ 2147483647 w 23"/>
              <a:gd name="T47" fmla="*/ 2147483647 h 21"/>
              <a:gd name="T48" fmla="*/ 2147483647 w 23"/>
              <a:gd name="T49" fmla="*/ 2147483647 h 21"/>
              <a:gd name="T50" fmla="*/ 2147483647 w 23"/>
              <a:gd name="T51" fmla="*/ 0 h 21"/>
              <a:gd name="T52" fmla="*/ 2147483647 w 23"/>
              <a:gd name="T53" fmla="*/ 0 h 21"/>
              <a:gd name="T54" fmla="*/ 2147483647 w 23"/>
              <a:gd name="T55" fmla="*/ 2147483647 h 21"/>
              <a:gd name="T56" fmla="*/ 2147483647 w 23"/>
              <a:gd name="T57" fmla="*/ 2147483647 h 21"/>
              <a:gd name="T58" fmla="*/ 2147483647 w 23"/>
              <a:gd name="T59" fmla="*/ 2147483647 h 21"/>
              <a:gd name="T60" fmla="*/ 2147483647 w 23"/>
              <a:gd name="T61" fmla="*/ 2147483647 h 21"/>
              <a:gd name="T62" fmla="*/ 2147483647 w 23"/>
              <a:gd name="T63" fmla="*/ 2147483647 h 21"/>
              <a:gd name="T64" fmla="*/ 2147483647 w 23"/>
              <a:gd name="T65" fmla="*/ 2147483647 h 21"/>
              <a:gd name="T66" fmla="*/ 2147483647 w 23"/>
              <a:gd name="T67" fmla="*/ 2147483647 h 21"/>
              <a:gd name="T68" fmla="*/ 2147483647 w 23"/>
              <a:gd name="T69" fmla="*/ 2147483647 h 21"/>
              <a:gd name="T70" fmla="*/ 0 w 23"/>
              <a:gd name="T71" fmla="*/ 2147483647 h 21"/>
              <a:gd name="T72" fmla="*/ 0 w 23"/>
              <a:gd name="T73" fmla="*/ 2147483647 h 21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3"/>
              <a:gd name="T112" fmla="*/ 0 h 21"/>
              <a:gd name="T113" fmla="*/ 23 w 23"/>
              <a:gd name="T114" fmla="*/ 21 h 21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3" h="21">
                <a:moveTo>
                  <a:pt x="0" y="11"/>
                </a:moveTo>
                <a:cubicBezTo>
                  <a:pt x="0" y="12"/>
                  <a:pt x="0" y="12"/>
                  <a:pt x="0" y="13"/>
                </a:cubicBezTo>
                <a:cubicBezTo>
                  <a:pt x="0" y="13"/>
                  <a:pt x="1" y="14"/>
                  <a:pt x="1" y="14"/>
                </a:cubicBezTo>
                <a:cubicBezTo>
                  <a:pt x="1" y="15"/>
                  <a:pt x="1" y="15"/>
                  <a:pt x="1" y="15"/>
                </a:cubicBezTo>
                <a:cubicBezTo>
                  <a:pt x="2" y="16"/>
                  <a:pt x="2" y="16"/>
                  <a:pt x="3" y="17"/>
                </a:cubicBezTo>
                <a:cubicBezTo>
                  <a:pt x="3" y="18"/>
                  <a:pt x="3" y="19"/>
                  <a:pt x="3" y="20"/>
                </a:cubicBezTo>
                <a:cubicBezTo>
                  <a:pt x="3" y="20"/>
                  <a:pt x="4" y="20"/>
                  <a:pt x="4" y="21"/>
                </a:cubicBezTo>
                <a:cubicBezTo>
                  <a:pt x="5" y="21"/>
                  <a:pt x="6" y="21"/>
                  <a:pt x="7" y="21"/>
                </a:cubicBezTo>
                <a:cubicBezTo>
                  <a:pt x="8" y="21"/>
                  <a:pt x="9" y="21"/>
                  <a:pt x="10" y="21"/>
                </a:cubicBezTo>
                <a:cubicBezTo>
                  <a:pt x="10" y="21"/>
                  <a:pt x="11" y="21"/>
                  <a:pt x="12" y="20"/>
                </a:cubicBezTo>
                <a:cubicBezTo>
                  <a:pt x="13" y="20"/>
                  <a:pt x="14" y="20"/>
                  <a:pt x="15" y="20"/>
                </a:cubicBezTo>
                <a:cubicBezTo>
                  <a:pt x="15" y="20"/>
                  <a:pt x="17" y="20"/>
                  <a:pt x="18" y="20"/>
                </a:cubicBezTo>
                <a:cubicBezTo>
                  <a:pt x="18" y="20"/>
                  <a:pt x="18" y="19"/>
                  <a:pt x="18" y="19"/>
                </a:cubicBezTo>
                <a:cubicBezTo>
                  <a:pt x="19" y="19"/>
                  <a:pt x="19" y="18"/>
                  <a:pt x="20" y="18"/>
                </a:cubicBezTo>
                <a:cubicBezTo>
                  <a:pt x="20" y="18"/>
                  <a:pt x="20" y="17"/>
                  <a:pt x="20" y="16"/>
                </a:cubicBezTo>
                <a:cubicBezTo>
                  <a:pt x="19" y="16"/>
                  <a:pt x="18" y="15"/>
                  <a:pt x="17" y="14"/>
                </a:cubicBezTo>
                <a:cubicBezTo>
                  <a:pt x="18" y="14"/>
                  <a:pt x="18" y="14"/>
                  <a:pt x="19" y="13"/>
                </a:cubicBezTo>
                <a:cubicBezTo>
                  <a:pt x="20" y="13"/>
                  <a:pt x="21" y="12"/>
                  <a:pt x="22" y="11"/>
                </a:cubicBezTo>
                <a:cubicBezTo>
                  <a:pt x="22" y="11"/>
                  <a:pt x="23" y="11"/>
                  <a:pt x="23" y="11"/>
                </a:cubicBezTo>
                <a:cubicBezTo>
                  <a:pt x="23" y="10"/>
                  <a:pt x="23" y="9"/>
                  <a:pt x="23" y="8"/>
                </a:cubicBezTo>
                <a:cubicBezTo>
                  <a:pt x="22" y="7"/>
                  <a:pt x="21" y="7"/>
                  <a:pt x="21" y="7"/>
                </a:cubicBezTo>
                <a:cubicBezTo>
                  <a:pt x="21" y="6"/>
                  <a:pt x="21" y="5"/>
                  <a:pt x="22" y="4"/>
                </a:cubicBezTo>
                <a:cubicBezTo>
                  <a:pt x="22" y="3"/>
                  <a:pt x="22" y="3"/>
                  <a:pt x="22" y="2"/>
                </a:cubicBezTo>
                <a:cubicBezTo>
                  <a:pt x="20" y="2"/>
                  <a:pt x="19" y="2"/>
                  <a:pt x="17" y="1"/>
                </a:cubicBezTo>
                <a:cubicBezTo>
                  <a:pt x="16" y="1"/>
                  <a:pt x="14" y="1"/>
                  <a:pt x="13" y="1"/>
                </a:cubicBezTo>
                <a:cubicBezTo>
                  <a:pt x="12" y="1"/>
                  <a:pt x="11" y="1"/>
                  <a:pt x="10" y="0"/>
                </a:cubicBezTo>
                <a:cubicBezTo>
                  <a:pt x="9" y="0"/>
                  <a:pt x="8" y="0"/>
                  <a:pt x="7" y="0"/>
                </a:cubicBezTo>
                <a:cubicBezTo>
                  <a:pt x="7" y="1"/>
                  <a:pt x="7" y="2"/>
                  <a:pt x="7" y="2"/>
                </a:cubicBezTo>
                <a:cubicBezTo>
                  <a:pt x="7" y="3"/>
                  <a:pt x="6" y="3"/>
                  <a:pt x="5" y="3"/>
                </a:cubicBezTo>
                <a:cubicBezTo>
                  <a:pt x="4" y="3"/>
                  <a:pt x="4" y="4"/>
                  <a:pt x="3" y="4"/>
                </a:cubicBezTo>
                <a:cubicBezTo>
                  <a:pt x="3" y="4"/>
                  <a:pt x="4" y="5"/>
                  <a:pt x="4" y="6"/>
                </a:cubicBezTo>
                <a:cubicBezTo>
                  <a:pt x="3" y="6"/>
                  <a:pt x="3" y="7"/>
                  <a:pt x="2" y="8"/>
                </a:cubicBezTo>
                <a:cubicBezTo>
                  <a:pt x="2" y="8"/>
                  <a:pt x="3" y="9"/>
                  <a:pt x="3" y="9"/>
                </a:cubicBezTo>
                <a:cubicBezTo>
                  <a:pt x="3" y="10"/>
                  <a:pt x="3" y="10"/>
                  <a:pt x="3" y="10"/>
                </a:cubicBezTo>
                <a:cubicBezTo>
                  <a:pt x="3" y="10"/>
                  <a:pt x="2" y="10"/>
                  <a:pt x="2" y="10"/>
                </a:cubicBezTo>
                <a:cubicBezTo>
                  <a:pt x="1" y="10"/>
                  <a:pt x="1" y="11"/>
                  <a:pt x="0" y="11"/>
                </a:cubicBezTo>
                <a:cubicBezTo>
                  <a:pt x="0" y="11"/>
                  <a:pt x="0" y="11"/>
                  <a:pt x="0" y="11"/>
                </a:cubicBezTo>
                <a:close/>
              </a:path>
            </a:pathLst>
          </a:custGeom>
          <a:solidFill>
            <a:schemeClr val="tx2"/>
          </a:solidFill>
          <a:ln w="0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endParaRPr lang="en-GB" sz="1237" dirty="0"/>
          </a:p>
        </p:txBody>
      </p:sp>
      <p:sp>
        <p:nvSpPr>
          <p:cNvPr id="34834" name="Oval 21"/>
          <p:cNvSpPr>
            <a:spLocks noChangeArrowheads="1"/>
          </p:cNvSpPr>
          <p:nvPr/>
        </p:nvSpPr>
        <p:spPr bwMode="auto">
          <a:xfrm>
            <a:off x="4567647" y="2458079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35" name="Oval 35"/>
          <p:cNvSpPr>
            <a:spLocks noChangeArrowheads="1"/>
          </p:cNvSpPr>
          <p:nvPr/>
        </p:nvSpPr>
        <p:spPr bwMode="auto">
          <a:xfrm>
            <a:off x="4449480" y="2525536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36" name="Oval 36"/>
          <p:cNvSpPr>
            <a:spLocks noChangeArrowheads="1"/>
          </p:cNvSpPr>
          <p:nvPr/>
        </p:nvSpPr>
        <p:spPr bwMode="auto">
          <a:xfrm>
            <a:off x="4313240" y="2385340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38" name="Oval 42"/>
          <p:cNvSpPr>
            <a:spLocks noChangeArrowheads="1"/>
          </p:cNvSpPr>
          <p:nvPr/>
        </p:nvSpPr>
        <p:spPr bwMode="auto">
          <a:xfrm>
            <a:off x="4081781" y="2726593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39" name="Oval 44"/>
          <p:cNvSpPr>
            <a:spLocks noChangeArrowheads="1"/>
          </p:cNvSpPr>
          <p:nvPr/>
        </p:nvSpPr>
        <p:spPr bwMode="auto">
          <a:xfrm>
            <a:off x="4385994" y="2417092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40" name="Oval 46"/>
          <p:cNvSpPr>
            <a:spLocks noChangeArrowheads="1"/>
          </p:cNvSpPr>
          <p:nvPr/>
        </p:nvSpPr>
        <p:spPr bwMode="auto">
          <a:xfrm>
            <a:off x="4223333" y="2660464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41" name="Oval 47"/>
          <p:cNvSpPr>
            <a:spLocks noChangeArrowheads="1"/>
          </p:cNvSpPr>
          <p:nvPr/>
        </p:nvSpPr>
        <p:spPr bwMode="auto">
          <a:xfrm>
            <a:off x="4362826" y="2495775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42" name="Oval 48"/>
          <p:cNvSpPr>
            <a:spLocks noChangeArrowheads="1"/>
          </p:cNvSpPr>
          <p:nvPr/>
        </p:nvSpPr>
        <p:spPr bwMode="auto">
          <a:xfrm>
            <a:off x="4526189" y="2573169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43" name="Oval 49"/>
          <p:cNvSpPr>
            <a:spLocks noChangeArrowheads="1"/>
          </p:cNvSpPr>
          <p:nvPr/>
        </p:nvSpPr>
        <p:spPr bwMode="auto">
          <a:xfrm>
            <a:off x="4597611" y="2495115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44" name="Freeform 221"/>
          <p:cNvSpPr>
            <a:spLocks/>
          </p:cNvSpPr>
          <p:nvPr/>
        </p:nvSpPr>
        <p:spPr bwMode="auto">
          <a:xfrm flipV="1">
            <a:off x="4831712" y="4587508"/>
            <a:ext cx="59986" cy="302877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45" name="Freeform 225"/>
          <p:cNvSpPr>
            <a:spLocks/>
          </p:cNvSpPr>
          <p:nvPr/>
        </p:nvSpPr>
        <p:spPr bwMode="auto">
          <a:xfrm>
            <a:off x="6838113" y="1602314"/>
            <a:ext cx="75388" cy="1079750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46" name="Freeform 226"/>
          <p:cNvSpPr>
            <a:spLocks/>
          </p:cNvSpPr>
          <p:nvPr/>
        </p:nvSpPr>
        <p:spPr bwMode="auto">
          <a:xfrm>
            <a:off x="6966404" y="1735954"/>
            <a:ext cx="91260" cy="1392709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47" name="Freeform 227"/>
          <p:cNvSpPr>
            <a:spLocks/>
          </p:cNvSpPr>
          <p:nvPr/>
        </p:nvSpPr>
        <p:spPr bwMode="auto">
          <a:xfrm>
            <a:off x="2574017" y="1508491"/>
            <a:ext cx="89979" cy="1229715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48" name="Freeform 230"/>
          <p:cNvSpPr>
            <a:spLocks/>
          </p:cNvSpPr>
          <p:nvPr/>
        </p:nvSpPr>
        <p:spPr bwMode="auto">
          <a:xfrm>
            <a:off x="1981486" y="1356835"/>
            <a:ext cx="89979" cy="1889563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49" name="Freeform 231"/>
          <p:cNvSpPr>
            <a:spLocks/>
          </p:cNvSpPr>
          <p:nvPr/>
        </p:nvSpPr>
        <p:spPr bwMode="auto">
          <a:xfrm flipV="1">
            <a:off x="6729657" y="3802206"/>
            <a:ext cx="38356" cy="390170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rgbClr val="B7B720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50" name="Rectangle 23"/>
          <p:cNvSpPr>
            <a:spLocks noChangeArrowheads="1"/>
          </p:cNvSpPr>
          <p:nvPr/>
        </p:nvSpPr>
        <p:spPr bwMode="auto">
          <a:xfrm>
            <a:off x="4508463" y="1156560"/>
            <a:ext cx="24045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Zurich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51" name="Rectangle 32"/>
          <p:cNvSpPr>
            <a:spLocks noChangeArrowheads="1"/>
          </p:cNvSpPr>
          <p:nvPr/>
        </p:nvSpPr>
        <p:spPr bwMode="auto">
          <a:xfrm>
            <a:off x="3678546" y="2364403"/>
            <a:ext cx="33182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Brussels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52" name="Rectangle 34"/>
          <p:cNvSpPr>
            <a:spLocks noChangeArrowheads="1"/>
          </p:cNvSpPr>
          <p:nvPr/>
        </p:nvSpPr>
        <p:spPr bwMode="auto">
          <a:xfrm>
            <a:off x="4394897" y="913284"/>
            <a:ext cx="28854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London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53" name="Rectangle 38"/>
          <p:cNvSpPr>
            <a:spLocks noChangeArrowheads="1"/>
          </p:cNvSpPr>
          <p:nvPr/>
        </p:nvSpPr>
        <p:spPr bwMode="auto">
          <a:xfrm>
            <a:off x="3523119" y="2704113"/>
            <a:ext cx="25808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Lisbon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54" name="Rectangle 39"/>
          <p:cNvSpPr>
            <a:spLocks noChangeArrowheads="1"/>
          </p:cNvSpPr>
          <p:nvPr/>
        </p:nvSpPr>
        <p:spPr bwMode="auto">
          <a:xfrm>
            <a:off x="3657722" y="2604919"/>
            <a:ext cx="25808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Madrid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55" name="Rectangle 40"/>
          <p:cNvSpPr>
            <a:spLocks noChangeArrowheads="1"/>
          </p:cNvSpPr>
          <p:nvPr/>
        </p:nvSpPr>
        <p:spPr bwMode="auto">
          <a:xfrm>
            <a:off x="4587849" y="1385103"/>
            <a:ext cx="31579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Bologna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56" name="Rectangle 41"/>
          <p:cNvSpPr>
            <a:spLocks noChangeArrowheads="1"/>
          </p:cNvSpPr>
          <p:nvPr/>
        </p:nvSpPr>
        <p:spPr bwMode="auto">
          <a:xfrm>
            <a:off x="3868927" y="2468686"/>
            <a:ext cx="19236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Paris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57" name="Rectangle 43"/>
          <p:cNvSpPr>
            <a:spLocks noChangeArrowheads="1"/>
          </p:cNvSpPr>
          <p:nvPr/>
        </p:nvSpPr>
        <p:spPr bwMode="auto">
          <a:xfrm>
            <a:off x="4657981" y="1611616"/>
            <a:ext cx="25808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Vienna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58" name="Rectangle 45"/>
          <p:cNvSpPr>
            <a:spLocks noChangeArrowheads="1"/>
          </p:cNvSpPr>
          <p:nvPr/>
        </p:nvSpPr>
        <p:spPr bwMode="auto">
          <a:xfrm>
            <a:off x="4469175" y="1028352"/>
            <a:ext cx="43281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Amsterdam</a:t>
            </a:r>
          </a:p>
        </p:txBody>
      </p:sp>
      <p:sp>
        <p:nvSpPr>
          <p:cNvPr id="34861" name="Freeform 249"/>
          <p:cNvSpPr>
            <a:spLocks/>
          </p:cNvSpPr>
          <p:nvPr/>
        </p:nvSpPr>
        <p:spPr bwMode="auto">
          <a:xfrm>
            <a:off x="4549335" y="1484309"/>
            <a:ext cx="59518" cy="1109743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62" name="Freeform 250"/>
          <p:cNvSpPr>
            <a:spLocks/>
          </p:cNvSpPr>
          <p:nvPr/>
        </p:nvSpPr>
        <p:spPr bwMode="auto">
          <a:xfrm>
            <a:off x="4336477" y="1013811"/>
            <a:ext cx="59986" cy="1379680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64" name="Freeform 252"/>
          <p:cNvSpPr>
            <a:spLocks/>
          </p:cNvSpPr>
          <p:nvPr/>
        </p:nvSpPr>
        <p:spPr bwMode="auto">
          <a:xfrm>
            <a:off x="4428977" y="1129544"/>
            <a:ext cx="59986" cy="1259708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65" name="Rectangle 45"/>
          <p:cNvSpPr>
            <a:spLocks noChangeArrowheads="1"/>
          </p:cNvSpPr>
          <p:nvPr/>
        </p:nvSpPr>
        <p:spPr bwMode="auto">
          <a:xfrm>
            <a:off x="4543143" y="1276546"/>
            <a:ext cx="34304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Frankfurt</a:t>
            </a:r>
          </a:p>
        </p:txBody>
      </p:sp>
      <p:sp>
        <p:nvSpPr>
          <p:cNvPr id="34866" name="Freeform 254"/>
          <p:cNvSpPr>
            <a:spLocks/>
          </p:cNvSpPr>
          <p:nvPr/>
        </p:nvSpPr>
        <p:spPr bwMode="auto">
          <a:xfrm>
            <a:off x="4619435" y="1706589"/>
            <a:ext cx="59986" cy="809813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67" name="Freeform 255"/>
          <p:cNvSpPr>
            <a:spLocks/>
          </p:cNvSpPr>
          <p:nvPr/>
        </p:nvSpPr>
        <p:spPr bwMode="auto">
          <a:xfrm>
            <a:off x="4590997" y="1607678"/>
            <a:ext cx="59517" cy="869799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70" name="Freeform 226"/>
          <p:cNvSpPr>
            <a:spLocks/>
          </p:cNvSpPr>
          <p:nvPr/>
        </p:nvSpPr>
        <p:spPr bwMode="auto">
          <a:xfrm>
            <a:off x="7066928" y="1852548"/>
            <a:ext cx="91260" cy="1169729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71" name="Oval 30"/>
          <p:cNvSpPr>
            <a:spLocks noChangeArrowheads="1"/>
          </p:cNvSpPr>
          <p:nvPr/>
        </p:nvSpPr>
        <p:spPr bwMode="auto">
          <a:xfrm>
            <a:off x="7043117" y="3005664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72" name="Rectangle 31"/>
          <p:cNvSpPr>
            <a:spLocks noChangeArrowheads="1"/>
          </p:cNvSpPr>
          <p:nvPr/>
        </p:nvSpPr>
        <p:spPr bwMode="auto">
          <a:xfrm>
            <a:off x="7180109" y="1786732"/>
            <a:ext cx="3542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Shanghai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73" name="Freeform 225"/>
          <p:cNvSpPr>
            <a:spLocks/>
          </p:cNvSpPr>
          <p:nvPr/>
        </p:nvSpPr>
        <p:spPr bwMode="auto">
          <a:xfrm>
            <a:off x="7713680" y="3501643"/>
            <a:ext cx="75389" cy="1154639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74" name="Oval 30"/>
          <p:cNvSpPr>
            <a:spLocks noChangeArrowheads="1"/>
          </p:cNvSpPr>
          <p:nvPr/>
        </p:nvSpPr>
        <p:spPr bwMode="auto">
          <a:xfrm>
            <a:off x="7693840" y="4657109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75" name="Rectangle 31"/>
          <p:cNvSpPr>
            <a:spLocks noChangeArrowheads="1"/>
          </p:cNvSpPr>
          <p:nvPr/>
        </p:nvSpPr>
        <p:spPr bwMode="auto">
          <a:xfrm>
            <a:off x="7814278" y="3432869"/>
            <a:ext cx="27892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Sydney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76" name="Oval 21"/>
          <p:cNvSpPr>
            <a:spLocks noChangeArrowheads="1"/>
          </p:cNvSpPr>
          <p:nvPr/>
        </p:nvSpPr>
        <p:spPr bwMode="auto">
          <a:xfrm>
            <a:off x="4668372" y="2190946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77" name="Freeform 254"/>
          <p:cNvSpPr>
            <a:spLocks/>
          </p:cNvSpPr>
          <p:nvPr/>
        </p:nvSpPr>
        <p:spPr bwMode="auto">
          <a:xfrm>
            <a:off x="4691520" y="1901293"/>
            <a:ext cx="38355" cy="299930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78" name="Rectangle 34"/>
          <p:cNvSpPr>
            <a:spLocks noChangeArrowheads="1"/>
          </p:cNvSpPr>
          <p:nvPr/>
        </p:nvSpPr>
        <p:spPr bwMode="auto">
          <a:xfrm>
            <a:off x="4710413" y="1800101"/>
            <a:ext cx="40235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Stockholm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79" name="Oval 21"/>
          <p:cNvSpPr>
            <a:spLocks noChangeArrowheads="1"/>
          </p:cNvSpPr>
          <p:nvPr/>
        </p:nvSpPr>
        <p:spPr bwMode="auto">
          <a:xfrm>
            <a:off x="4636626" y="2468685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80" name="Freeform 255"/>
          <p:cNvSpPr>
            <a:spLocks/>
          </p:cNvSpPr>
          <p:nvPr/>
        </p:nvSpPr>
        <p:spPr bwMode="auto">
          <a:xfrm>
            <a:off x="4659776" y="1807385"/>
            <a:ext cx="119035" cy="689840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81" name="Rectangle 40"/>
          <p:cNvSpPr>
            <a:spLocks noChangeArrowheads="1"/>
          </p:cNvSpPr>
          <p:nvPr/>
        </p:nvSpPr>
        <p:spPr bwMode="auto">
          <a:xfrm>
            <a:off x="4760104" y="1708181"/>
            <a:ext cx="35747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Budapest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82" name="Oval 21"/>
          <p:cNvSpPr>
            <a:spLocks noChangeArrowheads="1"/>
          </p:cNvSpPr>
          <p:nvPr/>
        </p:nvSpPr>
        <p:spPr bwMode="auto">
          <a:xfrm>
            <a:off x="4476593" y="2456577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83" name="Freeform 255"/>
          <p:cNvSpPr>
            <a:spLocks/>
          </p:cNvSpPr>
          <p:nvPr/>
        </p:nvSpPr>
        <p:spPr bwMode="auto">
          <a:xfrm>
            <a:off x="4499079" y="1377872"/>
            <a:ext cx="59986" cy="1109743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84" name="Rectangle 43"/>
          <p:cNvSpPr>
            <a:spLocks noChangeArrowheads="1"/>
          </p:cNvSpPr>
          <p:nvPr/>
        </p:nvSpPr>
        <p:spPr bwMode="auto">
          <a:xfrm>
            <a:off x="4632067" y="1506490"/>
            <a:ext cx="26609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Prague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34885" name="Freeform 231"/>
          <p:cNvSpPr>
            <a:spLocks/>
          </p:cNvSpPr>
          <p:nvPr/>
        </p:nvSpPr>
        <p:spPr bwMode="auto">
          <a:xfrm flipV="1">
            <a:off x="5478468" y="3065180"/>
            <a:ext cx="38356" cy="927150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34886" name="Oval 20"/>
          <p:cNvSpPr>
            <a:spLocks noChangeArrowheads="1"/>
          </p:cNvSpPr>
          <p:nvPr/>
        </p:nvSpPr>
        <p:spPr bwMode="auto">
          <a:xfrm>
            <a:off x="5459953" y="3065182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34887" name="Rectangle 31"/>
          <p:cNvSpPr>
            <a:spLocks noChangeArrowheads="1"/>
          </p:cNvSpPr>
          <p:nvPr/>
        </p:nvSpPr>
        <p:spPr bwMode="auto">
          <a:xfrm>
            <a:off x="5533328" y="3923556"/>
            <a:ext cx="21961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Dubai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254" name="Freeform 254"/>
          <p:cNvSpPr>
            <a:spLocks/>
          </p:cNvSpPr>
          <p:nvPr/>
        </p:nvSpPr>
        <p:spPr bwMode="auto">
          <a:xfrm rot="5400000" flipV="1">
            <a:off x="4201489" y="2389083"/>
            <a:ext cx="38355" cy="299931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255" name="Freeform 254"/>
          <p:cNvSpPr>
            <a:spLocks/>
          </p:cNvSpPr>
          <p:nvPr/>
        </p:nvSpPr>
        <p:spPr bwMode="auto">
          <a:xfrm rot="5400000" flipV="1">
            <a:off x="4054190" y="2550175"/>
            <a:ext cx="38355" cy="299931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256" name="Freeform 254"/>
          <p:cNvSpPr>
            <a:spLocks/>
          </p:cNvSpPr>
          <p:nvPr/>
        </p:nvSpPr>
        <p:spPr bwMode="auto">
          <a:xfrm rot="5400000" flipV="1">
            <a:off x="3921911" y="2616969"/>
            <a:ext cx="38355" cy="299931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257" name="Freeform 254"/>
          <p:cNvSpPr>
            <a:spLocks/>
          </p:cNvSpPr>
          <p:nvPr/>
        </p:nvSpPr>
        <p:spPr bwMode="auto">
          <a:xfrm rot="16200000" flipH="1" flipV="1">
            <a:off x="7121343" y="3063555"/>
            <a:ext cx="38355" cy="299931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258" name="Oval 20"/>
          <p:cNvSpPr>
            <a:spLocks noChangeArrowheads="1"/>
          </p:cNvSpPr>
          <p:nvPr/>
        </p:nvSpPr>
        <p:spPr bwMode="auto">
          <a:xfrm>
            <a:off x="6961108" y="3173631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259" name="Rectangle 31"/>
          <p:cNvSpPr>
            <a:spLocks noChangeArrowheads="1"/>
          </p:cNvSpPr>
          <p:nvPr/>
        </p:nvSpPr>
        <p:spPr bwMode="auto">
          <a:xfrm>
            <a:off x="7082618" y="1673043"/>
            <a:ext cx="37189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Shenzhen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261" name="Oval 46"/>
          <p:cNvSpPr>
            <a:spLocks noChangeArrowheads="1"/>
          </p:cNvSpPr>
          <p:nvPr/>
        </p:nvSpPr>
        <p:spPr bwMode="auto">
          <a:xfrm>
            <a:off x="5085655" y="2877351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262" name="Rectangle 38"/>
          <p:cNvSpPr>
            <a:spLocks noChangeArrowheads="1"/>
          </p:cNvSpPr>
          <p:nvPr/>
        </p:nvSpPr>
        <p:spPr bwMode="auto">
          <a:xfrm>
            <a:off x="5164238" y="4588197"/>
            <a:ext cx="2051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US" sz="750" b="1" dirty="0">
                <a:solidFill>
                  <a:schemeClr val="tx2"/>
                </a:solidFill>
                <a:latin typeface="Arial Narrow" pitchFamily="34" charset="0"/>
                <a:ea typeface="ＭＳ Ｐゴシック" pitchFamily="34" charset="-128"/>
              </a:rPr>
              <a:t>Israel</a:t>
            </a:r>
            <a:endParaRPr lang="en-US" sz="750" b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263" name="Freeform 231"/>
          <p:cNvSpPr>
            <a:spLocks/>
          </p:cNvSpPr>
          <p:nvPr/>
        </p:nvSpPr>
        <p:spPr bwMode="auto">
          <a:xfrm flipV="1">
            <a:off x="5102847" y="2909776"/>
            <a:ext cx="38356" cy="1739596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264" name="Oval 36"/>
          <p:cNvSpPr>
            <a:spLocks noChangeArrowheads="1"/>
          </p:cNvSpPr>
          <p:nvPr/>
        </p:nvSpPr>
        <p:spPr bwMode="auto">
          <a:xfrm>
            <a:off x="4408488" y="2360250"/>
            <a:ext cx="44990" cy="4499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76172" tIns="38087" rIns="76172" bIns="38087"/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</a:pPr>
            <a:endParaRPr lang="en-US" sz="1999" dirty="0">
              <a:solidFill>
                <a:srgbClr val="0028A0"/>
              </a:solidFill>
              <a:ea typeface="ＭＳ Ｐゴシック" pitchFamily="34" charset="-128"/>
            </a:endParaRPr>
          </a:p>
        </p:txBody>
      </p:sp>
      <p:sp>
        <p:nvSpPr>
          <p:cNvPr id="265" name="Freeform 254"/>
          <p:cNvSpPr>
            <a:spLocks/>
          </p:cNvSpPr>
          <p:nvPr/>
        </p:nvSpPr>
        <p:spPr bwMode="auto">
          <a:xfrm rot="5400000" flipV="1">
            <a:off x="4194046" y="2263124"/>
            <a:ext cx="38355" cy="389910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266" name="Freeform 255"/>
          <p:cNvSpPr>
            <a:spLocks/>
          </p:cNvSpPr>
          <p:nvPr/>
        </p:nvSpPr>
        <p:spPr bwMode="auto">
          <a:xfrm>
            <a:off x="4469086" y="1256386"/>
            <a:ext cx="59986" cy="1289701"/>
          </a:xfrm>
          <a:custGeom>
            <a:avLst/>
            <a:gdLst>
              <a:gd name="T0" fmla="*/ 0 w 363"/>
              <a:gd name="T1" fmla="*/ 2147483647 h 817"/>
              <a:gd name="T2" fmla="*/ 0 w 363"/>
              <a:gd name="T3" fmla="*/ 0 h 817"/>
              <a:gd name="T4" fmla="*/ 2147483647 w 363"/>
              <a:gd name="T5" fmla="*/ 0 h 817"/>
              <a:gd name="T6" fmla="*/ 0 60000 65536"/>
              <a:gd name="T7" fmla="*/ 0 60000 65536"/>
              <a:gd name="T8" fmla="*/ 0 60000 65536"/>
              <a:gd name="T9" fmla="*/ 0 w 363"/>
              <a:gd name="T10" fmla="*/ 0 h 817"/>
              <a:gd name="T11" fmla="*/ 363 w 363"/>
              <a:gd name="T12" fmla="*/ 817 h 8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63" h="817">
                <a:moveTo>
                  <a:pt x="0" y="817"/>
                </a:moveTo>
                <a:lnTo>
                  <a:pt x="0" y="0"/>
                </a:lnTo>
                <a:lnTo>
                  <a:pt x="363" y="0"/>
                </a:lnTo>
              </a:path>
            </a:pathLst>
          </a:cu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 lIns="59973" tIns="29987" rIns="59973" bIns="29987" anchor="ctr"/>
          <a:lstStyle/>
          <a:p>
            <a:endParaRPr lang="en-GB" sz="1237" dirty="0"/>
          </a:p>
        </p:txBody>
      </p:sp>
      <p:sp>
        <p:nvSpPr>
          <p:cNvPr id="252" name="Title 6"/>
          <p:cNvSpPr txBox="1">
            <a:spLocks/>
          </p:cNvSpPr>
          <p:nvPr/>
        </p:nvSpPr>
        <p:spPr bwMode="auto">
          <a:xfrm>
            <a:off x="1403648" y="179959"/>
            <a:ext cx="6796850" cy="8578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Arial" charset="0"/>
              </a:defRPr>
            </a:lvl5pPr>
            <a:lvl6pPr marL="38088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Arial" charset="0"/>
              </a:defRPr>
            </a:lvl6pPr>
            <a:lvl7pPr marL="76176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Arial" charset="0"/>
              </a:defRPr>
            </a:lvl7pPr>
            <a:lvl8pPr marL="114264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Arial" charset="0"/>
              </a:defRPr>
            </a:lvl8pPr>
            <a:lvl9pPr marL="152352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dirty="0"/>
              <a:t>AirPlus offices around the world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405831006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>
            <a:extLst>
              <a:ext uri="{FF2B5EF4-FFF2-40B4-BE49-F238E27FC236}">
                <a16:creationId xmlns:a16="http://schemas.microsoft.com/office/drawing/2014/main" id="{1198024B-7234-4D38-B85E-9927BA7A7A5A}"/>
              </a:ext>
            </a:extLst>
          </p:cNvPr>
          <p:cNvSpPr txBox="1"/>
          <p:nvPr/>
        </p:nvSpPr>
        <p:spPr bwMode="gray">
          <a:xfrm>
            <a:off x="2163435" y="2188703"/>
            <a:ext cx="3488685" cy="427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BOOK</a:t>
            </a:r>
            <a:endParaRPr lang="en-GB" sz="1050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C25BE329-CFBA-4551-AC80-E2F4809F7870}"/>
              </a:ext>
            </a:extLst>
          </p:cNvPr>
          <p:cNvCxnSpPr>
            <a:cxnSpLocks/>
          </p:cNvCxnSpPr>
          <p:nvPr/>
        </p:nvCxnSpPr>
        <p:spPr bwMode="gray">
          <a:xfrm>
            <a:off x="1259560" y="2260166"/>
            <a:ext cx="3311647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0A14AC94-C382-4F17-A2A4-219301E91858}"/>
              </a:ext>
            </a:extLst>
          </p:cNvPr>
          <p:cNvCxnSpPr>
            <a:cxnSpLocks/>
          </p:cNvCxnSpPr>
          <p:nvPr/>
        </p:nvCxnSpPr>
        <p:spPr bwMode="gray">
          <a:xfrm>
            <a:off x="1260353" y="2929508"/>
            <a:ext cx="3311647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AFD72751-BE1A-47CB-B33D-14FB3760AEC1}"/>
              </a:ext>
            </a:extLst>
          </p:cNvPr>
          <p:cNvCxnSpPr>
            <a:cxnSpLocks/>
          </p:cNvCxnSpPr>
          <p:nvPr/>
        </p:nvCxnSpPr>
        <p:spPr bwMode="gray">
          <a:xfrm>
            <a:off x="1259632" y="3577580"/>
            <a:ext cx="3311647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ECF3D675-FF6D-4553-BCA8-BC482E805533}"/>
              </a:ext>
            </a:extLst>
          </p:cNvPr>
          <p:cNvCxnSpPr>
            <a:cxnSpLocks/>
          </p:cNvCxnSpPr>
          <p:nvPr/>
        </p:nvCxnSpPr>
        <p:spPr bwMode="gray">
          <a:xfrm>
            <a:off x="1259632" y="4297660"/>
            <a:ext cx="3311647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7979AFA-046C-4BCE-90C1-75C678C83291}"/>
              </a:ext>
            </a:extLst>
          </p:cNvPr>
          <p:cNvCxnSpPr>
            <a:cxnSpLocks/>
          </p:cNvCxnSpPr>
          <p:nvPr/>
        </p:nvCxnSpPr>
        <p:spPr bwMode="gray">
          <a:xfrm>
            <a:off x="1259632" y="4945732"/>
            <a:ext cx="3311647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8A3A9C7A-CED6-48B4-9C2A-D1BB5919F720}"/>
              </a:ext>
            </a:extLst>
          </p:cNvPr>
          <p:cNvCxnSpPr>
            <a:cxnSpLocks/>
          </p:cNvCxnSpPr>
          <p:nvPr/>
        </p:nvCxnSpPr>
        <p:spPr bwMode="gray">
          <a:xfrm flipH="1">
            <a:off x="5674417" y="2260166"/>
            <a:ext cx="1554287" cy="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C8AA6484-1803-4D4A-8505-B0FB1B4A4C4B}"/>
              </a:ext>
            </a:extLst>
          </p:cNvPr>
          <p:cNvCxnSpPr>
            <a:cxnSpLocks/>
          </p:cNvCxnSpPr>
          <p:nvPr/>
        </p:nvCxnSpPr>
        <p:spPr bwMode="gray">
          <a:xfrm flipH="1">
            <a:off x="5673600" y="2929508"/>
            <a:ext cx="1555200" cy="7834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5FAF49ED-9445-4EB0-9003-0052BE12E8A8}"/>
              </a:ext>
            </a:extLst>
          </p:cNvPr>
          <p:cNvCxnSpPr>
            <a:cxnSpLocks/>
          </p:cNvCxnSpPr>
          <p:nvPr/>
        </p:nvCxnSpPr>
        <p:spPr bwMode="gray">
          <a:xfrm flipH="1">
            <a:off x="5673600" y="3569746"/>
            <a:ext cx="1555200" cy="7834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DA2BC349-C6C4-422A-8480-F521B76F6B63}"/>
              </a:ext>
            </a:extLst>
          </p:cNvPr>
          <p:cNvCxnSpPr>
            <a:cxnSpLocks/>
          </p:cNvCxnSpPr>
          <p:nvPr/>
        </p:nvCxnSpPr>
        <p:spPr bwMode="gray">
          <a:xfrm flipH="1">
            <a:off x="5673600" y="4297660"/>
            <a:ext cx="1555200" cy="7834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7F3EF442-DE55-4121-B271-FCA1619E7E91}"/>
              </a:ext>
            </a:extLst>
          </p:cNvPr>
          <p:cNvCxnSpPr>
            <a:cxnSpLocks/>
          </p:cNvCxnSpPr>
          <p:nvPr/>
        </p:nvCxnSpPr>
        <p:spPr bwMode="gray">
          <a:xfrm flipH="1">
            <a:off x="5673600" y="4937898"/>
            <a:ext cx="1555200" cy="7834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EA37BF75-8AB0-4EA2-878A-16C0184207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abling payment guarantees, within the </a:t>
            </a:r>
            <a:r>
              <a:rPr lang="en-GB" dirty="0" err="1"/>
              <a:t>WindingTree</a:t>
            </a:r>
            <a:r>
              <a:rPr lang="en-GB" dirty="0"/>
              <a:t> </a:t>
            </a:r>
            <a:br>
              <a:rPr lang="en-GB" dirty="0"/>
            </a:br>
            <a:r>
              <a:rPr lang="en-GB" dirty="0"/>
              <a:t>eco-system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C1BE21-1A98-4FB5-B5B3-C64E571A34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838" y="1427649"/>
            <a:ext cx="7929280" cy="277723"/>
          </a:xfrm>
        </p:spPr>
        <p:txBody>
          <a:bodyPr/>
          <a:lstStyle/>
          <a:p>
            <a:r>
              <a:rPr lang="en-GB" dirty="0"/>
              <a:t>Business problem: hotel providers only accept approved </a:t>
            </a:r>
            <a:r>
              <a:rPr lang="en-GB" dirty="0" err="1"/>
              <a:t>FoP</a:t>
            </a:r>
            <a:r>
              <a:rPr lang="en-GB" dirty="0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E8D51B-6FBC-4014-8D81-78D49528B6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2983091-0DB6-4B6F-9201-B8A539B6DA75}" type="slidenum">
              <a:rPr lang="de-DE" smtClean="0"/>
              <a:pPr/>
              <a:t>4</a:t>
            </a:fld>
            <a:r>
              <a:rPr lang="de-DE"/>
              <a:t> </a:t>
            </a:r>
            <a:endParaRPr lang="de-DE" dirty="0"/>
          </a:p>
        </p:txBody>
      </p:sp>
      <p:pic>
        <p:nvPicPr>
          <p:cNvPr id="10" name="Graphic 9" descr="Man">
            <a:extLst>
              <a:ext uri="{FF2B5EF4-FFF2-40B4-BE49-F238E27FC236}">
                <a16:creationId xmlns:a16="http://schemas.microsoft.com/office/drawing/2014/main" id="{6E95EE4E-036F-4FE7-B953-86D8F60AEC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11560" y="1993404"/>
            <a:ext cx="576064" cy="576064"/>
          </a:xfrm>
          <a:prstGeom prst="rect">
            <a:avLst/>
          </a:prstGeom>
        </p:spPr>
      </p:pic>
      <p:pic>
        <p:nvPicPr>
          <p:cNvPr id="12" name="Graphic 11" descr="Woman">
            <a:extLst>
              <a:ext uri="{FF2B5EF4-FFF2-40B4-BE49-F238E27FC236}">
                <a16:creationId xmlns:a16="http://schemas.microsoft.com/office/drawing/2014/main" id="{20A5C670-55DB-4BEC-A5D7-032BF60D802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11894" y="2688300"/>
            <a:ext cx="576000" cy="576000"/>
          </a:xfrm>
          <a:prstGeom prst="rect">
            <a:avLst/>
          </a:prstGeom>
        </p:spPr>
      </p:pic>
      <p:pic>
        <p:nvPicPr>
          <p:cNvPr id="14" name="Graphic 13" descr="Man and Woman">
            <a:extLst>
              <a:ext uri="{FF2B5EF4-FFF2-40B4-BE49-F238E27FC236}">
                <a16:creationId xmlns:a16="http://schemas.microsoft.com/office/drawing/2014/main" id="{D13226C8-8B49-4597-B605-695EA6E3128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611560" y="3326400"/>
            <a:ext cx="648000" cy="648000"/>
          </a:xfrm>
          <a:prstGeom prst="rect">
            <a:avLst/>
          </a:prstGeom>
        </p:spPr>
      </p:pic>
      <p:pic>
        <p:nvPicPr>
          <p:cNvPr id="16" name="Graphic 15" descr="Family with girl">
            <a:extLst>
              <a:ext uri="{FF2B5EF4-FFF2-40B4-BE49-F238E27FC236}">
                <a16:creationId xmlns:a16="http://schemas.microsoft.com/office/drawing/2014/main" id="{F5598EEF-A058-4C20-A68C-A67486713BE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663238" y="3937620"/>
            <a:ext cx="668402" cy="668402"/>
          </a:xfrm>
          <a:prstGeom prst="rect">
            <a:avLst/>
          </a:prstGeom>
        </p:spPr>
      </p:pic>
      <p:pic>
        <p:nvPicPr>
          <p:cNvPr id="18" name="Graphic 17" descr="Woman">
            <a:extLst>
              <a:ext uri="{FF2B5EF4-FFF2-40B4-BE49-F238E27FC236}">
                <a16:creationId xmlns:a16="http://schemas.microsoft.com/office/drawing/2014/main" id="{37245FBB-B7CF-44A1-91BA-8562FFE9FAD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11560" y="4657700"/>
            <a:ext cx="576000" cy="576000"/>
          </a:xfrm>
          <a:prstGeom prst="rect">
            <a:avLst/>
          </a:prstGeom>
        </p:spPr>
      </p:pic>
      <p:pic>
        <p:nvPicPr>
          <p:cNvPr id="19" name="Grafik 49">
            <a:extLst>
              <a:ext uri="{FF2B5EF4-FFF2-40B4-BE49-F238E27FC236}">
                <a16:creationId xmlns:a16="http://schemas.microsoft.com/office/drawing/2014/main" id="{41B441FE-7F63-4349-A928-90499A0E88AC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/>
          <a:srcRect r="9993"/>
          <a:stretch/>
        </p:blipFill>
        <p:spPr>
          <a:xfrm>
            <a:off x="2267744" y="2097017"/>
            <a:ext cx="540435" cy="368838"/>
          </a:xfrm>
          <a:prstGeom prst="rect">
            <a:avLst/>
          </a:prstGeom>
        </p:spPr>
      </p:pic>
      <p:pic>
        <p:nvPicPr>
          <p:cNvPr id="3074" name="Picture 2" descr="Image result for mastercard">
            <a:extLst>
              <a:ext uri="{FF2B5EF4-FFF2-40B4-BE49-F238E27FC236}">
                <a16:creationId xmlns:a16="http://schemas.microsoft.com/office/drawing/2014/main" id="{73FE9D56-8A5D-47AF-87A7-E81DCEFC66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67" y="2687423"/>
            <a:ext cx="677540" cy="524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Image result for paypal">
            <a:extLst>
              <a:ext uri="{FF2B5EF4-FFF2-40B4-BE49-F238E27FC236}">
                <a16:creationId xmlns:a16="http://schemas.microsoft.com/office/drawing/2014/main" id="{A238AF34-9BFB-43F2-B7EE-AD32F7E25B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7411" y="3433972"/>
            <a:ext cx="1181100" cy="314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Image result for visa">
            <a:extLst>
              <a:ext uri="{FF2B5EF4-FFF2-40B4-BE49-F238E27FC236}">
                <a16:creationId xmlns:a16="http://schemas.microsoft.com/office/drawing/2014/main" id="{DD0465F5-04C5-4106-9AC1-01DD1DAD7B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4655" y="3996867"/>
            <a:ext cx="883363" cy="549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mage result for bitcoin">
            <a:extLst>
              <a:ext uri="{FF2B5EF4-FFF2-40B4-BE49-F238E27FC236}">
                <a16:creationId xmlns:a16="http://schemas.microsoft.com/office/drawing/2014/main" id="{65D61535-FB3F-48CE-A29C-4B5A4D3579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9960" y="4657699"/>
            <a:ext cx="576001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phic 20" descr="Building">
            <a:extLst>
              <a:ext uri="{FF2B5EF4-FFF2-40B4-BE49-F238E27FC236}">
                <a16:creationId xmlns:a16="http://schemas.microsoft.com/office/drawing/2014/main" id="{DAD2E688-CC4C-493D-9F25-258C4FE2879E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4844330" y="1921396"/>
            <a:ext cx="677540" cy="677540"/>
          </a:xfrm>
          <a:prstGeom prst="rect">
            <a:avLst/>
          </a:prstGeom>
        </p:spPr>
      </p:pic>
      <p:pic>
        <p:nvPicPr>
          <p:cNvPr id="28" name="Graphic 27" descr="Building">
            <a:extLst>
              <a:ext uri="{FF2B5EF4-FFF2-40B4-BE49-F238E27FC236}">
                <a16:creationId xmlns:a16="http://schemas.microsoft.com/office/drawing/2014/main" id="{DDFF9DE2-7576-42D1-9B4B-C5332355AACB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4848113" y="3276211"/>
            <a:ext cx="677540" cy="677540"/>
          </a:xfrm>
          <a:prstGeom prst="rect">
            <a:avLst/>
          </a:prstGeom>
        </p:spPr>
      </p:pic>
      <p:pic>
        <p:nvPicPr>
          <p:cNvPr id="30" name="Graphic 29" descr="Building">
            <a:extLst>
              <a:ext uri="{FF2B5EF4-FFF2-40B4-BE49-F238E27FC236}">
                <a16:creationId xmlns:a16="http://schemas.microsoft.com/office/drawing/2014/main" id="{24C4C471-A9A9-411D-95F2-4F6A5715ECE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4844330" y="4628232"/>
            <a:ext cx="677540" cy="677540"/>
          </a:xfrm>
          <a:prstGeom prst="rect">
            <a:avLst/>
          </a:prstGeom>
        </p:spPr>
      </p:pic>
      <p:pic>
        <p:nvPicPr>
          <p:cNvPr id="31" name="Graphic 30" descr="Building">
            <a:extLst>
              <a:ext uri="{FF2B5EF4-FFF2-40B4-BE49-F238E27FC236}">
                <a16:creationId xmlns:a16="http://schemas.microsoft.com/office/drawing/2014/main" id="{8DF3D7B4-A283-4688-9779-CA6D76AAFF92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4844330" y="2598936"/>
            <a:ext cx="677540" cy="677540"/>
          </a:xfrm>
          <a:prstGeom prst="rect">
            <a:avLst/>
          </a:prstGeom>
        </p:spPr>
      </p:pic>
      <p:pic>
        <p:nvPicPr>
          <p:cNvPr id="32" name="Graphic 31" descr="Building">
            <a:extLst>
              <a:ext uri="{FF2B5EF4-FFF2-40B4-BE49-F238E27FC236}">
                <a16:creationId xmlns:a16="http://schemas.microsoft.com/office/drawing/2014/main" id="{E4229F61-E29D-40C0-89F3-8F669BE95A03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4844330" y="3943243"/>
            <a:ext cx="677540" cy="677540"/>
          </a:xfrm>
          <a:prstGeom prst="rect">
            <a:avLst/>
          </a:prstGeom>
        </p:spPr>
      </p:pic>
      <p:pic>
        <p:nvPicPr>
          <p:cNvPr id="33" name="Grafik 49">
            <a:extLst>
              <a:ext uri="{FF2B5EF4-FFF2-40B4-BE49-F238E27FC236}">
                <a16:creationId xmlns:a16="http://schemas.microsoft.com/office/drawing/2014/main" id="{2FA07D4D-1293-42EA-9951-F3BD64A527A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/>
          <a:srcRect r="9993"/>
          <a:stretch/>
        </p:blipFill>
        <p:spPr>
          <a:xfrm>
            <a:off x="7628637" y="2097081"/>
            <a:ext cx="540435" cy="368838"/>
          </a:xfrm>
          <a:prstGeom prst="rect">
            <a:avLst/>
          </a:prstGeom>
        </p:spPr>
      </p:pic>
      <p:pic>
        <p:nvPicPr>
          <p:cNvPr id="34" name="Picture 4" descr="Image result for paypal">
            <a:extLst>
              <a:ext uri="{FF2B5EF4-FFF2-40B4-BE49-F238E27FC236}">
                <a16:creationId xmlns:a16="http://schemas.microsoft.com/office/drawing/2014/main" id="{F4846515-754E-4B9A-9DB8-E20969349E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434036"/>
            <a:ext cx="1181100" cy="314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8" descr="Image result for bitcoin">
            <a:extLst>
              <a:ext uri="{FF2B5EF4-FFF2-40B4-BE49-F238E27FC236}">
                <a16:creationId xmlns:a16="http://schemas.microsoft.com/office/drawing/2014/main" id="{297BDA9B-4005-4310-B22A-E4A4635930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0853" y="4657763"/>
            <a:ext cx="576001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phic 24" descr="Bank">
            <a:extLst>
              <a:ext uri="{FF2B5EF4-FFF2-40B4-BE49-F238E27FC236}">
                <a16:creationId xmlns:a16="http://schemas.microsoft.com/office/drawing/2014/main" id="{A7AFB3D2-91D3-4F30-A775-C8FEAEE02A76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7501093" y="2521604"/>
            <a:ext cx="798032" cy="798032"/>
          </a:xfrm>
          <a:prstGeom prst="rect">
            <a:avLst/>
          </a:prstGeom>
        </p:spPr>
      </p:pic>
      <p:pic>
        <p:nvPicPr>
          <p:cNvPr id="38" name="Graphic 37" descr="Bank">
            <a:extLst>
              <a:ext uri="{FF2B5EF4-FFF2-40B4-BE49-F238E27FC236}">
                <a16:creationId xmlns:a16="http://schemas.microsoft.com/office/drawing/2014/main" id="{A6446377-5102-4C94-A639-B68B9971C3BF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7518384" y="3859668"/>
            <a:ext cx="798032" cy="798032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074567F2-FC88-4EAB-8B00-541DFDC47E19}"/>
              </a:ext>
            </a:extLst>
          </p:cNvPr>
          <p:cNvSpPr txBox="1"/>
          <p:nvPr/>
        </p:nvSpPr>
        <p:spPr bwMode="gray">
          <a:xfrm>
            <a:off x="4717405" y="2199033"/>
            <a:ext cx="3488685" cy="427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APPROVE</a:t>
            </a:r>
            <a:endParaRPr lang="en-GB" sz="1050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Rechteck 2"/>
          <p:cNvSpPr/>
          <p:nvPr/>
        </p:nvSpPr>
        <p:spPr bwMode="gray">
          <a:xfrm>
            <a:off x="405713" y="1777380"/>
            <a:ext cx="8352928" cy="84939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</p:spTree>
    <p:extLst>
      <p:ext uri="{BB962C8B-B14F-4D97-AF65-F5344CB8AC3E}">
        <p14:creationId xmlns:p14="http://schemas.microsoft.com/office/powerpoint/2010/main" val="135537670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6" name="Gerader Verbinder 75"/>
          <p:cNvCxnSpPr/>
          <p:nvPr/>
        </p:nvCxnSpPr>
        <p:spPr bwMode="gray">
          <a:xfrm>
            <a:off x="2826005" y="1473590"/>
            <a:ext cx="3960485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r Verbinder 77"/>
          <p:cNvCxnSpPr/>
          <p:nvPr/>
        </p:nvCxnSpPr>
        <p:spPr bwMode="gray">
          <a:xfrm>
            <a:off x="2846123" y="1715180"/>
            <a:ext cx="3940367" cy="0"/>
          </a:xfrm>
          <a:prstGeom prst="line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/>
          <p:cNvCxnSpPr/>
          <p:nvPr/>
        </p:nvCxnSpPr>
        <p:spPr bwMode="gray">
          <a:xfrm>
            <a:off x="2103026" y="1923670"/>
            <a:ext cx="2198350" cy="235848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/>
          <p:cNvCxnSpPr/>
          <p:nvPr/>
        </p:nvCxnSpPr>
        <p:spPr bwMode="gray">
          <a:xfrm>
            <a:off x="2372493" y="1900989"/>
            <a:ext cx="2030228" cy="213724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/>
          <p:cNvCxnSpPr/>
          <p:nvPr/>
        </p:nvCxnSpPr>
        <p:spPr bwMode="gray">
          <a:xfrm flipH="1">
            <a:off x="5166233" y="1923670"/>
            <a:ext cx="1878632" cy="203314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r Verbinder 85"/>
          <p:cNvCxnSpPr/>
          <p:nvPr/>
        </p:nvCxnSpPr>
        <p:spPr bwMode="gray">
          <a:xfrm flipH="1">
            <a:off x="5279494" y="2032863"/>
            <a:ext cx="1954444" cy="2148648"/>
          </a:xfrm>
          <a:prstGeom prst="line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" name="Group 636">
            <a:extLst>
              <a:ext uri="{FF2B5EF4-FFF2-40B4-BE49-F238E27FC236}">
                <a16:creationId xmlns:a16="http://schemas.microsoft.com/office/drawing/2014/main" id="{5D8B854B-6AE5-4E6E-BD13-8315A0BE07C1}"/>
              </a:ext>
            </a:extLst>
          </p:cNvPr>
          <p:cNvGrpSpPr/>
          <p:nvPr/>
        </p:nvGrpSpPr>
        <p:grpSpPr>
          <a:xfrm>
            <a:off x="4488934" y="3894961"/>
            <a:ext cx="731220" cy="714404"/>
            <a:chOff x="-14243051" y="-4716463"/>
            <a:chExt cx="1727200" cy="1725613"/>
          </a:xfrm>
        </p:grpSpPr>
        <p:sp>
          <p:nvSpPr>
            <p:cNvPr id="97" name="Oval 10">
              <a:extLst>
                <a:ext uri="{FF2B5EF4-FFF2-40B4-BE49-F238E27FC236}">
                  <a16:creationId xmlns:a16="http://schemas.microsoft.com/office/drawing/2014/main" id="{3266D11B-ACFA-445E-B1C0-57190A6B01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979526" y="-4716463"/>
              <a:ext cx="692150" cy="692150"/>
            </a:xfrm>
            <a:prstGeom prst="ellipse">
              <a:avLst/>
            </a:prstGeom>
            <a:solidFill>
              <a:srgbClr val="0A5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11">
              <a:extLst>
                <a:ext uri="{FF2B5EF4-FFF2-40B4-BE49-F238E27FC236}">
                  <a16:creationId xmlns:a16="http://schemas.microsoft.com/office/drawing/2014/main" id="{01C37D2C-66C8-4EF0-93C5-5D0519E64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43051" y="-3932238"/>
              <a:ext cx="1079500" cy="595313"/>
            </a:xfrm>
            <a:custGeom>
              <a:avLst/>
              <a:gdLst>
                <a:gd name="T0" fmla="*/ 280 w 362"/>
                <a:gd name="T1" fmla="*/ 176 h 200"/>
                <a:gd name="T2" fmla="*/ 281 w 362"/>
                <a:gd name="T3" fmla="*/ 192 h 200"/>
                <a:gd name="T4" fmla="*/ 204 w 362"/>
                <a:gd name="T5" fmla="*/ 200 h 200"/>
                <a:gd name="T6" fmla="*/ 0 w 362"/>
                <a:gd name="T7" fmla="*/ 100 h 200"/>
                <a:gd name="T8" fmla="*/ 204 w 362"/>
                <a:gd name="T9" fmla="*/ 0 h 200"/>
                <a:gd name="T10" fmla="*/ 362 w 362"/>
                <a:gd name="T11" fmla="*/ 37 h 200"/>
                <a:gd name="T12" fmla="*/ 280 w 362"/>
                <a:gd name="T13" fmla="*/ 17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2" h="200">
                  <a:moveTo>
                    <a:pt x="280" y="176"/>
                  </a:moveTo>
                  <a:cubicBezTo>
                    <a:pt x="280" y="182"/>
                    <a:pt x="280" y="187"/>
                    <a:pt x="281" y="192"/>
                  </a:cubicBezTo>
                  <a:cubicBezTo>
                    <a:pt x="257" y="197"/>
                    <a:pt x="231" y="200"/>
                    <a:pt x="204" y="200"/>
                  </a:cubicBezTo>
                  <a:cubicBezTo>
                    <a:pt x="91" y="200"/>
                    <a:pt x="0" y="155"/>
                    <a:pt x="0" y="100"/>
                  </a:cubicBezTo>
                  <a:cubicBezTo>
                    <a:pt x="0" y="44"/>
                    <a:pt x="91" y="0"/>
                    <a:pt x="204" y="0"/>
                  </a:cubicBezTo>
                  <a:cubicBezTo>
                    <a:pt x="268" y="0"/>
                    <a:pt x="325" y="14"/>
                    <a:pt x="362" y="37"/>
                  </a:cubicBezTo>
                  <a:cubicBezTo>
                    <a:pt x="313" y="64"/>
                    <a:pt x="280" y="116"/>
                    <a:pt x="280" y="176"/>
                  </a:cubicBezTo>
                  <a:close/>
                </a:path>
              </a:pathLst>
            </a:custGeom>
            <a:solidFill>
              <a:srgbClr val="0A5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1">
              <a:extLst>
                <a:ext uri="{FF2B5EF4-FFF2-40B4-BE49-F238E27FC236}">
                  <a16:creationId xmlns:a16="http://schemas.microsoft.com/office/drawing/2014/main" id="{FFC17628-869A-4702-AFFE-1698A548C9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903201" y="-3371850"/>
              <a:ext cx="65088" cy="176213"/>
            </a:xfrm>
            <a:custGeom>
              <a:avLst/>
              <a:gdLst>
                <a:gd name="T0" fmla="*/ 0 w 22"/>
                <a:gd name="T1" fmla="*/ 59 h 59"/>
                <a:gd name="T2" fmla="*/ 22 w 22"/>
                <a:gd name="T3" fmla="*/ 29 h 59"/>
                <a:gd name="T4" fmla="*/ 0 w 22"/>
                <a:gd name="T5" fmla="*/ 0 h 59"/>
                <a:gd name="T6" fmla="*/ 0 w 22"/>
                <a:gd name="T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9">
                  <a:moveTo>
                    <a:pt x="0" y="59"/>
                  </a:moveTo>
                  <a:cubicBezTo>
                    <a:pt x="12" y="55"/>
                    <a:pt x="22" y="43"/>
                    <a:pt x="22" y="29"/>
                  </a:cubicBezTo>
                  <a:cubicBezTo>
                    <a:pt x="22" y="15"/>
                    <a:pt x="12" y="4"/>
                    <a:pt x="0" y="0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E356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2">
              <a:extLst>
                <a:ext uri="{FF2B5EF4-FFF2-40B4-BE49-F238E27FC236}">
                  <a16:creationId xmlns:a16="http://schemas.microsoft.com/office/drawing/2014/main" id="{57CA3298-92CB-4267-AEB6-374E8BA2F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028613" y="-3619500"/>
              <a:ext cx="65088" cy="179388"/>
            </a:xfrm>
            <a:custGeom>
              <a:avLst/>
              <a:gdLst>
                <a:gd name="T0" fmla="*/ 0 w 22"/>
                <a:gd name="T1" fmla="*/ 30 h 60"/>
                <a:gd name="T2" fmla="*/ 22 w 22"/>
                <a:gd name="T3" fmla="*/ 60 h 60"/>
                <a:gd name="T4" fmla="*/ 22 w 22"/>
                <a:gd name="T5" fmla="*/ 0 h 60"/>
                <a:gd name="T6" fmla="*/ 0 w 22"/>
                <a:gd name="T7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60">
                  <a:moveTo>
                    <a:pt x="0" y="30"/>
                  </a:moveTo>
                  <a:cubicBezTo>
                    <a:pt x="0" y="44"/>
                    <a:pt x="10" y="56"/>
                    <a:pt x="22" y="6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4"/>
                    <a:pt x="0" y="16"/>
                    <a:pt x="0" y="30"/>
                  </a:cubicBezTo>
                  <a:close/>
                </a:path>
              </a:pathLst>
            </a:custGeom>
            <a:solidFill>
              <a:srgbClr val="E356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33">
              <a:extLst>
                <a:ext uri="{FF2B5EF4-FFF2-40B4-BE49-F238E27FC236}">
                  <a16:creationId xmlns:a16="http://schemas.microsoft.com/office/drawing/2014/main" id="{D5F38CF9-ED25-4F01-8014-AA2D35B1D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350876" y="-3822700"/>
              <a:ext cx="835025" cy="831850"/>
            </a:xfrm>
            <a:custGeom>
              <a:avLst/>
              <a:gdLst>
                <a:gd name="T0" fmla="*/ 140 w 280"/>
                <a:gd name="T1" fmla="*/ 0 h 279"/>
                <a:gd name="T2" fmla="*/ 81 w 280"/>
                <a:gd name="T3" fmla="*/ 13 h 279"/>
                <a:gd name="T4" fmla="*/ 0 w 280"/>
                <a:gd name="T5" fmla="*/ 139 h 279"/>
                <a:gd name="T6" fmla="*/ 1 w 280"/>
                <a:gd name="T7" fmla="*/ 151 h 279"/>
                <a:gd name="T8" fmla="*/ 140 w 280"/>
                <a:gd name="T9" fmla="*/ 279 h 279"/>
                <a:gd name="T10" fmla="*/ 280 w 280"/>
                <a:gd name="T11" fmla="*/ 139 h 279"/>
                <a:gd name="T12" fmla="*/ 140 w 280"/>
                <a:gd name="T13" fmla="*/ 0 h 279"/>
                <a:gd name="T14" fmla="*/ 191 w 280"/>
                <a:gd name="T15" fmla="*/ 180 h 279"/>
                <a:gd name="T16" fmla="*/ 150 w 280"/>
                <a:gd name="T17" fmla="*/ 230 h 279"/>
                <a:gd name="T18" fmla="*/ 150 w 280"/>
                <a:gd name="T19" fmla="*/ 252 h 279"/>
                <a:gd name="T20" fmla="*/ 140 w 280"/>
                <a:gd name="T21" fmla="*/ 262 h 279"/>
                <a:gd name="T22" fmla="*/ 130 w 280"/>
                <a:gd name="T23" fmla="*/ 252 h 279"/>
                <a:gd name="T24" fmla="*/ 130 w 280"/>
                <a:gd name="T25" fmla="*/ 230 h 279"/>
                <a:gd name="T26" fmla="*/ 89 w 280"/>
                <a:gd name="T27" fmla="*/ 180 h 279"/>
                <a:gd name="T28" fmla="*/ 99 w 280"/>
                <a:gd name="T29" fmla="*/ 171 h 279"/>
                <a:gd name="T30" fmla="*/ 108 w 280"/>
                <a:gd name="T31" fmla="*/ 180 h 279"/>
                <a:gd name="T32" fmla="*/ 130 w 280"/>
                <a:gd name="T33" fmla="*/ 210 h 279"/>
                <a:gd name="T34" fmla="*/ 130 w 280"/>
                <a:gd name="T35" fmla="*/ 148 h 279"/>
                <a:gd name="T36" fmla="*/ 89 w 280"/>
                <a:gd name="T37" fmla="*/ 98 h 279"/>
                <a:gd name="T38" fmla="*/ 130 w 280"/>
                <a:gd name="T39" fmla="*/ 48 h 279"/>
                <a:gd name="T40" fmla="*/ 130 w 280"/>
                <a:gd name="T41" fmla="*/ 26 h 279"/>
                <a:gd name="T42" fmla="*/ 140 w 280"/>
                <a:gd name="T43" fmla="*/ 17 h 279"/>
                <a:gd name="T44" fmla="*/ 150 w 280"/>
                <a:gd name="T45" fmla="*/ 26 h 279"/>
                <a:gd name="T46" fmla="*/ 150 w 280"/>
                <a:gd name="T47" fmla="*/ 48 h 279"/>
                <a:gd name="T48" fmla="*/ 191 w 280"/>
                <a:gd name="T49" fmla="*/ 98 h 279"/>
                <a:gd name="T50" fmla="*/ 181 w 280"/>
                <a:gd name="T51" fmla="*/ 108 h 279"/>
                <a:gd name="T52" fmla="*/ 172 w 280"/>
                <a:gd name="T53" fmla="*/ 98 h 279"/>
                <a:gd name="T54" fmla="*/ 150 w 280"/>
                <a:gd name="T55" fmla="*/ 68 h 279"/>
                <a:gd name="T56" fmla="*/ 150 w 280"/>
                <a:gd name="T57" fmla="*/ 130 h 279"/>
                <a:gd name="T58" fmla="*/ 191 w 280"/>
                <a:gd name="T59" fmla="*/ 18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0" h="279">
                  <a:moveTo>
                    <a:pt x="140" y="0"/>
                  </a:moveTo>
                  <a:cubicBezTo>
                    <a:pt x="119" y="0"/>
                    <a:pt x="99" y="4"/>
                    <a:pt x="81" y="13"/>
                  </a:cubicBezTo>
                  <a:cubicBezTo>
                    <a:pt x="34" y="35"/>
                    <a:pt x="0" y="83"/>
                    <a:pt x="0" y="139"/>
                  </a:cubicBezTo>
                  <a:cubicBezTo>
                    <a:pt x="0" y="143"/>
                    <a:pt x="1" y="147"/>
                    <a:pt x="1" y="151"/>
                  </a:cubicBezTo>
                  <a:cubicBezTo>
                    <a:pt x="7" y="223"/>
                    <a:pt x="67" y="279"/>
                    <a:pt x="140" y="279"/>
                  </a:cubicBezTo>
                  <a:cubicBezTo>
                    <a:pt x="217" y="279"/>
                    <a:pt x="280" y="216"/>
                    <a:pt x="280" y="139"/>
                  </a:cubicBezTo>
                  <a:cubicBezTo>
                    <a:pt x="280" y="62"/>
                    <a:pt x="217" y="0"/>
                    <a:pt x="140" y="0"/>
                  </a:cubicBezTo>
                  <a:close/>
                  <a:moveTo>
                    <a:pt x="191" y="180"/>
                  </a:moveTo>
                  <a:cubicBezTo>
                    <a:pt x="191" y="205"/>
                    <a:pt x="173" y="226"/>
                    <a:pt x="150" y="230"/>
                  </a:cubicBezTo>
                  <a:cubicBezTo>
                    <a:pt x="150" y="252"/>
                    <a:pt x="150" y="252"/>
                    <a:pt x="150" y="252"/>
                  </a:cubicBezTo>
                  <a:cubicBezTo>
                    <a:pt x="150" y="257"/>
                    <a:pt x="145" y="262"/>
                    <a:pt x="140" y="262"/>
                  </a:cubicBezTo>
                  <a:cubicBezTo>
                    <a:pt x="135" y="262"/>
                    <a:pt x="130" y="257"/>
                    <a:pt x="130" y="252"/>
                  </a:cubicBezTo>
                  <a:cubicBezTo>
                    <a:pt x="130" y="230"/>
                    <a:pt x="130" y="230"/>
                    <a:pt x="130" y="230"/>
                  </a:cubicBezTo>
                  <a:cubicBezTo>
                    <a:pt x="107" y="226"/>
                    <a:pt x="89" y="205"/>
                    <a:pt x="89" y="180"/>
                  </a:cubicBezTo>
                  <a:cubicBezTo>
                    <a:pt x="89" y="175"/>
                    <a:pt x="93" y="171"/>
                    <a:pt x="99" y="171"/>
                  </a:cubicBezTo>
                  <a:cubicBezTo>
                    <a:pt x="104" y="171"/>
                    <a:pt x="108" y="175"/>
                    <a:pt x="108" y="180"/>
                  </a:cubicBezTo>
                  <a:cubicBezTo>
                    <a:pt x="108" y="194"/>
                    <a:pt x="118" y="206"/>
                    <a:pt x="130" y="210"/>
                  </a:cubicBezTo>
                  <a:cubicBezTo>
                    <a:pt x="130" y="148"/>
                    <a:pt x="130" y="148"/>
                    <a:pt x="130" y="148"/>
                  </a:cubicBezTo>
                  <a:cubicBezTo>
                    <a:pt x="107" y="143"/>
                    <a:pt x="89" y="123"/>
                    <a:pt x="89" y="98"/>
                  </a:cubicBezTo>
                  <a:cubicBezTo>
                    <a:pt x="89" y="73"/>
                    <a:pt x="107" y="52"/>
                    <a:pt x="130" y="48"/>
                  </a:cubicBezTo>
                  <a:cubicBezTo>
                    <a:pt x="130" y="26"/>
                    <a:pt x="130" y="26"/>
                    <a:pt x="130" y="26"/>
                  </a:cubicBezTo>
                  <a:cubicBezTo>
                    <a:pt x="130" y="21"/>
                    <a:pt x="135" y="17"/>
                    <a:pt x="140" y="17"/>
                  </a:cubicBezTo>
                  <a:cubicBezTo>
                    <a:pt x="145" y="17"/>
                    <a:pt x="150" y="21"/>
                    <a:pt x="150" y="26"/>
                  </a:cubicBezTo>
                  <a:cubicBezTo>
                    <a:pt x="150" y="48"/>
                    <a:pt x="150" y="48"/>
                    <a:pt x="150" y="48"/>
                  </a:cubicBezTo>
                  <a:cubicBezTo>
                    <a:pt x="173" y="53"/>
                    <a:pt x="191" y="73"/>
                    <a:pt x="191" y="98"/>
                  </a:cubicBezTo>
                  <a:cubicBezTo>
                    <a:pt x="191" y="103"/>
                    <a:pt x="187" y="108"/>
                    <a:pt x="181" y="108"/>
                  </a:cubicBezTo>
                  <a:cubicBezTo>
                    <a:pt x="176" y="108"/>
                    <a:pt x="172" y="103"/>
                    <a:pt x="172" y="98"/>
                  </a:cubicBezTo>
                  <a:cubicBezTo>
                    <a:pt x="172" y="84"/>
                    <a:pt x="162" y="72"/>
                    <a:pt x="150" y="68"/>
                  </a:cubicBezTo>
                  <a:cubicBezTo>
                    <a:pt x="150" y="130"/>
                    <a:pt x="150" y="130"/>
                    <a:pt x="150" y="130"/>
                  </a:cubicBezTo>
                  <a:cubicBezTo>
                    <a:pt x="173" y="135"/>
                    <a:pt x="191" y="156"/>
                    <a:pt x="191" y="180"/>
                  </a:cubicBezTo>
                  <a:close/>
                </a:path>
              </a:pathLst>
            </a:custGeom>
            <a:solidFill>
              <a:srgbClr val="E356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2" name="Group 637">
            <a:extLst>
              <a:ext uri="{FF2B5EF4-FFF2-40B4-BE49-F238E27FC236}">
                <a16:creationId xmlns:a16="http://schemas.microsoft.com/office/drawing/2014/main" id="{B5C6F876-6654-48B8-A8F0-80FBA9AFD368}"/>
              </a:ext>
            </a:extLst>
          </p:cNvPr>
          <p:cNvGrpSpPr/>
          <p:nvPr/>
        </p:nvGrpSpPr>
        <p:grpSpPr>
          <a:xfrm>
            <a:off x="2054537" y="1217862"/>
            <a:ext cx="731220" cy="714404"/>
            <a:chOff x="-11390313" y="-4716463"/>
            <a:chExt cx="1727200" cy="1725613"/>
          </a:xfrm>
        </p:grpSpPr>
        <p:sp>
          <p:nvSpPr>
            <p:cNvPr id="103" name="Oval 34">
              <a:extLst>
                <a:ext uri="{FF2B5EF4-FFF2-40B4-BE49-F238E27FC236}">
                  <a16:creationId xmlns:a16="http://schemas.microsoft.com/office/drawing/2014/main" id="{B92A3916-648A-4C6D-B6F0-6E84AFEC79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128376" y="-4716463"/>
              <a:ext cx="692150" cy="692150"/>
            </a:xfrm>
            <a:prstGeom prst="ellipse">
              <a:avLst/>
            </a:prstGeom>
            <a:solidFill>
              <a:srgbClr val="0A5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35">
              <a:extLst>
                <a:ext uri="{FF2B5EF4-FFF2-40B4-BE49-F238E27FC236}">
                  <a16:creationId xmlns:a16="http://schemas.microsoft.com/office/drawing/2014/main" id="{0385F151-4DDB-4E8E-9AB2-9C10689B0B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390313" y="-3932238"/>
              <a:ext cx="1082675" cy="595313"/>
            </a:xfrm>
            <a:custGeom>
              <a:avLst/>
              <a:gdLst>
                <a:gd name="T0" fmla="*/ 280 w 363"/>
                <a:gd name="T1" fmla="*/ 176 h 200"/>
                <a:gd name="T2" fmla="*/ 281 w 363"/>
                <a:gd name="T3" fmla="*/ 192 h 200"/>
                <a:gd name="T4" fmla="*/ 204 w 363"/>
                <a:gd name="T5" fmla="*/ 200 h 200"/>
                <a:gd name="T6" fmla="*/ 0 w 363"/>
                <a:gd name="T7" fmla="*/ 100 h 200"/>
                <a:gd name="T8" fmla="*/ 204 w 363"/>
                <a:gd name="T9" fmla="*/ 0 h 200"/>
                <a:gd name="T10" fmla="*/ 363 w 363"/>
                <a:gd name="T11" fmla="*/ 37 h 200"/>
                <a:gd name="T12" fmla="*/ 280 w 363"/>
                <a:gd name="T13" fmla="*/ 17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3" h="200">
                  <a:moveTo>
                    <a:pt x="280" y="176"/>
                  </a:moveTo>
                  <a:cubicBezTo>
                    <a:pt x="280" y="182"/>
                    <a:pt x="280" y="187"/>
                    <a:pt x="281" y="192"/>
                  </a:cubicBezTo>
                  <a:cubicBezTo>
                    <a:pt x="257" y="197"/>
                    <a:pt x="231" y="200"/>
                    <a:pt x="204" y="200"/>
                  </a:cubicBezTo>
                  <a:cubicBezTo>
                    <a:pt x="92" y="200"/>
                    <a:pt x="0" y="155"/>
                    <a:pt x="0" y="100"/>
                  </a:cubicBezTo>
                  <a:cubicBezTo>
                    <a:pt x="0" y="44"/>
                    <a:pt x="92" y="0"/>
                    <a:pt x="204" y="0"/>
                  </a:cubicBezTo>
                  <a:cubicBezTo>
                    <a:pt x="268" y="0"/>
                    <a:pt x="325" y="14"/>
                    <a:pt x="363" y="37"/>
                  </a:cubicBezTo>
                  <a:cubicBezTo>
                    <a:pt x="314" y="64"/>
                    <a:pt x="280" y="116"/>
                    <a:pt x="280" y="176"/>
                  </a:cubicBezTo>
                  <a:close/>
                </a:path>
              </a:pathLst>
            </a:custGeom>
            <a:solidFill>
              <a:srgbClr val="0A5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DB397ECF-B3CF-4791-A7C6-32469B1628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494963" y="-3822700"/>
              <a:ext cx="831850" cy="831850"/>
            </a:xfrm>
            <a:custGeom>
              <a:avLst/>
              <a:gdLst>
                <a:gd name="T0" fmla="*/ 139 w 279"/>
                <a:gd name="T1" fmla="*/ 0 h 279"/>
                <a:gd name="T2" fmla="*/ 81 w 279"/>
                <a:gd name="T3" fmla="*/ 13 h 279"/>
                <a:gd name="T4" fmla="*/ 0 w 279"/>
                <a:gd name="T5" fmla="*/ 139 h 279"/>
                <a:gd name="T6" fmla="*/ 0 w 279"/>
                <a:gd name="T7" fmla="*/ 151 h 279"/>
                <a:gd name="T8" fmla="*/ 139 w 279"/>
                <a:gd name="T9" fmla="*/ 279 h 279"/>
                <a:gd name="T10" fmla="*/ 279 w 279"/>
                <a:gd name="T11" fmla="*/ 139 h 279"/>
                <a:gd name="T12" fmla="*/ 139 w 279"/>
                <a:gd name="T13" fmla="*/ 0 h 279"/>
                <a:gd name="T14" fmla="*/ 139 w 279"/>
                <a:gd name="T15" fmla="*/ 231 h 279"/>
                <a:gd name="T16" fmla="*/ 130 w 279"/>
                <a:gd name="T17" fmla="*/ 222 h 279"/>
                <a:gd name="T18" fmla="*/ 139 w 279"/>
                <a:gd name="T19" fmla="*/ 212 h 279"/>
                <a:gd name="T20" fmla="*/ 149 w 279"/>
                <a:gd name="T21" fmla="*/ 222 h 279"/>
                <a:gd name="T22" fmla="*/ 139 w 279"/>
                <a:gd name="T23" fmla="*/ 231 h 279"/>
                <a:gd name="T24" fmla="*/ 149 w 279"/>
                <a:gd name="T25" fmla="*/ 148 h 279"/>
                <a:gd name="T26" fmla="*/ 149 w 279"/>
                <a:gd name="T27" fmla="*/ 182 h 279"/>
                <a:gd name="T28" fmla="*/ 139 w 279"/>
                <a:gd name="T29" fmla="*/ 192 h 279"/>
                <a:gd name="T30" fmla="*/ 130 w 279"/>
                <a:gd name="T31" fmla="*/ 182 h 279"/>
                <a:gd name="T32" fmla="*/ 130 w 279"/>
                <a:gd name="T33" fmla="*/ 139 h 279"/>
                <a:gd name="T34" fmla="*/ 139 w 279"/>
                <a:gd name="T35" fmla="*/ 129 h 279"/>
                <a:gd name="T36" fmla="*/ 171 w 279"/>
                <a:gd name="T37" fmla="*/ 98 h 279"/>
                <a:gd name="T38" fmla="*/ 139 w 279"/>
                <a:gd name="T39" fmla="*/ 66 h 279"/>
                <a:gd name="T40" fmla="*/ 108 w 279"/>
                <a:gd name="T41" fmla="*/ 98 h 279"/>
                <a:gd name="T42" fmla="*/ 98 w 279"/>
                <a:gd name="T43" fmla="*/ 108 h 279"/>
                <a:gd name="T44" fmla="*/ 90 w 279"/>
                <a:gd name="T45" fmla="*/ 104 h 279"/>
                <a:gd name="T46" fmla="*/ 88 w 279"/>
                <a:gd name="T47" fmla="*/ 98 h 279"/>
                <a:gd name="T48" fmla="*/ 108 w 279"/>
                <a:gd name="T49" fmla="*/ 58 h 279"/>
                <a:gd name="T50" fmla="*/ 139 w 279"/>
                <a:gd name="T51" fmla="*/ 47 h 279"/>
                <a:gd name="T52" fmla="*/ 190 w 279"/>
                <a:gd name="T53" fmla="*/ 98 h 279"/>
                <a:gd name="T54" fmla="*/ 149 w 279"/>
                <a:gd name="T55" fmla="*/ 148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9" h="279">
                  <a:moveTo>
                    <a:pt x="139" y="0"/>
                  </a:moveTo>
                  <a:cubicBezTo>
                    <a:pt x="118" y="0"/>
                    <a:pt x="98" y="4"/>
                    <a:pt x="81" y="13"/>
                  </a:cubicBezTo>
                  <a:cubicBezTo>
                    <a:pt x="33" y="35"/>
                    <a:pt x="0" y="83"/>
                    <a:pt x="0" y="139"/>
                  </a:cubicBezTo>
                  <a:cubicBezTo>
                    <a:pt x="0" y="143"/>
                    <a:pt x="0" y="147"/>
                    <a:pt x="0" y="151"/>
                  </a:cubicBezTo>
                  <a:cubicBezTo>
                    <a:pt x="6" y="223"/>
                    <a:pt x="66" y="279"/>
                    <a:pt x="139" y="279"/>
                  </a:cubicBezTo>
                  <a:cubicBezTo>
                    <a:pt x="216" y="279"/>
                    <a:pt x="279" y="216"/>
                    <a:pt x="279" y="139"/>
                  </a:cubicBezTo>
                  <a:cubicBezTo>
                    <a:pt x="279" y="62"/>
                    <a:pt x="216" y="0"/>
                    <a:pt x="139" y="0"/>
                  </a:cubicBezTo>
                  <a:close/>
                  <a:moveTo>
                    <a:pt x="139" y="231"/>
                  </a:moveTo>
                  <a:cubicBezTo>
                    <a:pt x="134" y="231"/>
                    <a:pt x="130" y="227"/>
                    <a:pt x="130" y="222"/>
                  </a:cubicBezTo>
                  <a:cubicBezTo>
                    <a:pt x="130" y="216"/>
                    <a:pt x="134" y="212"/>
                    <a:pt x="139" y="212"/>
                  </a:cubicBezTo>
                  <a:cubicBezTo>
                    <a:pt x="145" y="212"/>
                    <a:pt x="149" y="216"/>
                    <a:pt x="149" y="222"/>
                  </a:cubicBezTo>
                  <a:cubicBezTo>
                    <a:pt x="149" y="227"/>
                    <a:pt x="145" y="231"/>
                    <a:pt x="139" y="231"/>
                  </a:cubicBezTo>
                  <a:close/>
                  <a:moveTo>
                    <a:pt x="149" y="148"/>
                  </a:moveTo>
                  <a:cubicBezTo>
                    <a:pt x="149" y="182"/>
                    <a:pt x="149" y="182"/>
                    <a:pt x="149" y="182"/>
                  </a:cubicBezTo>
                  <a:cubicBezTo>
                    <a:pt x="149" y="188"/>
                    <a:pt x="145" y="192"/>
                    <a:pt x="139" y="192"/>
                  </a:cubicBezTo>
                  <a:cubicBezTo>
                    <a:pt x="134" y="192"/>
                    <a:pt x="130" y="188"/>
                    <a:pt x="130" y="182"/>
                  </a:cubicBezTo>
                  <a:cubicBezTo>
                    <a:pt x="130" y="139"/>
                    <a:pt x="130" y="139"/>
                    <a:pt x="130" y="139"/>
                  </a:cubicBezTo>
                  <a:cubicBezTo>
                    <a:pt x="130" y="134"/>
                    <a:pt x="134" y="129"/>
                    <a:pt x="139" y="129"/>
                  </a:cubicBezTo>
                  <a:cubicBezTo>
                    <a:pt x="157" y="129"/>
                    <a:pt x="171" y="115"/>
                    <a:pt x="171" y="98"/>
                  </a:cubicBezTo>
                  <a:cubicBezTo>
                    <a:pt x="171" y="80"/>
                    <a:pt x="157" y="66"/>
                    <a:pt x="139" y="66"/>
                  </a:cubicBezTo>
                  <a:cubicBezTo>
                    <a:pt x="122" y="66"/>
                    <a:pt x="108" y="80"/>
                    <a:pt x="108" y="98"/>
                  </a:cubicBezTo>
                  <a:cubicBezTo>
                    <a:pt x="108" y="103"/>
                    <a:pt x="103" y="108"/>
                    <a:pt x="98" y="108"/>
                  </a:cubicBezTo>
                  <a:cubicBezTo>
                    <a:pt x="95" y="108"/>
                    <a:pt x="92" y="106"/>
                    <a:pt x="90" y="104"/>
                  </a:cubicBezTo>
                  <a:cubicBezTo>
                    <a:pt x="89" y="102"/>
                    <a:pt x="88" y="100"/>
                    <a:pt x="88" y="98"/>
                  </a:cubicBezTo>
                  <a:cubicBezTo>
                    <a:pt x="88" y="82"/>
                    <a:pt x="96" y="67"/>
                    <a:pt x="108" y="58"/>
                  </a:cubicBezTo>
                  <a:cubicBezTo>
                    <a:pt x="116" y="51"/>
                    <a:pt x="127" y="47"/>
                    <a:pt x="139" y="47"/>
                  </a:cubicBezTo>
                  <a:cubicBezTo>
                    <a:pt x="167" y="47"/>
                    <a:pt x="190" y="70"/>
                    <a:pt x="190" y="98"/>
                  </a:cubicBezTo>
                  <a:cubicBezTo>
                    <a:pt x="190" y="123"/>
                    <a:pt x="172" y="143"/>
                    <a:pt x="149" y="148"/>
                  </a:cubicBezTo>
                  <a:close/>
                </a:path>
              </a:pathLst>
            </a:custGeom>
            <a:solidFill>
              <a:srgbClr val="E356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6" name="Group 638">
            <a:extLst>
              <a:ext uri="{FF2B5EF4-FFF2-40B4-BE49-F238E27FC236}">
                <a16:creationId xmlns:a16="http://schemas.microsoft.com/office/drawing/2014/main" id="{AFA5C661-84B4-4508-8528-3E494FD8D520}"/>
              </a:ext>
            </a:extLst>
          </p:cNvPr>
          <p:cNvGrpSpPr/>
          <p:nvPr/>
        </p:nvGrpSpPr>
        <p:grpSpPr>
          <a:xfrm>
            <a:off x="6869000" y="1263737"/>
            <a:ext cx="729875" cy="714404"/>
            <a:chOff x="-8535988" y="-4716463"/>
            <a:chExt cx="1724025" cy="1725613"/>
          </a:xfrm>
        </p:grpSpPr>
        <p:sp>
          <p:nvSpPr>
            <p:cNvPr id="107" name="Oval 37">
              <a:extLst>
                <a:ext uri="{FF2B5EF4-FFF2-40B4-BE49-F238E27FC236}">
                  <a16:creationId xmlns:a16="http://schemas.microsoft.com/office/drawing/2014/main" id="{D3F3E594-7AEF-44FB-AB27-147A204E6F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8272463" y="-4716463"/>
              <a:ext cx="692150" cy="692150"/>
            </a:xfrm>
            <a:prstGeom prst="ellipse">
              <a:avLst/>
            </a:prstGeom>
            <a:solidFill>
              <a:srgbClr val="0A5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8">
              <a:extLst>
                <a:ext uri="{FF2B5EF4-FFF2-40B4-BE49-F238E27FC236}">
                  <a16:creationId xmlns:a16="http://schemas.microsoft.com/office/drawing/2014/main" id="{B61C182B-08DA-4114-A372-4E47EDFCB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35988" y="-3932238"/>
              <a:ext cx="1081088" cy="595313"/>
            </a:xfrm>
            <a:custGeom>
              <a:avLst/>
              <a:gdLst>
                <a:gd name="T0" fmla="*/ 280 w 362"/>
                <a:gd name="T1" fmla="*/ 176 h 200"/>
                <a:gd name="T2" fmla="*/ 281 w 362"/>
                <a:gd name="T3" fmla="*/ 192 h 200"/>
                <a:gd name="T4" fmla="*/ 204 w 362"/>
                <a:gd name="T5" fmla="*/ 200 h 200"/>
                <a:gd name="T6" fmla="*/ 0 w 362"/>
                <a:gd name="T7" fmla="*/ 100 h 200"/>
                <a:gd name="T8" fmla="*/ 204 w 362"/>
                <a:gd name="T9" fmla="*/ 0 h 200"/>
                <a:gd name="T10" fmla="*/ 362 w 362"/>
                <a:gd name="T11" fmla="*/ 37 h 200"/>
                <a:gd name="T12" fmla="*/ 280 w 362"/>
                <a:gd name="T13" fmla="*/ 17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2" h="200">
                  <a:moveTo>
                    <a:pt x="280" y="176"/>
                  </a:moveTo>
                  <a:cubicBezTo>
                    <a:pt x="280" y="182"/>
                    <a:pt x="280" y="187"/>
                    <a:pt x="281" y="192"/>
                  </a:cubicBezTo>
                  <a:cubicBezTo>
                    <a:pt x="257" y="197"/>
                    <a:pt x="231" y="200"/>
                    <a:pt x="204" y="200"/>
                  </a:cubicBezTo>
                  <a:cubicBezTo>
                    <a:pt x="91" y="200"/>
                    <a:pt x="0" y="155"/>
                    <a:pt x="0" y="100"/>
                  </a:cubicBezTo>
                  <a:cubicBezTo>
                    <a:pt x="0" y="44"/>
                    <a:pt x="91" y="0"/>
                    <a:pt x="204" y="0"/>
                  </a:cubicBezTo>
                  <a:cubicBezTo>
                    <a:pt x="268" y="0"/>
                    <a:pt x="325" y="14"/>
                    <a:pt x="362" y="37"/>
                  </a:cubicBezTo>
                  <a:cubicBezTo>
                    <a:pt x="313" y="64"/>
                    <a:pt x="280" y="116"/>
                    <a:pt x="280" y="176"/>
                  </a:cubicBezTo>
                  <a:close/>
                </a:path>
              </a:pathLst>
            </a:custGeom>
            <a:solidFill>
              <a:srgbClr val="0A5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39">
              <a:extLst>
                <a:ext uri="{FF2B5EF4-FFF2-40B4-BE49-F238E27FC236}">
                  <a16:creationId xmlns:a16="http://schemas.microsoft.com/office/drawing/2014/main" id="{7BB25FC9-4204-484C-96C4-689AC41904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643813" y="-3822700"/>
              <a:ext cx="831850" cy="831850"/>
            </a:xfrm>
            <a:custGeom>
              <a:avLst/>
              <a:gdLst>
                <a:gd name="T0" fmla="*/ 140 w 279"/>
                <a:gd name="T1" fmla="*/ 0 h 279"/>
                <a:gd name="T2" fmla="*/ 81 w 279"/>
                <a:gd name="T3" fmla="*/ 13 h 279"/>
                <a:gd name="T4" fmla="*/ 0 w 279"/>
                <a:gd name="T5" fmla="*/ 139 h 279"/>
                <a:gd name="T6" fmla="*/ 1 w 279"/>
                <a:gd name="T7" fmla="*/ 151 h 279"/>
                <a:gd name="T8" fmla="*/ 140 w 279"/>
                <a:gd name="T9" fmla="*/ 279 h 279"/>
                <a:gd name="T10" fmla="*/ 279 w 279"/>
                <a:gd name="T11" fmla="*/ 139 h 279"/>
                <a:gd name="T12" fmla="*/ 140 w 279"/>
                <a:gd name="T13" fmla="*/ 0 h 279"/>
                <a:gd name="T14" fmla="*/ 140 w 279"/>
                <a:gd name="T15" fmla="*/ 231 h 279"/>
                <a:gd name="T16" fmla="*/ 130 w 279"/>
                <a:gd name="T17" fmla="*/ 222 h 279"/>
                <a:gd name="T18" fmla="*/ 140 w 279"/>
                <a:gd name="T19" fmla="*/ 212 h 279"/>
                <a:gd name="T20" fmla="*/ 149 w 279"/>
                <a:gd name="T21" fmla="*/ 222 h 279"/>
                <a:gd name="T22" fmla="*/ 140 w 279"/>
                <a:gd name="T23" fmla="*/ 231 h 279"/>
                <a:gd name="T24" fmla="*/ 149 w 279"/>
                <a:gd name="T25" fmla="*/ 182 h 279"/>
                <a:gd name="T26" fmla="*/ 140 w 279"/>
                <a:gd name="T27" fmla="*/ 192 h 279"/>
                <a:gd name="T28" fmla="*/ 130 w 279"/>
                <a:gd name="T29" fmla="*/ 182 h 279"/>
                <a:gd name="T30" fmla="*/ 130 w 279"/>
                <a:gd name="T31" fmla="*/ 48 h 279"/>
                <a:gd name="T32" fmla="*/ 140 w 279"/>
                <a:gd name="T33" fmla="*/ 38 h 279"/>
                <a:gd name="T34" fmla="*/ 149 w 279"/>
                <a:gd name="T35" fmla="*/ 48 h 279"/>
                <a:gd name="T36" fmla="*/ 149 w 279"/>
                <a:gd name="T37" fmla="*/ 182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9" h="279">
                  <a:moveTo>
                    <a:pt x="140" y="0"/>
                  </a:moveTo>
                  <a:cubicBezTo>
                    <a:pt x="119" y="0"/>
                    <a:pt x="99" y="4"/>
                    <a:pt x="81" y="13"/>
                  </a:cubicBezTo>
                  <a:cubicBezTo>
                    <a:pt x="33" y="35"/>
                    <a:pt x="0" y="83"/>
                    <a:pt x="0" y="139"/>
                  </a:cubicBezTo>
                  <a:cubicBezTo>
                    <a:pt x="0" y="143"/>
                    <a:pt x="0" y="147"/>
                    <a:pt x="1" y="151"/>
                  </a:cubicBezTo>
                  <a:cubicBezTo>
                    <a:pt x="7" y="223"/>
                    <a:pt x="66" y="279"/>
                    <a:pt x="140" y="279"/>
                  </a:cubicBezTo>
                  <a:cubicBezTo>
                    <a:pt x="217" y="279"/>
                    <a:pt x="279" y="216"/>
                    <a:pt x="279" y="139"/>
                  </a:cubicBezTo>
                  <a:cubicBezTo>
                    <a:pt x="279" y="62"/>
                    <a:pt x="217" y="0"/>
                    <a:pt x="140" y="0"/>
                  </a:cubicBezTo>
                  <a:close/>
                  <a:moveTo>
                    <a:pt x="140" y="231"/>
                  </a:moveTo>
                  <a:cubicBezTo>
                    <a:pt x="134" y="231"/>
                    <a:pt x="130" y="227"/>
                    <a:pt x="130" y="222"/>
                  </a:cubicBezTo>
                  <a:cubicBezTo>
                    <a:pt x="130" y="216"/>
                    <a:pt x="134" y="212"/>
                    <a:pt x="140" y="212"/>
                  </a:cubicBezTo>
                  <a:cubicBezTo>
                    <a:pt x="145" y="212"/>
                    <a:pt x="149" y="216"/>
                    <a:pt x="149" y="222"/>
                  </a:cubicBezTo>
                  <a:cubicBezTo>
                    <a:pt x="149" y="227"/>
                    <a:pt x="145" y="231"/>
                    <a:pt x="140" y="231"/>
                  </a:cubicBezTo>
                  <a:close/>
                  <a:moveTo>
                    <a:pt x="149" y="182"/>
                  </a:moveTo>
                  <a:cubicBezTo>
                    <a:pt x="149" y="188"/>
                    <a:pt x="145" y="192"/>
                    <a:pt x="140" y="192"/>
                  </a:cubicBezTo>
                  <a:cubicBezTo>
                    <a:pt x="134" y="192"/>
                    <a:pt x="130" y="188"/>
                    <a:pt x="130" y="182"/>
                  </a:cubicBezTo>
                  <a:cubicBezTo>
                    <a:pt x="130" y="48"/>
                    <a:pt x="130" y="48"/>
                    <a:pt x="130" y="48"/>
                  </a:cubicBezTo>
                  <a:cubicBezTo>
                    <a:pt x="130" y="42"/>
                    <a:pt x="134" y="38"/>
                    <a:pt x="140" y="38"/>
                  </a:cubicBezTo>
                  <a:cubicBezTo>
                    <a:pt x="145" y="38"/>
                    <a:pt x="149" y="42"/>
                    <a:pt x="149" y="48"/>
                  </a:cubicBezTo>
                  <a:lnTo>
                    <a:pt x="149" y="182"/>
                  </a:lnTo>
                  <a:close/>
                </a:path>
              </a:pathLst>
            </a:custGeom>
            <a:solidFill>
              <a:srgbClr val="E356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1" name="Textfeld 120"/>
          <p:cNvSpPr txBox="1"/>
          <p:nvPr/>
        </p:nvSpPr>
        <p:spPr bwMode="gray">
          <a:xfrm>
            <a:off x="971600" y="842732"/>
            <a:ext cx="2801417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Traveller</a:t>
            </a:r>
            <a:endParaRPr lang="de-DE" sz="1400" dirty="0" smtClean="0"/>
          </a:p>
        </p:txBody>
      </p:sp>
      <p:sp>
        <p:nvSpPr>
          <p:cNvPr id="122" name="Textfeld 121"/>
          <p:cNvSpPr txBox="1"/>
          <p:nvPr/>
        </p:nvSpPr>
        <p:spPr bwMode="gray">
          <a:xfrm>
            <a:off x="5833229" y="820833"/>
            <a:ext cx="2801417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Merchant</a:t>
            </a:r>
            <a:endParaRPr lang="de-DE" sz="1400" dirty="0" smtClean="0"/>
          </a:p>
        </p:txBody>
      </p:sp>
      <p:sp>
        <p:nvSpPr>
          <p:cNvPr id="123" name="Textfeld 122"/>
          <p:cNvSpPr txBox="1"/>
          <p:nvPr/>
        </p:nvSpPr>
        <p:spPr bwMode="gray">
          <a:xfrm>
            <a:off x="3353523" y="4692833"/>
            <a:ext cx="2801417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Financial Institution</a:t>
            </a:r>
          </a:p>
        </p:txBody>
      </p:sp>
      <p:grpSp>
        <p:nvGrpSpPr>
          <p:cNvPr id="137" name="Group 1014">
            <a:extLst>
              <a:ext uri="{FF2B5EF4-FFF2-40B4-BE49-F238E27FC236}">
                <a16:creationId xmlns:a16="http://schemas.microsoft.com/office/drawing/2014/main" id="{2D8D7222-8A02-4279-A3C1-755CA62F83E4}"/>
              </a:ext>
            </a:extLst>
          </p:cNvPr>
          <p:cNvGrpSpPr/>
          <p:nvPr/>
        </p:nvGrpSpPr>
        <p:grpSpPr>
          <a:xfrm>
            <a:off x="4631881" y="1335379"/>
            <a:ext cx="296752" cy="248948"/>
            <a:chOff x="2339975" y="2349500"/>
            <a:chExt cx="312738" cy="268287"/>
          </a:xfrm>
          <a:solidFill>
            <a:schemeClr val="bg1"/>
          </a:solidFill>
        </p:grpSpPr>
        <p:sp>
          <p:nvSpPr>
            <p:cNvPr id="138" name="Freeform 106">
              <a:extLst>
                <a:ext uri="{FF2B5EF4-FFF2-40B4-BE49-F238E27FC236}">
                  <a16:creationId xmlns:a16="http://schemas.microsoft.com/office/drawing/2014/main" id="{D6BCE9ED-7E1A-4983-BCAB-E276F80A9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3475" y="2374900"/>
              <a:ext cx="249238" cy="174625"/>
            </a:xfrm>
            <a:custGeom>
              <a:avLst/>
              <a:gdLst>
                <a:gd name="T0" fmla="*/ 157 w 157"/>
                <a:gd name="T1" fmla="*/ 110 h 110"/>
                <a:gd name="T2" fmla="*/ 0 w 157"/>
                <a:gd name="T3" fmla="*/ 110 h 110"/>
                <a:gd name="T4" fmla="*/ 0 w 157"/>
                <a:gd name="T5" fmla="*/ 0 h 110"/>
                <a:gd name="T6" fmla="*/ 157 w 157"/>
                <a:gd name="T7" fmla="*/ 14 h 110"/>
                <a:gd name="T8" fmla="*/ 157 w 157"/>
                <a:gd name="T9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10">
                  <a:moveTo>
                    <a:pt x="157" y="110"/>
                  </a:moveTo>
                  <a:lnTo>
                    <a:pt x="0" y="110"/>
                  </a:lnTo>
                  <a:lnTo>
                    <a:pt x="0" y="0"/>
                  </a:lnTo>
                  <a:lnTo>
                    <a:pt x="157" y="14"/>
                  </a:lnTo>
                  <a:lnTo>
                    <a:pt x="157" y="110"/>
                  </a:lnTo>
                  <a:close/>
                </a:path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9" name="Oval 107">
              <a:extLst>
                <a:ext uri="{FF2B5EF4-FFF2-40B4-BE49-F238E27FC236}">
                  <a16:creationId xmlns:a16="http://schemas.microsoft.com/office/drawing/2014/main" id="{7B5134EF-AB06-418B-B823-D607041557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0300" y="2571750"/>
              <a:ext cx="44450" cy="46037"/>
            </a:xfrm>
            <a:prstGeom prst="ellipse">
              <a:avLst/>
            </a:pr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0" name="Oval 108">
              <a:extLst>
                <a:ext uri="{FF2B5EF4-FFF2-40B4-BE49-F238E27FC236}">
                  <a16:creationId xmlns:a16="http://schemas.microsoft.com/office/drawing/2014/main" id="{6B53299D-F13E-455B-8EBA-D21D18FF40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8263" y="2571750"/>
              <a:ext cx="44450" cy="46037"/>
            </a:xfrm>
            <a:prstGeom prst="ellipse">
              <a:avLst/>
            </a:pr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1" name="Freeform 109">
              <a:extLst>
                <a:ext uri="{FF2B5EF4-FFF2-40B4-BE49-F238E27FC236}">
                  <a16:creationId xmlns:a16="http://schemas.microsoft.com/office/drawing/2014/main" id="{2E1C0AAA-4E81-4727-BEBB-D04DD2FA3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9975" y="2349500"/>
              <a:ext cx="63500" cy="160337"/>
            </a:xfrm>
            <a:custGeom>
              <a:avLst/>
              <a:gdLst>
                <a:gd name="T0" fmla="*/ 40 w 40"/>
                <a:gd name="T1" fmla="*/ 101 h 101"/>
                <a:gd name="T2" fmla="*/ 40 w 40"/>
                <a:gd name="T3" fmla="*/ 0 h 101"/>
                <a:gd name="T4" fmla="*/ 0 w 40"/>
                <a:gd name="T5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0" h="101">
                  <a:moveTo>
                    <a:pt x="40" y="101"/>
                  </a:moveTo>
                  <a:lnTo>
                    <a:pt x="40" y="0"/>
                  </a:lnTo>
                  <a:lnTo>
                    <a:pt x="0" y="0"/>
                  </a:lnTo>
                </a:path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2" name="Rectangle 110">
              <a:extLst>
                <a:ext uri="{FF2B5EF4-FFF2-40B4-BE49-F238E27FC236}">
                  <a16:creationId xmlns:a16="http://schemas.microsoft.com/office/drawing/2014/main" id="{4ADCEEAA-5533-4AD3-859B-54E9E371F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3475" y="2465388"/>
              <a:ext cx="85725" cy="84137"/>
            </a:xfrm>
            <a:prstGeom prst="rect">
              <a:avLst/>
            </a:pr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3" name="Rectangle 111">
              <a:extLst>
                <a:ext uri="{FF2B5EF4-FFF2-40B4-BE49-F238E27FC236}">
                  <a16:creationId xmlns:a16="http://schemas.microsoft.com/office/drawing/2014/main" id="{035D38D3-3526-437A-9C26-A26D9EECC8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9200" y="2493963"/>
              <a:ext cx="85725" cy="55562"/>
            </a:xfrm>
            <a:prstGeom prst="rect">
              <a:avLst/>
            </a:pr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4" name="Group 1005">
            <a:extLst>
              <a:ext uri="{FF2B5EF4-FFF2-40B4-BE49-F238E27FC236}">
                <a16:creationId xmlns:a16="http://schemas.microsoft.com/office/drawing/2014/main" id="{19DA8E39-97CD-4C14-89B9-5BAA7C31D6B6}"/>
              </a:ext>
            </a:extLst>
          </p:cNvPr>
          <p:cNvGrpSpPr/>
          <p:nvPr/>
        </p:nvGrpSpPr>
        <p:grpSpPr>
          <a:xfrm>
            <a:off x="4709689" y="1674399"/>
            <a:ext cx="193116" cy="247710"/>
            <a:chOff x="3660775" y="1446213"/>
            <a:chExt cx="244475" cy="320675"/>
          </a:xfrm>
          <a:solidFill>
            <a:schemeClr val="bg1"/>
          </a:solidFill>
        </p:grpSpPr>
        <p:sp>
          <p:nvSpPr>
            <p:cNvPr id="145" name="Freeform 59">
              <a:extLst>
                <a:ext uri="{FF2B5EF4-FFF2-40B4-BE49-F238E27FC236}">
                  <a16:creationId xmlns:a16="http://schemas.microsoft.com/office/drawing/2014/main" id="{26A611C1-5B11-4C5E-8162-FC86761840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0775" y="1446213"/>
              <a:ext cx="244475" cy="320675"/>
            </a:xfrm>
            <a:custGeom>
              <a:avLst/>
              <a:gdLst>
                <a:gd name="T0" fmla="*/ 154 w 154"/>
                <a:gd name="T1" fmla="*/ 202 h 202"/>
                <a:gd name="T2" fmla="*/ 0 w 154"/>
                <a:gd name="T3" fmla="*/ 202 h 202"/>
                <a:gd name="T4" fmla="*/ 0 w 154"/>
                <a:gd name="T5" fmla="*/ 0 h 202"/>
                <a:gd name="T6" fmla="*/ 89 w 154"/>
                <a:gd name="T7" fmla="*/ 0 h 202"/>
                <a:gd name="T8" fmla="*/ 154 w 154"/>
                <a:gd name="T9" fmla="*/ 63 h 202"/>
                <a:gd name="T10" fmla="*/ 154 w 154"/>
                <a:gd name="T11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" h="202">
                  <a:moveTo>
                    <a:pt x="154" y="202"/>
                  </a:moveTo>
                  <a:lnTo>
                    <a:pt x="0" y="202"/>
                  </a:lnTo>
                  <a:lnTo>
                    <a:pt x="0" y="0"/>
                  </a:lnTo>
                  <a:lnTo>
                    <a:pt x="89" y="0"/>
                  </a:lnTo>
                  <a:lnTo>
                    <a:pt x="154" y="63"/>
                  </a:lnTo>
                  <a:lnTo>
                    <a:pt x="154" y="202"/>
                  </a:lnTo>
                  <a:close/>
                </a:path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6" name="Freeform 60">
              <a:extLst>
                <a:ext uri="{FF2B5EF4-FFF2-40B4-BE49-F238E27FC236}">
                  <a16:creationId xmlns:a16="http://schemas.microsoft.com/office/drawing/2014/main" id="{C2862FCE-7D1A-48E3-AC5B-C88956AC3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0950" y="1476375"/>
              <a:ext cx="85725" cy="85725"/>
            </a:xfrm>
            <a:custGeom>
              <a:avLst/>
              <a:gdLst>
                <a:gd name="T0" fmla="*/ 0 w 54"/>
                <a:gd name="T1" fmla="*/ 0 h 54"/>
                <a:gd name="T2" fmla="*/ 0 w 54"/>
                <a:gd name="T3" fmla="*/ 54 h 54"/>
                <a:gd name="T4" fmla="*/ 54 w 54"/>
                <a:gd name="T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" h="54">
                  <a:moveTo>
                    <a:pt x="0" y="0"/>
                  </a:moveTo>
                  <a:lnTo>
                    <a:pt x="0" y="54"/>
                  </a:lnTo>
                  <a:lnTo>
                    <a:pt x="54" y="54"/>
                  </a:lnTo>
                </a:path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7" name="Freeform 61">
              <a:extLst>
                <a:ext uri="{FF2B5EF4-FFF2-40B4-BE49-F238E27FC236}">
                  <a16:creationId xmlns:a16="http://schemas.microsoft.com/office/drawing/2014/main" id="{0383E1DE-6FB3-4046-B9A3-1E2B5CADC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8400" y="1573213"/>
              <a:ext cx="47625" cy="47625"/>
            </a:xfrm>
            <a:custGeom>
              <a:avLst/>
              <a:gdLst>
                <a:gd name="T0" fmla="*/ 26 w 51"/>
                <a:gd name="T1" fmla="*/ 51 h 51"/>
                <a:gd name="T2" fmla="*/ 0 w 51"/>
                <a:gd name="T3" fmla="*/ 25 h 51"/>
                <a:gd name="T4" fmla="*/ 26 w 51"/>
                <a:gd name="T5" fmla="*/ 0 h 51"/>
                <a:gd name="T6" fmla="*/ 51 w 51"/>
                <a:gd name="T7" fmla="*/ 2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51">
                  <a:moveTo>
                    <a:pt x="26" y="51"/>
                  </a:moveTo>
                  <a:cubicBezTo>
                    <a:pt x="12" y="51"/>
                    <a:pt x="0" y="39"/>
                    <a:pt x="0" y="25"/>
                  </a:cubicBezTo>
                  <a:cubicBezTo>
                    <a:pt x="0" y="11"/>
                    <a:pt x="12" y="0"/>
                    <a:pt x="26" y="0"/>
                  </a:cubicBezTo>
                  <a:cubicBezTo>
                    <a:pt x="40" y="0"/>
                    <a:pt x="51" y="11"/>
                    <a:pt x="51" y="25"/>
                  </a:cubicBezTo>
                </a:path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Freeform 62">
              <a:extLst>
                <a:ext uri="{FF2B5EF4-FFF2-40B4-BE49-F238E27FC236}">
                  <a16:creationId xmlns:a16="http://schemas.microsoft.com/office/drawing/2014/main" id="{1B4731DA-2EC5-4429-A357-577742EE2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8400" y="1620838"/>
              <a:ext cx="47625" cy="47625"/>
            </a:xfrm>
            <a:custGeom>
              <a:avLst/>
              <a:gdLst>
                <a:gd name="T0" fmla="*/ 26 w 51"/>
                <a:gd name="T1" fmla="*/ 0 h 51"/>
                <a:gd name="T2" fmla="*/ 51 w 51"/>
                <a:gd name="T3" fmla="*/ 25 h 51"/>
                <a:gd name="T4" fmla="*/ 26 w 51"/>
                <a:gd name="T5" fmla="*/ 51 h 51"/>
                <a:gd name="T6" fmla="*/ 0 w 51"/>
                <a:gd name="T7" fmla="*/ 2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51">
                  <a:moveTo>
                    <a:pt x="26" y="0"/>
                  </a:moveTo>
                  <a:cubicBezTo>
                    <a:pt x="40" y="0"/>
                    <a:pt x="51" y="11"/>
                    <a:pt x="51" y="25"/>
                  </a:cubicBezTo>
                  <a:cubicBezTo>
                    <a:pt x="51" y="39"/>
                    <a:pt x="40" y="51"/>
                    <a:pt x="26" y="51"/>
                  </a:cubicBezTo>
                  <a:cubicBezTo>
                    <a:pt x="12" y="51"/>
                    <a:pt x="0" y="39"/>
                    <a:pt x="0" y="25"/>
                  </a:cubicBezTo>
                </a:path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Line 63">
              <a:extLst>
                <a:ext uri="{FF2B5EF4-FFF2-40B4-BE49-F238E27FC236}">
                  <a16:creationId xmlns:a16="http://schemas.microsoft.com/office/drawing/2014/main" id="{CD7D400A-5EDA-489F-82CA-2C748FF016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2213" y="1665288"/>
              <a:ext cx="0" cy="15875"/>
            </a:xfrm>
            <a:prstGeom prst="line">
              <a:avLst/>
            </a:pr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Line 64">
              <a:extLst>
                <a:ext uri="{FF2B5EF4-FFF2-40B4-BE49-F238E27FC236}">
                  <a16:creationId xmlns:a16="http://schemas.microsoft.com/office/drawing/2014/main" id="{29DF1CE1-2AB9-4279-B459-F6AE57DD75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2213" y="1562100"/>
              <a:ext cx="0" cy="11112"/>
            </a:xfrm>
            <a:prstGeom prst="line">
              <a:avLst/>
            </a:pr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Rectangle 65">
              <a:extLst>
                <a:ext uri="{FF2B5EF4-FFF2-40B4-BE49-F238E27FC236}">
                  <a16:creationId xmlns:a16="http://schemas.microsoft.com/office/drawing/2014/main" id="{B2C83780-512C-4EF1-94CF-BAEA70B128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0775" y="1717675"/>
              <a:ext cx="244475" cy="49212"/>
            </a:xfrm>
            <a:prstGeom prst="rect">
              <a:avLst/>
            </a:pr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53" name="Group 1009">
            <a:extLst>
              <a:ext uri="{FF2B5EF4-FFF2-40B4-BE49-F238E27FC236}">
                <a16:creationId xmlns:a16="http://schemas.microsoft.com/office/drawing/2014/main" id="{407C53F3-2BBF-4CF8-93CE-B9CD4486AAA6}"/>
              </a:ext>
            </a:extLst>
          </p:cNvPr>
          <p:cNvGrpSpPr/>
          <p:nvPr/>
        </p:nvGrpSpPr>
        <p:grpSpPr>
          <a:xfrm>
            <a:off x="6067199" y="2862153"/>
            <a:ext cx="280295" cy="275463"/>
            <a:chOff x="2333625" y="1014413"/>
            <a:chExt cx="319088" cy="320674"/>
          </a:xfrm>
          <a:solidFill>
            <a:schemeClr val="bg1"/>
          </a:solidFill>
        </p:grpSpPr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0E77D77A-0B6B-42F2-8649-E54BCBDD21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3625" y="1016000"/>
              <a:ext cx="319088" cy="319087"/>
            </a:xfrm>
            <a:custGeom>
              <a:avLst/>
              <a:gdLst>
                <a:gd name="T0" fmla="*/ 201 w 201"/>
                <a:gd name="T1" fmla="*/ 63 h 201"/>
                <a:gd name="T2" fmla="*/ 201 w 201"/>
                <a:gd name="T3" fmla="*/ 201 h 201"/>
                <a:gd name="T4" fmla="*/ 0 w 201"/>
                <a:gd name="T5" fmla="*/ 201 h 201"/>
                <a:gd name="T6" fmla="*/ 0 w 201"/>
                <a:gd name="T7" fmla="*/ 0 h 201"/>
                <a:gd name="T8" fmla="*/ 138 w 201"/>
                <a:gd name="T9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" h="201">
                  <a:moveTo>
                    <a:pt x="201" y="63"/>
                  </a:moveTo>
                  <a:lnTo>
                    <a:pt x="201" y="201"/>
                  </a:lnTo>
                  <a:lnTo>
                    <a:pt x="0" y="201"/>
                  </a:lnTo>
                  <a:lnTo>
                    <a:pt x="0" y="0"/>
                  </a:lnTo>
                  <a:lnTo>
                    <a:pt x="138" y="0"/>
                  </a:lnTo>
                </a:path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C2D9EE67-CC00-400A-84C7-9D93829CA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6513" y="1014413"/>
              <a:ext cx="76200" cy="76200"/>
            </a:xfrm>
            <a:custGeom>
              <a:avLst/>
              <a:gdLst>
                <a:gd name="T0" fmla="*/ 48 w 48"/>
                <a:gd name="T1" fmla="*/ 33 h 48"/>
                <a:gd name="T2" fmla="*/ 33 w 48"/>
                <a:gd name="T3" fmla="*/ 48 h 48"/>
                <a:gd name="T4" fmla="*/ 0 w 48"/>
                <a:gd name="T5" fmla="*/ 15 h 48"/>
                <a:gd name="T6" fmla="*/ 15 w 48"/>
                <a:gd name="T7" fmla="*/ 0 h 48"/>
                <a:gd name="T8" fmla="*/ 48 w 48"/>
                <a:gd name="T9" fmla="*/ 3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48">
                  <a:moveTo>
                    <a:pt x="48" y="33"/>
                  </a:moveTo>
                  <a:lnTo>
                    <a:pt x="33" y="48"/>
                  </a:lnTo>
                  <a:lnTo>
                    <a:pt x="0" y="15"/>
                  </a:lnTo>
                  <a:lnTo>
                    <a:pt x="15" y="0"/>
                  </a:lnTo>
                  <a:lnTo>
                    <a:pt x="48" y="33"/>
                  </a:lnTo>
                  <a:close/>
                </a:path>
              </a:pathLst>
            </a:custGeom>
            <a:grpFill/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3762A555-D450-4387-9547-B5C836DDF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6513" y="1014413"/>
              <a:ext cx="76200" cy="76200"/>
            </a:xfrm>
            <a:custGeom>
              <a:avLst/>
              <a:gdLst>
                <a:gd name="T0" fmla="*/ 48 w 48"/>
                <a:gd name="T1" fmla="*/ 33 h 48"/>
                <a:gd name="T2" fmla="*/ 33 w 48"/>
                <a:gd name="T3" fmla="*/ 48 h 48"/>
                <a:gd name="T4" fmla="*/ 0 w 48"/>
                <a:gd name="T5" fmla="*/ 15 h 48"/>
                <a:gd name="T6" fmla="*/ 15 w 48"/>
                <a:gd name="T7" fmla="*/ 0 h 48"/>
                <a:gd name="T8" fmla="*/ 48 w 48"/>
                <a:gd name="T9" fmla="*/ 3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48">
                  <a:moveTo>
                    <a:pt x="48" y="33"/>
                  </a:moveTo>
                  <a:lnTo>
                    <a:pt x="33" y="48"/>
                  </a:lnTo>
                  <a:lnTo>
                    <a:pt x="0" y="15"/>
                  </a:lnTo>
                  <a:lnTo>
                    <a:pt x="15" y="0"/>
                  </a:lnTo>
                  <a:lnTo>
                    <a:pt x="48" y="33"/>
                  </a:lnTo>
                  <a:close/>
                </a:path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7" name="Freeform 13">
              <a:extLst>
                <a:ext uri="{FF2B5EF4-FFF2-40B4-BE49-F238E27FC236}">
                  <a16:creationId xmlns:a16="http://schemas.microsoft.com/office/drawing/2014/main" id="{92153D2C-26C1-4CB1-8EC2-409F30DCF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2050" y="1038225"/>
              <a:ext cx="196850" cy="196850"/>
            </a:xfrm>
            <a:custGeom>
              <a:avLst/>
              <a:gdLst>
                <a:gd name="T0" fmla="*/ 124 w 124"/>
                <a:gd name="T1" fmla="*/ 33 h 124"/>
                <a:gd name="T2" fmla="*/ 37 w 124"/>
                <a:gd name="T3" fmla="*/ 121 h 124"/>
                <a:gd name="T4" fmla="*/ 0 w 124"/>
                <a:gd name="T5" fmla="*/ 124 h 124"/>
                <a:gd name="T6" fmla="*/ 4 w 124"/>
                <a:gd name="T7" fmla="*/ 88 h 124"/>
                <a:gd name="T8" fmla="*/ 91 w 124"/>
                <a:gd name="T9" fmla="*/ 0 h 124"/>
                <a:gd name="T10" fmla="*/ 124 w 124"/>
                <a:gd name="T11" fmla="*/ 3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24">
                  <a:moveTo>
                    <a:pt x="124" y="33"/>
                  </a:moveTo>
                  <a:lnTo>
                    <a:pt x="37" y="121"/>
                  </a:lnTo>
                  <a:lnTo>
                    <a:pt x="0" y="124"/>
                  </a:lnTo>
                  <a:lnTo>
                    <a:pt x="4" y="88"/>
                  </a:lnTo>
                  <a:lnTo>
                    <a:pt x="91" y="0"/>
                  </a:lnTo>
                  <a:lnTo>
                    <a:pt x="124" y="33"/>
                  </a:lnTo>
                  <a:close/>
                </a:path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58" name="Group 1009">
            <a:extLst>
              <a:ext uri="{FF2B5EF4-FFF2-40B4-BE49-F238E27FC236}">
                <a16:creationId xmlns:a16="http://schemas.microsoft.com/office/drawing/2014/main" id="{407C53F3-2BBF-4CF8-93CE-B9CD4486AAA6}"/>
              </a:ext>
            </a:extLst>
          </p:cNvPr>
          <p:cNvGrpSpPr/>
          <p:nvPr/>
        </p:nvGrpSpPr>
        <p:grpSpPr>
          <a:xfrm>
            <a:off x="3247459" y="2999885"/>
            <a:ext cx="280295" cy="275463"/>
            <a:chOff x="2333625" y="1014413"/>
            <a:chExt cx="319088" cy="320674"/>
          </a:xfrm>
          <a:solidFill>
            <a:schemeClr val="bg1"/>
          </a:solidFill>
        </p:grpSpPr>
        <p:sp>
          <p:nvSpPr>
            <p:cNvPr id="159" name="Freeform 10">
              <a:extLst>
                <a:ext uri="{FF2B5EF4-FFF2-40B4-BE49-F238E27FC236}">
                  <a16:creationId xmlns:a16="http://schemas.microsoft.com/office/drawing/2014/main" id="{0E77D77A-0B6B-42F2-8649-E54BCBDD21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3625" y="1016000"/>
              <a:ext cx="319088" cy="319087"/>
            </a:xfrm>
            <a:custGeom>
              <a:avLst/>
              <a:gdLst>
                <a:gd name="T0" fmla="*/ 201 w 201"/>
                <a:gd name="T1" fmla="*/ 63 h 201"/>
                <a:gd name="T2" fmla="*/ 201 w 201"/>
                <a:gd name="T3" fmla="*/ 201 h 201"/>
                <a:gd name="T4" fmla="*/ 0 w 201"/>
                <a:gd name="T5" fmla="*/ 201 h 201"/>
                <a:gd name="T6" fmla="*/ 0 w 201"/>
                <a:gd name="T7" fmla="*/ 0 h 201"/>
                <a:gd name="T8" fmla="*/ 138 w 201"/>
                <a:gd name="T9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" h="201">
                  <a:moveTo>
                    <a:pt x="201" y="63"/>
                  </a:moveTo>
                  <a:lnTo>
                    <a:pt x="201" y="201"/>
                  </a:lnTo>
                  <a:lnTo>
                    <a:pt x="0" y="201"/>
                  </a:lnTo>
                  <a:lnTo>
                    <a:pt x="0" y="0"/>
                  </a:lnTo>
                  <a:lnTo>
                    <a:pt x="138" y="0"/>
                  </a:lnTo>
                </a:path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0" name="Freeform 11">
              <a:extLst>
                <a:ext uri="{FF2B5EF4-FFF2-40B4-BE49-F238E27FC236}">
                  <a16:creationId xmlns:a16="http://schemas.microsoft.com/office/drawing/2014/main" id="{C2D9EE67-CC00-400A-84C7-9D93829CA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6513" y="1014413"/>
              <a:ext cx="76200" cy="76200"/>
            </a:xfrm>
            <a:custGeom>
              <a:avLst/>
              <a:gdLst>
                <a:gd name="T0" fmla="*/ 48 w 48"/>
                <a:gd name="T1" fmla="*/ 33 h 48"/>
                <a:gd name="T2" fmla="*/ 33 w 48"/>
                <a:gd name="T3" fmla="*/ 48 h 48"/>
                <a:gd name="T4" fmla="*/ 0 w 48"/>
                <a:gd name="T5" fmla="*/ 15 h 48"/>
                <a:gd name="T6" fmla="*/ 15 w 48"/>
                <a:gd name="T7" fmla="*/ 0 h 48"/>
                <a:gd name="T8" fmla="*/ 48 w 48"/>
                <a:gd name="T9" fmla="*/ 3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48">
                  <a:moveTo>
                    <a:pt x="48" y="33"/>
                  </a:moveTo>
                  <a:lnTo>
                    <a:pt x="33" y="48"/>
                  </a:lnTo>
                  <a:lnTo>
                    <a:pt x="0" y="15"/>
                  </a:lnTo>
                  <a:lnTo>
                    <a:pt x="15" y="0"/>
                  </a:lnTo>
                  <a:lnTo>
                    <a:pt x="48" y="33"/>
                  </a:lnTo>
                  <a:close/>
                </a:path>
              </a:pathLst>
            </a:custGeom>
            <a:grpFill/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1" name="Freeform 12">
              <a:extLst>
                <a:ext uri="{FF2B5EF4-FFF2-40B4-BE49-F238E27FC236}">
                  <a16:creationId xmlns:a16="http://schemas.microsoft.com/office/drawing/2014/main" id="{3762A555-D450-4387-9547-B5C836DDF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6513" y="1014413"/>
              <a:ext cx="76200" cy="76200"/>
            </a:xfrm>
            <a:custGeom>
              <a:avLst/>
              <a:gdLst>
                <a:gd name="T0" fmla="*/ 48 w 48"/>
                <a:gd name="T1" fmla="*/ 33 h 48"/>
                <a:gd name="T2" fmla="*/ 33 w 48"/>
                <a:gd name="T3" fmla="*/ 48 h 48"/>
                <a:gd name="T4" fmla="*/ 0 w 48"/>
                <a:gd name="T5" fmla="*/ 15 h 48"/>
                <a:gd name="T6" fmla="*/ 15 w 48"/>
                <a:gd name="T7" fmla="*/ 0 h 48"/>
                <a:gd name="T8" fmla="*/ 48 w 48"/>
                <a:gd name="T9" fmla="*/ 3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48">
                  <a:moveTo>
                    <a:pt x="48" y="33"/>
                  </a:moveTo>
                  <a:lnTo>
                    <a:pt x="33" y="48"/>
                  </a:lnTo>
                  <a:lnTo>
                    <a:pt x="0" y="15"/>
                  </a:lnTo>
                  <a:lnTo>
                    <a:pt x="15" y="0"/>
                  </a:lnTo>
                  <a:lnTo>
                    <a:pt x="48" y="33"/>
                  </a:lnTo>
                  <a:close/>
                </a:path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2" name="Freeform 13">
              <a:extLst>
                <a:ext uri="{FF2B5EF4-FFF2-40B4-BE49-F238E27FC236}">
                  <a16:creationId xmlns:a16="http://schemas.microsoft.com/office/drawing/2014/main" id="{92153D2C-26C1-4CB1-8EC2-409F30DCF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2050" y="1038225"/>
              <a:ext cx="196850" cy="196850"/>
            </a:xfrm>
            <a:custGeom>
              <a:avLst/>
              <a:gdLst>
                <a:gd name="T0" fmla="*/ 124 w 124"/>
                <a:gd name="T1" fmla="*/ 33 h 124"/>
                <a:gd name="T2" fmla="*/ 37 w 124"/>
                <a:gd name="T3" fmla="*/ 121 h 124"/>
                <a:gd name="T4" fmla="*/ 0 w 124"/>
                <a:gd name="T5" fmla="*/ 124 h 124"/>
                <a:gd name="T6" fmla="*/ 4 w 124"/>
                <a:gd name="T7" fmla="*/ 88 h 124"/>
                <a:gd name="T8" fmla="*/ 91 w 124"/>
                <a:gd name="T9" fmla="*/ 0 h 124"/>
                <a:gd name="T10" fmla="*/ 124 w 124"/>
                <a:gd name="T11" fmla="*/ 3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24">
                  <a:moveTo>
                    <a:pt x="124" y="33"/>
                  </a:moveTo>
                  <a:lnTo>
                    <a:pt x="37" y="121"/>
                  </a:lnTo>
                  <a:lnTo>
                    <a:pt x="0" y="124"/>
                  </a:lnTo>
                  <a:lnTo>
                    <a:pt x="4" y="88"/>
                  </a:lnTo>
                  <a:lnTo>
                    <a:pt x="91" y="0"/>
                  </a:lnTo>
                  <a:lnTo>
                    <a:pt x="124" y="33"/>
                  </a:lnTo>
                  <a:close/>
                </a:path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63" name="Textfeld 162"/>
          <p:cNvSpPr txBox="1"/>
          <p:nvPr/>
        </p:nvSpPr>
        <p:spPr bwMode="gray">
          <a:xfrm>
            <a:off x="4180014" y="1102888"/>
            <a:ext cx="1268270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 smtClean="0"/>
              <a:t>Purchase</a:t>
            </a:r>
            <a:r>
              <a:rPr lang="de-DE" sz="800" dirty="0" smtClean="0"/>
              <a:t> </a:t>
            </a:r>
            <a:r>
              <a:rPr lang="de-DE" sz="800" dirty="0" err="1" smtClean="0"/>
              <a:t>request</a:t>
            </a:r>
            <a:endParaRPr lang="de-DE" sz="800" dirty="0" smtClean="0"/>
          </a:p>
        </p:txBody>
      </p:sp>
      <p:sp>
        <p:nvSpPr>
          <p:cNvPr id="164" name="Textfeld 163"/>
          <p:cNvSpPr txBox="1"/>
          <p:nvPr/>
        </p:nvSpPr>
        <p:spPr bwMode="gray">
          <a:xfrm>
            <a:off x="4165044" y="1900989"/>
            <a:ext cx="1282405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 smtClean="0"/>
              <a:t>Accomodation</a:t>
            </a:r>
            <a:r>
              <a:rPr lang="de-DE" sz="800" dirty="0" smtClean="0"/>
              <a:t> </a:t>
            </a:r>
            <a:r>
              <a:rPr lang="de-DE" sz="800" dirty="0" err="1" smtClean="0"/>
              <a:t>offer</a:t>
            </a:r>
            <a:endParaRPr lang="de-DE" sz="800" dirty="0" smtClean="0"/>
          </a:p>
        </p:txBody>
      </p:sp>
      <p:sp>
        <p:nvSpPr>
          <p:cNvPr id="165" name="Textfeld 164"/>
          <p:cNvSpPr txBox="1"/>
          <p:nvPr/>
        </p:nvSpPr>
        <p:spPr bwMode="gray">
          <a:xfrm>
            <a:off x="6240116" y="2976935"/>
            <a:ext cx="978117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smtClean="0"/>
              <a:t>Agreement </a:t>
            </a:r>
            <a:r>
              <a:rPr lang="de-DE" sz="800" dirty="0" err="1" smtClean="0"/>
              <a:t>to</a:t>
            </a:r>
            <a:r>
              <a:rPr lang="de-DE" sz="800" dirty="0" smtClean="0"/>
              <a:t> </a:t>
            </a:r>
            <a:r>
              <a:rPr lang="de-DE" sz="800" dirty="0" err="1" smtClean="0"/>
              <a:t>facilitate</a:t>
            </a:r>
            <a:r>
              <a:rPr lang="de-DE" sz="800" dirty="0" smtClean="0"/>
              <a:t> Payment</a:t>
            </a:r>
          </a:p>
        </p:txBody>
      </p:sp>
      <p:sp>
        <p:nvSpPr>
          <p:cNvPr id="166" name="Textfeld 165"/>
          <p:cNvSpPr txBox="1"/>
          <p:nvPr/>
        </p:nvSpPr>
        <p:spPr bwMode="gray">
          <a:xfrm>
            <a:off x="2372493" y="3131473"/>
            <a:ext cx="978117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smtClean="0"/>
              <a:t>Agreement </a:t>
            </a:r>
            <a:r>
              <a:rPr lang="de-DE" sz="800" dirty="0" err="1" smtClean="0"/>
              <a:t>to</a:t>
            </a:r>
            <a:r>
              <a:rPr lang="de-DE" sz="800" dirty="0" smtClean="0"/>
              <a:t> </a:t>
            </a:r>
            <a:r>
              <a:rPr lang="de-DE" sz="800" dirty="0" err="1" smtClean="0"/>
              <a:t>facilitate</a:t>
            </a:r>
            <a:r>
              <a:rPr lang="de-DE" sz="800" dirty="0" smtClean="0"/>
              <a:t> Payment</a:t>
            </a:r>
          </a:p>
        </p:txBody>
      </p:sp>
      <p:grpSp>
        <p:nvGrpSpPr>
          <p:cNvPr id="169" name="Gruppieren 168"/>
          <p:cNvGrpSpPr/>
          <p:nvPr/>
        </p:nvGrpSpPr>
        <p:grpSpPr>
          <a:xfrm>
            <a:off x="4848481" y="85786"/>
            <a:ext cx="3523915" cy="5893654"/>
            <a:chOff x="4758857" y="-319609"/>
            <a:chExt cx="3595188" cy="6406467"/>
          </a:xfrm>
        </p:grpSpPr>
        <p:sp>
          <p:nvSpPr>
            <p:cNvPr id="167" name="Ellipse 166"/>
            <p:cNvSpPr/>
            <p:nvPr/>
          </p:nvSpPr>
          <p:spPr bwMode="gray">
            <a:xfrm rot="2352201">
              <a:off x="4758857" y="-319609"/>
              <a:ext cx="2253742" cy="6406467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/>
            </a:p>
          </p:txBody>
        </p:sp>
        <p:sp>
          <p:nvSpPr>
            <p:cNvPr id="168" name="Textfeld 167"/>
            <p:cNvSpPr txBox="1"/>
            <p:nvPr/>
          </p:nvSpPr>
          <p:spPr bwMode="gray">
            <a:xfrm>
              <a:off x="6153202" y="3794192"/>
              <a:ext cx="2200843" cy="9144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 err="1">
                  <a:solidFill>
                    <a:srgbClr val="FF0000"/>
                  </a:solidFill>
                </a:rPr>
                <a:t>p</a:t>
              </a:r>
              <a:r>
                <a:rPr lang="de-DE" dirty="0" err="1" smtClean="0">
                  <a:solidFill>
                    <a:srgbClr val="FF0000"/>
                  </a:solidFill>
                </a:rPr>
                <a:t>re</a:t>
              </a:r>
              <a:r>
                <a:rPr lang="de-DE" dirty="0" smtClean="0">
                  <a:solidFill>
                    <a:srgbClr val="FF0000"/>
                  </a:solidFill>
                </a:rPr>
                <a:t>-requisit </a:t>
              </a:r>
              <a:r>
                <a:rPr lang="de-DE" dirty="0" err="1" smtClean="0">
                  <a:solidFill>
                    <a:srgbClr val="FF0000"/>
                  </a:solidFill>
                </a:rPr>
                <a:t>for</a:t>
              </a:r>
              <a:r>
                <a:rPr lang="de-DE" dirty="0" smtClean="0">
                  <a:solidFill>
                    <a:srgbClr val="FF0000"/>
                  </a:solidFill>
                </a:rPr>
                <a:t> </a:t>
              </a:r>
              <a:r>
                <a:rPr lang="de-DE" dirty="0" err="1" smtClean="0">
                  <a:solidFill>
                    <a:srgbClr val="FF0000"/>
                  </a:solidFill>
                </a:rPr>
                <a:t>payments</a:t>
              </a:r>
              <a:r>
                <a:rPr lang="de-DE" dirty="0" smtClean="0">
                  <a:solidFill>
                    <a:srgbClr val="FF0000"/>
                  </a:solidFill>
                </a:rPr>
                <a:t> due </a:t>
              </a:r>
              <a:r>
                <a:rPr lang="de-DE" dirty="0" err="1" smtClean="0">
                  <a:solidFill>
                    <a:srgbClr val="FF0000"/>
                  </a:solidFill>
                </a:rPr>
                <a:t>to</a:t>
              </a:r>
              <a:r>
                <a:rPr lang="de-DE" dirty="0" smtClean="0">
                  <a:solidFill>
                    <a:srgbClr val="FF0000"/>
                  </a:solidFill>
                </a:rPr>
                <a:t> </a:t>
              </a:r>
              <a:r>
                <a:rPr lang="de-DE" dirty="0" err="1" smtClean="0">
                  <a:solidFill>
                    <a:srgbClr val="FF0000"/>
                  </a:solidFill>
                </a:rPr>
                <a:t>regulatory</a:t>
              </a:r>
              <a:r>
                <a:rPr lang="de-DE" dirty="0" smtClean="0">
                  <a:solidFill>
                    <a:srgbClr val="FF0000"/>
                  </a:solidFill>
                </a:rPr>
                <a:t> </a:t>
              </a:r>
              <a:r>
                <a:rPr lang="de-DE" dirty="0" err="1" smtClean="0">
                  <a:solidFill>
                    <a:srgbClr val="FF0000"/>
                  </a:solidFill>
                </a:rPr>
                <a:t>ristrictions</a:t>
              </a:r>
              <a:endParaRPr lang="de-DE" dirty="0" smtClean="0">
                <a:solidFill>
                  <a:srgbClr val="FF0000"/>
                </a:solidFill>
              </a:endParaRPr>
            </a:p>
          </p:txBody>
        </p:sp>
      </p:grpSp>
      <p:grpSp>
        <p:nvGrpSpPr>
          <p:cNvPr id="171" name="Group 620">
            <a:extLst>
              <a:ext uri="{FF2B5EF4-FFF2-40B4-BE49-F238E27FC236}">
                <a16:creationId xmlns:a16="http://schemas.microsoft.com/office/drawing/2014/main" id="{28C257CA-3E22-4189-B946-D847A9ACFA21}"/>
              </a:ext>
            </a:extLst>
          </p:cNvPr>
          <p:cNvGrpSpPr/>
          <p:nvPr/>
        </p:nvGrpSpPr>
        <p:grpSpPr>
          <a:xfrm>
            <a:off x="5970450" y="3041617"/>
            <a:ext cx="213035" cy="317354"/>
            <a:chOff x="-11104563" y="3836987"/>
            <a:chExt cx="1154113" cy="1719263"/>
          </a:xfrm>
        </p:grpSpPr>
        <p:sp>
          <p:nvSpPr>
            <p:cNvPr id="172" name="Freeform 141">
              <a:extLst>
                <a:ext uri="{FF2B5EF4-FFF2-40B4-BE49-F238E27FC236}">
                  <a16:creationId xmlns:a16="http://schemas.microsoft.com/office/drawing/2014/main" id="{E58A2074-0DAB-4039-A9FF-9347097936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993438" y="3836987"/>
              <a:ext cx="933450" cy="666750"/>
            </a:xfrm>
            <a:custGeom>
              <a:avLst/>
              <a:gdLst>
                <a:gd name="T0" fmla="*/ 188 w 313"/>
                <a:gd name="T1" fmla="*/ 0 h 224"/>
                <a:gd name="T2" fmla="*/ 126 w 313"/>
                <a:gd name="T3" fmla="*/ 0 h 224"/>
                <a:gd name="T4" fmla="*/ 0 w 313"/>
                <a:gd name="T5" fmla="*/ 125 h 224"/>
                <a:gd name="T6" fmla="*/ 0 w 313"/>
                <a:gd name="T7" fmla="*/ 224 h 224"/>
                <a:gd name="T8" fmla="*/ 58 w 313"/>
                <a:gd name="T9" fmla="*/ 224 h 224"/>
                <a:gd name="T10" fmla="*/ 58 w 313"/>
                <a:gd name="T11" fmla="*/ 125 h 224"/>
                <a:gd name="T12" fmla="*/ 126 w 313"/>
                <a:gd name="T13" fmla="*/ 58 h 224"/>
                <a:gd name="T14" fmla="*/ 188 w 313"/>
                <a:gd name="T15" fmla="*/ 58 h 224"/>
                <a:gd name="T16" fmla="*/ 255 w 313"/>
                <a:gd name="T17" fmla="*/ 125 h 224"/>
                <a:gd name="T18" fmla="*/ 255 w 313"/>
                <a:gd name="T19" fmla="*/ 224 h 224"/>
                <a:gd name="T20" fmla="*/ 313 w 313"/>
                <a:gd name="T21" fmla="*/ 224 h 224"/>
                <a:gd name="T22" fmla="*/ 313 w 313"/>
                <a:gd name="T23" fmla="*/ 125 h 224"/>
                <a:gd name="T24" fmla="*/ 188 w 313"/>
                <a:gd name="T2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3" h="224">
                  <a:moveTo>
                    <a:pt x="188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56" y="0"/>
                    <a:pt x="0" y="56"/>
                    <a:pt x="0" y="12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8" y="125"/>
                    <a:pt x="58" y="125"/>
                    <a:pt x="58" y="125"/>
                  </a:cubicBezTo>
                  <a:cubicBezTo>
                    <a:pt x="58" y="88"/>
                    <a:pt x="89" y="58"/>
                    <a:pt x="126" y="58"/>
                  </a:cubicBezTo>
                  <a:cubicBezTo>
                    <a:pt x="188" y="58"/>
                    <a:pt x="188" y="58"/>
                    <a:pt x="188" y="58"/>
                  </a:cubicBezTo>
                  <a:cubicBezTo>
                    <a:pt x="225" y="58"/>
                    <a:pt x="255" y="88"/>
                    <a:pt x="255" y="125"/>
                  </a:cubicBezTo>
                  <a:cubicBezTo>
                    <a:pt x="255" y="224"/>
                    <a:pt x="255" y="224"/>
                    <a:pt x="255" y="224"/>
                  </a:cubicBezTo>
                  <a:cubicBezTo>
                    <a:pt x="313" y="224"/>
                    <a:pt x="313" y="224"/>
                    <a:pt x="313" y="224"/>
                  </a:cubicBezTo>
                  <a:cubicBezTo>
                    <a:pt x="313" y="125"/>
                    <a:pt x="313" y="125"/>
                    <a:pt x="313" y="125"/>
                  </a:cubicBezTo>
                  <a:cubicBezTo>
                    <a:pt x="313" y="56"/>
                    <a:pt x="257" y="0"/>
                    <a:pt x="188" y="0"/>
                  </a:cubicBezTo>
                  <a:close/>
                </a:path>
              </a:pathLst>
            </a:custGeom>
            <a:solidFill>
              <a:srgbClr val="E356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42">
              <a:extLst>
                <a:ext uri="{FF2B5EF4-FFF2-40B4-BE49-F238E27FC236}">
                  <a16:creationId xmlns:a16="http://schemas.microsoft.com/office/drawing/2014/main" id="{5D0D5B66-9EEE-42C5-9168-97D83F3A41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104563" y="4564062"/>
              <a:ext cx="1154113" cy="992188"/>
            </a:xfrm>
            <a:custGeom>
              <a:avLst/>
              <a:gdLst>
                <a:gd name="T0" fmla="*/ 354 w 387"/>
                <a:gd name="T1" fmla="*/ 0 h 333"/>
                <a:gd name="T2" fmla="*/ 34 w 387"/>
                <a:gd name="T3" fmla="*/ 0 h 333"/>
                <a:gd name="T4" fmla="*/ 0 w 387"/>
                <a:gd name="T5" fmla="*/ 33 h 333"/>
                <a:gd name="T6" fmla="*/ 0 w 387"/>
                <a:gd name="T7" fmla="*/ 299 h 333"/>
                <a:gd name="T8" fmla="*/ 34 w 387"/>
                <a:gd name="T9" fmla="*/ 333 h 333"/>
                <a:gd name="T10" fmla="*/ 354 w 387"/>
                <a:gd name="T11" fmla="*/ 333 h 333"/>
                <a:gd name="T12" fmla="*/ 387 w 387"/>
                <a:gd name="T13" fmla="*/ 299 h 333"/>
                <a:gd name="T14" fmla="*/ 387 w 387"/>
                <a:gd name="T15" fmla="*/ 33 h 333"/>
                <a:gd name="T16" fmla="*/ 354 w 387"/>
                <a:gd name="T17" fmla="*/ 0 h 333"/>
                <a:gd name="T18" fmla="*/ 202 w 387"/>
                <a:gd name="T19" fmla="*/ 227 h 333"/>
                <a:gd name="T20" fmla="*/ 194 w 387"/>
                <a:gd name="T21" fmla="*/ 236 h 333"/>
                <a:gd name="T22" fmla="*/ 185 w 387"/>
                <a:gd name="T23" fmla="*/ 227 h 333"/>
                <a:gd name="T24" fmla="*/ 185 w 387"/>
                <a:gd name="T25" fmla="*/ 190 h 333"/>
                <a:gd name="T26" fmla="*/ 174 w 387"/>
                <a:gd name="T27" fmla="*/ 170 h 333"/>
                <a:gd name="T28" fmla="*/ 155 w 387"/>
                <a:gd name="T29" fmla="*/ 136 h 333"/>
                <a:gd name="T30" fmla="*/ 155 w 387"/>
                <a:gd name="T31" fmla="*/ 136 h 333"/>
                <a:gd name="T32" fmla="*/ 204 w 387"/>
                <a:gd name="T33" fmla="*/ 99 h 333"/>
                <a:gd name="T34" fmla="*/ 232 w 387"/>
                <a:gd name="T35" fmla="*/ 127 h 333"/>
                <a:gd name="T36" fmla="*/ 233 w 387"/>
                <a:gd name="T37" fmla="*/ 136 h 333"/>
                <a:gd name="T38" fmla="*/ 212 w 387"/>
                <a:gd name="T39" fmla="*/ 171 h 333"/>
                <a:gd name="T40" fmla="*/ 202 w 387"/>
                <a:gd name="T41" fmla="*/ 190 h 333"/>
                <a:gd name="T42" fmla="*/ 202 w 387"/>
                <a:gd name="T43" fmla="*/ 227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7" h="333">
                  <a:moveTo>
                    <a:pt x="354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0" y="318"/>
                    <a:pt x="15" y="333"/>
                    <a:pt x="34" y="333"/>
                  </a:cubicBezTo>
                  <a:cubicBezTo>
                    <a:pt x="354" y="333"/>
                    <a:pt x="354" y="333"/>
                    <a:pt x="354" y="333"/>
                  </a:cubicBezTo>
                  <a:cubicBezTo>
                    <a:pt x="372" y="333"/>
                    <a:pt x="387" y="318"/>
                    <a:pt x="387" y="299"/>
                  </a:cubicBezTo>
                  <a:cubicBezTo>
                    <a:pt x="387" y="33"/>
                    <a:pt x="387" y="33"/>
                    <a:pt x="387" y="33"/>
                  </a:cubicBezTo>
                  <a:cubicBezTo>
                    <a:pt x="387" y="15"/>
                    <a:pt x="372" y="0"/>
                    <a:pt x="354" y="0"/>
                  </a:cubicBezTo>
                  <a:close/>
                  <a:moveTo>
                    <a:pt x="202" y="227"/>
                  </a:moveTo>
                  <a:cubicBezTo>
                    <a:pt x="202" y="232"/>
                    <a:pt x="198" y="236"/>
                    <a:pt x="194" y="236"/>
                  </a:cubicBezTo>
                  <a:cubicBezTo>
                    <a:pt x="189" y="236"/>
                    <a:pt x="185" y="232"/>
                    <a:pt x="185" y="227"/>
                  </a:cubicBezTo>
                  <a:cubicBezTo>
                    <a:pt x="185" y="190"/>
                    <a:pt x="185" y="190"/>
                    <a:pt x="185" y="190"/>
                  </a:cubicBezTo>
                  <a:cubicBezTo>
                    <a:pt x="185" y="182"/>
                    <a:pt x="181" y="174"/>
                    <a:pt x="174" y="170"/>
                  </a:cubicBezTo>
                  <a:cubicBezTo>
                    <a:pt x="163" y="164"/>
                    <a:pt x="155" y="151"/>
                    <a:pt x="155" y="136"/>
                  </a:cubicBezTo>
                  <a:cubicBezTo>
                    <a:pt x="155" y="136"/>
                    <a:pt x="155" y="136"/>
                    <a:pt x="155" y="136"/>
                  </a:cubicBezTo>
                  <a:cubicBezTo>
                    <a:pt x="155" y="111"/>
                    <a:pt x="178" y="92"/>
                    <a:pt x="204" y="99"/>
                  </a:cubicBezTo>
                  <a:cubicBezTo>
                    <a:pt x="217" y="102"/>
                    <a:pt x="228" y="113"/>
                    <a:pt x="232" y="127"/>
                  </a:cubicBezTo>
                  <a:cubicBezTo>
                    <a:pt x="232" y="130"/>
                    <a:pt x="233" y="133"/>
                    <a:pt x="233" y="136"/>
                  </a:cubicBezTo>
                  <a:cubicBezTo>
                    <a:pt x="233" y="151"/>
                    <a:pt x="225" y="164"/>
                    <a:pt x="212" y="171"/>
                  </a:cubicBezTo>
                  <a:cubicBezTo>
                    <a:pt x="205" y="174"/>
                    <a:pt x="202" y="182"/>
                    <a:pt x="202" y="190"/>
                  </a:cubicBezTo>
                  <a:lnTo>
                    <a:pt x="202" y="227"/>
                  </a:lnTo>
                  <a:close/>
                </a:path>
              </a:pathLst>
            </a:custGeom>
            <a:solidFill>
              <a:srgbClr val="0A5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4" name="Group 620">
            <a:extLst>
              <a:ext uri="{FF2B5EF4-FFF2-40B4-BE49-F238E27FC236}">
                <a16:creationId xmlns:a16="http://schemas.microsoft.com/office/drawing/2014/main" id="{28C257CA-3E22-4189-B946-D847A9ACFA21}"/>
              </a:ext>
            </a:extLst>
          </p:cNvPr>
          <p:cNvGrpSpPr/>
          <p:nvPr/>
        </p:nvGrpSpPr>
        <p:grpSpPr>
          <a:xfrm>
            <a:off x="3415640" y="3173962"/>
            <a:ext cx="213035" cy="317354"/>
            <a:chOff x="-11104563" y="3836987"/>
            <a:chExt cx="1154113" cy="1719263"/>
          </a:xfrm>
        </p:grpSpPr>
        <p:sp>
          <p:nvSpPr>
            <p:cNvPr id="175" name="Freeform 141">
              <a:extLst>
                <a:ext uri="{FF2B5EF4-FFF2-40B4-BE49-F238E27FC236}">
                  <a16:creationId xmlns:a16="http://schemas.microsoft.com/office/drawing/2014/main" id="{E58A2074-0DAB-4039-A9FF-9347097936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993438" y="3836987"/>
              <a:ext cx="933450" cy="666750"/>
            </a:xfrm>
            <a:custGeom>
              <a:avLst/>
              <a:gdLst>
                <a:gd name="T0" fmla="*/ 188 w 313"/>
                <a:gd name="T1" fmla="*/ 0 h 224"/>
                <a:gd name="T2" fmla="*/ 126 w 313"/>
                <a:gd name="T3" fmla="*/ 0 h 224"/>
                <a:gd name="T4" fmla="*/ 0 w 313"/>
                <a:gd name="T5" fmla="*/ 125 h 224"/>
                <a:gd name="T6" fmla="*/ 0 w 313"/>
                <a:gd name="T7" fmla="*/ 224 h 224"/>
                <a:gd name="T8" fmla="*/ 58 w 313"/>
                <a:gd name="T9" fmla="*/ 224 h 224"/>
                <a:gd name="T10" fmla="*/ 58 w 313"/>
                <a:gd name="T11" fmla="*/ 125 h 224"/>
                <a:gd name="T12" fmla="*/ 126 w 313"/>
                <a:gd name="T13" fmla="*/ 58 h 224"/>
                <a:gd name="T14" fmla="*/ 188 w 313"/>
                <a:gd name="T15" fmla="*/ 58 h 224"/>
                <a:gd name="T16" fmla="*/ 255 w 313"/>
                <a:gd name="T17" fmla="*/ 125 h 224"/>
                <a:gd name="T18" fmla="*/ 255 w 313"/>
                <a:gd name="T19" fmla="*/ 224 h 224"/>
                <a:gd name="T20" fmla="*/ 313 w 313"/>
                <a:gd name="T21" fmla="*/ 224 h 224"/>
                <a:gd name="T22" fmla="*/ 313 w 313"/>
                <a:gd name="T23" fmla="*/ 125 h 224"/>
                <a:gd name="T24" fmla="*/ 188 w 313"/>
                <a:gd name="T2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3" h="224">
                  <a:moveTo>
                    <a:pt x="188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56" y="0"/>
                    <a:pt x="0" y="56"/>
                    <a:pt x="0" y="12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8" y="125"/>
                    <a:pt x="58" y="125"/>
                    <a:pt x="58" y="125"/>
                  </a:cubicBezTo>
                  <a:cubicBezTo>
                    <a:pt x="58" y="88"/>
                    <a:pt x="89" y="58"/>
                    <a:pt x="126" y="58"/>
                  </a:cubicBezTo>
                  <a:cubicBezTo>
                    <a:pt x="188" y="58"/>
                    <a:pt x="188" y="58"/>
                    <a:pt x="188" y="58"/>
                  </a:cubicBezTo>
                  <a:cubicBezTo>
                    <a:pt x="225" y="58"/>
                    <a:pt x="255" y="88"/>
                    <a:pt x="255" y="125"/>
                  </a:cubicBezTo>
                  <a:cubicBezTo>
                    <a:pt x="255" y="224"/>
                    <a:pt x="255" y="224"/>
                    <a:pt x="255" y="224"/>
                  </a:cubicBezTo>
                  <a:cubicBezTo>
                    <a:pt x="313" y="224"/>
                    <a:pt x="313" y="224"/>
                    <a:pt x="313" y="224"/>
                  </a:cubicBezTo>
                  <a:cubicBezTo>
                    <a:pt x="313" y="125"/>
                    <a:pt x="313" y="125"/>
                    <a:pt x="313" y="125"/>
                  </a:cubicBezTo>
                  <a:cubicBezTo>
                    <a:pt x="313" y="56"/>
                    <a:pt x="257" y="0"/>
                    <a:pt x="188" y="0"/>
                  </a:cubicBezTo>
                  <a:close/>
                </a:path>
              </a:pathLst>
            </a:custGeom>
            <a:solidFill>
              <a:srgbClr val="E356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42">
              <a:extLst>
                <a:ext uri="{FF2B5EF4-FFF2-40B4-BE49-F238E27FC236}">
                  <a16:creationId xmlns:a16="http://schemas.microsoft.com/office/drawing/2014/main" id="{5D0D5B66-9EEE-42C5-9168-97D83F3A41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104563" y="4564062"/>
              <a:ext cx="1154113" cy="992188"/>
            </a:xfrm>
            <a:custGeom>
              <a:avLst/>
              <a:gdLst>
                <a:gd name="T0" fmla="*/ 354 w 387"/>
                <a:gd name="T1" fmla="*/ 0 h 333"/>
                <a:gd name="T2" fmla="*/ 34 w 387"/>
                <a:gd name="T3" fmla="*/ 0 h 333"/>
                <a:gd name="T4" fmla="*/ 0 w 387"/>
                <a:gd name="T5" fmla="*/ 33 h 333"/>
                <a:gd name="T6" fmla="*/ 0 w 387"/>
                <a:gd name="T7" fmla="*/ 299 h 333"/>
                <a:gd name="T8" fmla="*/ 34 w 387"/>
                <a:gd name="T9" fmla="*/ 333 h 333"/>
                <a:gd name="T10" fmla="*/ 354 w 387"/>
                <a:gd name="T11" fmla="*/ 333 h 333"/>
                <a:gd name="T12" fmla="*/ 387 w 387"/>
                <a:gd name="T13" fmla="*/ 299 h 333"/>
                <a:gd name="T14" fmla="*/ 387 w 387"/>
                <a:gd name="T15" fmla="*/ 33 h 333"/>
                <a:gd name="T16" fmla="*/ 354 w 387"/>
                <a:gd name="T17" fmla="*/ 0 h 333"/>
                <a:gd name="T18" fmla="*/ 202 w 387"/>
                <a:gd name="T19" fmla="*/ 227 h 333"/>
                <a:gd name="T20" fmla="*/ 194 w 387"/>
                <a:gd name="T21" fmla="*/ 236 h 333"/>
                <a:gd name="T22" fmla="*/ 185 w 387"/>
                <a:gd name="T23" fmla="*/ 227 h 333"/>
                <a:gd name="T24" fmla="*/ 185 w 387"/>
                <a:gd name="T25" fmla="*/ 190 h 333"/>
                <a:gd name="T26" fmla="*/ 174 w 387"/>
                <a:gd name="T27" fmla="*/ 170 h 333"/>
                <a:gd name="T28" fmla="*/ 155 w 387"/>
                <a:gd name="T29" fmla="*/ 136 h 333"/>
                <a:gd name="T30" fmla="*/ 155 w 387"/>
                <a:gd name="T31" fmla="*/ 136 h 333"/>
                <a:gd name="T32" fmla="*/ 204 w 387"/>
                <a:gd name="T33" fmla="*/ 99 h 333"/>
                <a:gd name="T34" fmla="*/ 232 w 387"/>
                <a:gd name="T35" fmla="*/ 127 h 333"/>
                <a:gd name="T36" fmla="*/ 233 w 387"/>
                <a:gd name="T37" fmla="*/ 136 h 333"/>
                <a:gd name="T38" fmla="*/ 212 w 387"/>
                <a:gd name="T39" fmla="*/ 171 h 333"/>
                <a:gd name="T40" fmla="*/ 202 w 387"/>
                <a:gd name="T41" fmla="*/ 190 h 333"/>
                <a:gd name="T42" fmla="*/ 202 w 387"/>
                <a:gd name="T43" fmla="*/ 227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7" h="333">
                  <a:moveTo>
                    <a:pt x="354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0" y="318"/>
                    <a:pt x="15" y="333"/>
                    <a:pt x="34" y="333"/>
                  </a:cubicBezTo>
                  <a:cubicBezTo>
                    <a:pt x="354" y="333"/>
                    <a:pt x="354" y="333"/>
                    <a:pt x="354" y="333"/>
                  </a:cubicBezTo>
                  <a:cubicBezTo>
                    <a:pt x="372" y="333"/>
                    <a:pt x="387" y="318"/>
                    <a:pt x="387" y="299"/>
                  </a:cubicBezTo>
                  <a:cubicBezTo>
                    <a:pt x="387" y="33"/>
                    <a:pt x="387" y="33"/>
                    <a:pt x="387" y="33"/>
                  </a:cubicBezTo>
                  <a:cubicBezTo>
                    <a:pt x="387" y="15"/>
                    <a:pt x="372" y="0"/>
                    <a:pt x="354" y="0"/>
                  </a:cubicBezTo>
                  <a:close/>
                  <a:moveTo>
                    <a:pt x="202" y="227"/>
                  </a:moveTo>
                  <a:cubicBezTo>
                    <a:pt x="202" y="232"/>
                    <a:pt x="198" y="236"/>
                    <a:pt x="194" y="236"/>
                  </a:cubicBezTo>
                  <a:cubicBezTo>
                    <a:pt x="189" y="236"/>
                    <a:pt x="185" y="232"/>
                    <a:pt x="185" y="227"/>
                  </a:cubicBezTo>
                  <a:cubicBezTo>
                    <a:pt x="185" y="190"/>
                    <a:pt x="185" y="190"/>
                    <a:pt x="185" y="190"/>
                  </a:cubicBezTo>
                  <a:cubicBezTo>
                    <a:pt x="185" y="182"/>
                    <a:pt x="181" y="174"/>
                    <a:pt x="174" y="170"/>
                  </a:cubicBezTo>
                  <a:cubicBezTo>
                    <a:pt x="163" y="164"/>
                    <a:pt x="155" y="151"/>
                    <a:pt x="155" y="136"/>
                  </a:cubicBezTo>
                  <a:cubicBezTo>
                    <a:pt x="155" y="136"/>
                    <a:pt x="155" y="136"/>
                    <a:pt x="155" y="136"/>
                  </a:cubicBezTo>
                  <a:cubicBezTo>
                    <a:pt x="155" y="111"/>
                    <a:pt x="178" y="92"/>
                    <a:pt x="204" y="99"/>
                  </a:cubicBezTo>
                  <a:cubicBezTo>
                    <a:pt x="217" y="102"/>
                    <a:pt x="228" y="113"/>
                    <a:pt x="232" y="127"/>
                  </a:cubicBezTo>
                  <a:cubicBezTo>
                    <a:pt x="232" y="130"/>
                    <a:pt x="233" y="133"/>
                    <a:pt x="233" y="136"/>
                  </a:cubicBezTo>
                  <a:cubicBezTo>
                    <a:pt x="233" y="151"/>
                    <a:pt x="225" y="164"/>
                    <a:pt x="212" y="171"/>
                  </a:cubicBezTo>
                  <a:cubicBezTo>
                    <a:pt x="205" y="174"/>
                    <a:pt x="202" y="182"/>
                    <a:pt x="202" y="190"/>
                  </a:cubicBezTo>
                  <a:lnTo>
                    <a:pt x="202" y="227"/>
                  </a:lnTo>
                  <a:close/>
                </a:path>
              </a:pathLst>
            </a:custGeom>
            <a:solidFill>
              <a:srgbClr val="0A5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4" name="Title 1">
            <a:extLst>
              <a:ext uri="{FF2B5EF4-FFF2-40B4-BE49-F238E27FC236}">
                <a16:creationId xmlns:a16="http://schemas.microsoft.com/office/drawing/2014/main" id="{EA37BF75-8AB0-4EA2-878A-16C018420765}"/>
              </a:ext>
            </a:extLst>
          </p:cNvPr>
          <p:cNvSpPr txBox="1">
            <a:spLocks/>
          </p:cNvSpPr>
          <p:nvPr/>
        </p:nvSpPr>
        <p:spPr>
          <a:xfrm>
            <a:off x="1439750" y="179959"/>
            <a:ext cx="7486700" cy="8578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Arial" charset="0"/>
              </a:defRPr>
            </a:lvl5pPr>
            <a:lvl6pPr marL="38088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Arial" charset="0"/>
              </a:defRPr>
            </a:lvl6pPr>
            <a:lvl7pPr marL="76176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Arial" charset="0"/>
              </a:defRPr>
            </a:lvl7pPr>
            <a:lvl8pPr marL="114264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Arial" charset="0"/>
              </a:defRPr>
            </a:lvl8pPr>
            <a:lvl9pPr marL="152352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kern="0" dirty="0" smtClean="0"/>
              <a:t>For the acceptance of payments the merchant enters a contract with a financial institution</a:t>
            </a:r>
            <a:endParaRPr lang="en-GB" kern="0" dirty="0"/>
          </a:p>
        </p:txBody>
      </p:sp>
      <p:pic>
        <p:nvPicPr>
          <p:cNvPr id="65" name="Graphic 27" descr="Building">
            <a:extLst>
              <a:ext uri="{FF2B5EF4-FFF2-40B4-BE49-F238E27FC236}">
                <a16:creationId xmlns:a16="http://schemas.microsoft.com/office/drawing/2014/main" id="{DDFF9DE2-7576-42D1-9B4B-C5332355AAC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7653800" y="1301997"/>
            <a:ext cx="257154" cy="257154"/>
          </a:xfrm>
          <a:prstGeom prst="rect">
            <a:avLst/>
          </a:prstGeom>
        </p:spPr>
      </p:pic>
      <p:pic>
        <p:nvPicPr>
          <p:cNvPr id="66" name="Graphic 30" descr="Building">
            <a:extLst>
              <a:ext uri="{FF2B5EF4-FFF2-40B4-BE49-F238E27FC236}">
                <a16:creationId xmlns:a16="http://schemas.microsoft.com/office/drawing/2014/main" id="{8DF3D7B4-A283-4688-9779-CA6D76AAFF9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7653800" y="1044843"/>
            <a:ext cx="257154" cy="257154"/>
          </a:xfrm>
          <a:prstGeom prst="rect">
            <a:avLst/>
          </a:prstGeom>
        </p:spPr>
      </p:pic>
      <p:pic>
        <p:nvPicPr>
          <p:cNvPr id="67" name="Graphic 31" descr="Building">
            <a:extLst>
              <a:ext uri="{FF2B5EF4-FFF2-40B4-BE49-F238E27FC236}">
                <a16:creationId xmlns:a16="http://schemas.microsoft.com/office/drawing/2014/main" id="{E4229F61-E29D-40C0-89F3-8F669BE95A0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7653800" y="1541997"/>
            <a:ext cx="257154" cy="257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757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/>
        </p:nvSpPr>
        <p:spPr bwMode="gray">
          <a:xfrm>
            <a:off x="1439750" y="2955840"/>
            <a:ext cx="1879774" cy="11257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8196" name="Rectangle 8195"/>
          <p:cNvSpPr/>
          <p:nvPr/>
        </p:nvSpPr>
        <p:spPr bwMode="gray">
          <a:xfrm>
            <a:off x="7421133" y="1927723"/>
            <a:ext cx="1481696" cy="359407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9750" y="179959"/>
            <a:ext cx="7704250" cy="857801"/>
          </a:xfrm>
        </p:spPr>
        <p:txBody>
          <a:bodyPr/>
          <a:lstStyle/>
          <a:p>
            <a:r>
              <a:rPr lang="en-US" dirty="0" smtClean="0"/>
              <a:t>Removing complexity to enable solution adoption by bridging innovative distribution with current payment &amp; billing solutions</a:t>
            </a:r>
            <a:endParaRPr lang="en-US" dirty="0"/>
          </a:p>
        </p:txBody>
      </p:sp>
      <p:grpSp>
        <p:nvGrpSpPr>
          <p:cNvPr id="30" name="Group 29"/>
          <p:cNvGrpSpPr/>
          <p:nvPr/>
        </p:nvGrpSpPr>
        <p:grpSpPr>
          <a:xfrm>
            <a:off x="1407090" y="1150739"/>
            <a:ext cx="2064262" cy="1080120"/>
            <a:chOff x="1619672" y="1273324"/>
            <a:chExt cx="2064262" cy="1080120"/>
          </a:xfrm>
        </p:grpSpPr>
        <p:sp>
          <p:nvSpPr>
            <p:cNvPr id="7" name="Cloud 6"/>
            <p:cNvSpPr/>
            <p:nvPr/>
          </p:nvSpPr>
          <p:spPr bwMode="gray">
            <a:xfrm>
              <a:off x="1619672" y="1273324"/>
              <a:ext cx="2064262" cy="1080120"/>
            </a:xfrm>
            <a:prstGeom prst="cloud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200" dirty="0" smtClean="0"/>
                <a:t>Winding Tree index</a:t>
              </a:r>
            </a:p>
          </p:txBody>
        </p:sp>
        <p:pic>
          <p:nvPicPr>
            <p:cNvPr id="8194" name="Picture 2" descr="Image result for ethereum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76070" y="1556533"/>
              <a:ext cx="411541" cy="4734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" name="Group 30"/>
          <p:cNvGrpSpPr/>
          <p:nvPr/>
        </p:nvGrpSpPr>
        <p:grpSpPr>
          <a:xfrm>
            <a:off x="1528513" y="3025900"/>
            <a:ext cx="1719529" cy="985400"/>
            <a:chOff x="1835696" y="2929508"/>
            <a:chExt cx="1719529" cy="985400"/>
          </a:xfrm>
        </p:grpSpPr>
        <p:sp>
          <p:nvSpPr>
            <p:cNvPr id="9" name="Can 8"/>
            <p:cNvSpPr/>
            <p:nvPr/>
          </p:nvSpPr>
          <p:spPr bwMode="gray">
            <a:xfrm>
              <a:off x="1835696" y="2929508"/>
              <a:ext cx="1080629" cy="899892"/>
            </a:xfrm>
            <a:prstGeom prst="can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6182" tIns="38091" rIns="76182" bIns="380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37" dirty="0"/>
            </a:p>
          </p:txBody>
        </p:sp>
        <p:sp>
          <p:nvSpPr>
            <p:cNvPr id="10" name="Can 9"/>
            <p:cNvSpPr/>
            <p:nvPr/>
          </p:nvSpPr>
          <p:spPr bwMode="gray">
            <a:xfrm>
              <a:off x="2155146" y="2974635"/>
              <a:ext cx="1080629" cy="899892"/>
            </a:xfrm>
            <a:prstGeom prst="can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6182" tIns="38091" rIns="76182" bIns="380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37" dirty="0"/>
            </a:p>
          </p:txBody>
        </p:sp>
        <p:sp>
          <p:nvSpPr>
            <p:cNvPr id="11" name="Can 10"/>
            <p:cNvSpPr/>
            <p:nvPr/>
          </p:nvSpPr>
          <p:spPr bwMode="gray">
            <a:xfrm>
              <a:off x="2474596" y="3015016"/>
              <a:ext cx="1080629" cy="899892"/>
            </a:xfrm>
            <a:prstGeom prst="can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6182" tIns="38091" rIns="76182" bIns="380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37" dirty="0"/>
            </a:p>
          </p:txBody>
        </p:sp>
      </p:grpSp>
      <p:sp>
        <p:nvSpPr>
          <p:cNvPr id="8" name="Rectangle 7"/>
          <p:cNvSpPr/>
          <p:nvPr/>
        </p:nvSpPr>
        <p:spPr>
          <a:xfrm>
            <a:off x="1562017" y="3433802"/>
            <a:ext cx="1675459" cy="2936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</a:rPr>
              <a:t>Decentralized storage</a:t>
            </a:r>
            <a:endParaRPr lang="en-US" sz="120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139434" y="936144"/>
            <a:ext cx="1746781" cy="3080448"/>
            <a:chOff x="466565" y="1063247"/>
            <a:chExt cx="1746781" cy="3080448"/>
          </a:xfrm>
        </p:grpSpPr>
        <p:sp>
          <p:nvSpPr>
            <p:cNvPr id="12" name="Circular Arrow 11"/>
            <p:cNvSpPr/>
            <p:nvPr/>
          </p:nvSpPr>
          <p:spPr bwMode="gray">
            <a:xfrm rot="19628821">
              <a:off x="466565" y="2487511"/>
              <a:ext cx="1729197" cy="1656184"/>
            </a:xfrm>
            <a:prstGeom prst="circularArrow">
              <a:avLst>
                <a:gd name="adj1" fmla="val 6404"/>
                <a:gd name="adj2" fmla="val 1142319"/>
                <a:gd name="adj3" fmla="val 20448646"/>
                <a:gd name="adj4" fmla="val 18057424"/>
                <a:gd name="adj5" fmla="val 7600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4" name="Circular Arrow 13"/>
            <p:cNvSpPr/>
            <p:nvPr/>
          </p:nvSpPr>
          <p:spPr bwMode="gray">
            <a:xfrm rot="1971179" flipV="1">
              <a:off x="484149" y="1063247"/>
              <a:ext cx="1729197" cy="1656184"/>
            </a:xfrm>
            <a:prstGeom prst="circularArrow">
              <a:avLst>
                <a:gd name="adj1" fmla="val 6404"/>
                <a:gd name="adj2" fmla="val 1142319"/>
                <a:gd name="adj3" fmla="val 20448646"/>
                <a:gd name="adj4" fmla="val 18057424"/>
                <a:gd name="adj5" fmla="val 7600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2965562" y="874144"/>
            <a:ext cx="1698122" cy="3207275"/>
            <a:chOff x="3280897" y="1019382"/>
            <a:chExt cx="1698122" cy="3207275"/>
          </a:xfrm>
        </p:grpSpPr>
        <p:sp>
          <p:nvSpPr>
            <p:cNvPr id="15" name="Circular Arrow 14"/>
            <p:cNvSpPr/>
            <p:nvPr/>
          </p:nvSpPr>
          <p:spPr bwMode="gray">
            <a:xfrm rot="16200000">
              <a:off x="3286328" y="2533967"/>
              <a:ext cx="1729197" cy="1656184"/>
            </a:xfrm>
            <a:prstGeom prst="circularArrow">
              <a:avLst>
                <a:gd name="adj1" fmla="val 6404"/>
                <a:gd name="adj2" fmla="val 1142319"/>
                <a:gd name="adj3" fmla="val 20448646"/>
                <a:gd name="adj4" fmla="val 18057424"/>
                <a:gd name="adj5" fmla="val 7600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Circular Arrow 15"/>
            <p:cNvSpPr/>
            <p:nvPr/>
          </p:nvSpPr>
          <p:spPr bwMode="gray">
            <a:xfrm rot="5218482" flipV="1">
              <a:off x="3244390" y="1055889"/>
              <a:ext cx="1729197" cy="1656184"/>
            </a:xfrm>
            <a:prstGeom prst="circularArrow">
              <a:avLst>
                <a:gd name="adj1" fmla="val 6404"/>
                <a:gd name="adj2" fmla="val 1142319"/>
                <a:gd name="adj3" fmla="val 20448646"/>
                <a:gd name="adj4" fmla="val 18057424"/>
                <a:gd name="adj5" fmla="val 7600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2" name="Diamond 21"/>
          <p:cNvSpPr/>
          <p:nvPr/>
        </p:nvSpPr>
        <p:spPr bwMode="gray">
          <a:xfrm>
            <a:off x="5245858" y="3216821"/>
            <a:ext cx="1817794" cy="929589"/>
          </a:xfrm>
          <a:prstGeom prst="diamond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Merchant </a:t>
            </a:r>
            <a:r>
              <a:rPr lang="en-US" sz="1200" dirty="0" err="1" smtClean="0"/>
              <a:t>agreementexists</a:t>
            </a:r>
            <a:r>
              <a:rPr lang="en-US" sz="1200" dirty="0" smtClean="0"/>
              <a:t>?</a:t>
            </a:r>
          </a:p>
        </p:txBody>
      </p:sp>
      <p:sp>
        <p:nvSpPr>
          <p:cNvPr id="13" name="Snip Single Corner Rectangle 12"/>
          <p:cNvSpPr/>
          <p:nvPr/>
        </p:nvSpPr>
        <p:spPr bwMode="gray">
          <a:xfrm>
            <a:off x="3906560" y="2090098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/>
              <a:t>Booking</a:t>
            </a:r>
            <a:br>
              <a:rPr lang="en-US" sz="1200" dirty="0" smtClean="0"/>
            </a:br>
            <a:r>
              <a:rPr lang="en-US" sz="1200" dirty="0" smtClean="0"/>
              <a:t>smart contract</a:t>
            </a:r>
          </a:p>
        </p:txBody>
      </p:sp>
      <p:sp>
        <p:nvSpPr>
          <p:cNvPr id="20" name="Snip Single Corner Rectangle 19"/>
          <p:cNvSpPr/>
          <p:nvPr/>
        </p:nvSpPr>
        <p:spPr bwMode="gray">
          <a:xfrm>
            <a:off x="5537924" y="2090098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/>
              <a:t>Payment</a:t>
            </a:r>
            <a:br>
              <a:rPr lang="en-US" sz="1200" dirty="0" smtClean="0"/>
            </a:br>
            <a:r>
              <a:rPr lang="en-US" sz="1200" dirty="0" smtClean="0"/>
              <a:t>smart contract</a:t>
            </a:r>
          </a:p>
        </p:txBody>
      </p:sp>
      <p:sp>
        <p:nvSpPr>
          <p:cNvPr id="27" name="Snip Single Corner Rectangle 26"/>
          <p:cNvSpPr/>
          <p:nvPr/>
        </p:nvSpPr>
        <p:spPr bwMode="gray">
          <a:xfrm>
            <a:off x="5549037" y="4593826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/>
              <a:t>Merchant agreement</a:t>
            </a:r>
            <a:br>
              <a:rPr lang="en-US" sz="1200" dirty="0" smtClean="0"/>
            </a:br>
            <a:r>
              <a:rPr lang="en-US" sz="1200" dirty="0" smtClean="0"/>
              <a:t>smart contract</a:t>
            </a:r>
          </a:p>
        </p:txBody>
      </p:sp>
      <p:sp>
        <p:nvSpPr>
          <p:cNvPr id="36" name="Right Arrow 35"/>
          <p:cNvSpPr/>
          <p:nvPr/>
        </p:nvSpPr>
        <p:spPr bwMode="gray">
          <a:xfrm>
            <a:off x="7083338" y="3550280"/>
            <a:ext cx="307315" cy="288032"/>
          </a:xfrm>
          <a:prstGeom prst="rightArrow">
            <a:avLst>
              <a:gd name="adj1" fmla="val 44709"/>
              <a:gd name="adj2" fmla="val 68519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7" name="Snip Single Corner Rectangle 36"/>
          <p:cNvSpPr/>
          <p:nvPr/>
        </p:nvSpPr>
        <p:spPr bwMode="gray">
          <a:xfrm>
            <a:off x="7537712" y="2086923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/>
              <a:t>Authorization</a:t>
            </a:r>
          </a:p>
        </p:txBody>
      </p:sp>
      <p:sp>
        <p:nvSpPr>
          <p:cNvPr id="38" name="Snip Single Corner Rectangle 37"/>
          <p:cNvSpPr/>
          <p:nvPr/>
        </p:nvSpPr>
        <p:spPr bwMode="gray">
          <a:xfrm>
            <a:off x="7538167" y="3341040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/>
              <a:t>Data enrichment</a:t>
            </a:r>
          </a:p>
        </p:txBody>
      </p:sp>
      <p:sp>
        <p:nvSpPr>
          <p:cNvPr id="39" name="Snip Single Corner Rectangle 38"/>
          <p:cNvSpPr/>
          <p:nvPr/>
        </p:nvSpPr>
        <p:spPr bwMode="gray">
          <a:xfrm>
            <a:off x="7538167" y="4597738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/>
              <a:t>Invoicing</a:t>
            </a:r>
          </a:p>
        </p:txBody>
      </p:sp>
      <p:grpSp>
        <p:nvGrpSpPr>
          <p:cNvPr id="8197" name="Group 8196"/>
          <p:cNvGrpSpPr>
            <a:grpSpLocks noChangeAspect="1"/>
          </p:cNvGrpSpPr>
          <p:nvPr/>
        </p:nvGrpSpPr>
        <p:grpSpPr>
          <a:xfrm>
            <a:off x="107504" y="1738743"/>
            <a:ext cx="819557" cy="1440000"/>
            <a:chOff x="1548073" y="4230978"/>
            <a:chExt cx="568979" cy="999725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48073" y="4230978"/>
              <a:ext cx="568979" cy="999725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23878" y="4337438"/>
              <a:ext cx="444152" cy="786805"/>
            </a:xfrm>
            <a:prstGeom prst="rect">
              <a:avLst/>
            </a:prstGeom>
          </p:spPr>
        </p:pic>
      </p:grpSp>
      <p:sp>
        <p:nvSpPr>
          <p:cNvPr id="44" name="Right Arrow 43"/>
          <p:cNvSpPr/>
          <p:nvPr/>
        </p:nvSpPr>
        <p:spPr bwMode="gray">
          <a:xfrm rot="5400000">
            <a:off x="7996577" y="2919148"/>
            <a:ext cx="307315" cy="288032"/>
          </a:xfrm>
          <a:prstGeom prst="rightArrow">
            <a:avLst>
              <a:gd name="adj1" fmla="val 44709"/>
              <a:gd name="adj2" fmla="val 68519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5" name="Right Arrow 44"/>
          <p:cNvSpPr/>
          <p:nvPr/>
        </p:nvSpPr>
        <p:spPr bwMode="gray">
          <a:xfrm rot="5400000">
            <a:off x="7996576" y="4175719"/>
            <a:ext cx="307315" cy="288032"/>
          </a:xfrm>
          <a:prstGeom prst="rightArrow">
            <a:avLst>
              <a:gd name="adj1" fmla="val 44709"/>
              <a:gd name="adj2" fmla="val 68519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0" name="Rectangle 39"/>
          <p:cNvSpPr/>
          <p:nvPr/>
        </p:nvSpPr>
        <p:spPr bwMode="gray">
          <a:xfrm>
            <a:off x="216693" y="4945732"/>
            <a:ext cx="639756" cy="4046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3" name="Rectangle 42"/>
          <p:cNvSpPr/>
          <p:nvPr/>
        </p:nvSpPr>
        <p:spPr>
          <a:xfrm>
            <a:off x="866027" y="5000334"/>
            <a:ext cx="797461" cy="2936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ff </a:t>
            </a:r>
            <a:r>
              <a:rPr lang="de-DE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hain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6" name="Rectangle 45"/>
          <p:cNvSpPr/>
          <p:nvPr/>
        </p:nvSpPr>
        <p:spPr bwMode="gray">
          <a:xfrm>
            <a:off x="1831625" y="4951328"/>
            <a:ext cx="639756" cy="40467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47" name="Rectangle 46"/>
          <p:cNvSpPr/>
          <p:nvPr/>
        </p:nvSpPr>
        <p:spPr>
          <a:xfrm>
            <a:off x="2480381" y="5005930"/>
            <a:ext cx="798617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n </a:t>
            </a:r>
            <a:r>
              <a:rPr lang="de-DE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hain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" name="Elbow Connector 3"/>
          <p:cNvCxnSpPr>
            <a:stCxn id="27" idx="2"/>
            <a:endCxn id="22" idx="1"/>
          </p:cNvCxnSpPr>
          <p:nvPr/>
        </p:nvCxnSpPr>
        <p:spPr bwMode="gray">
          <a:xfrm rot="10800000">
            <a:off x="5245859" y="3681616"/>
            <a:ext cx="303179" cy="1279000"/>
          </a:xfrm>
          <a:prstGeom prst="bentConnector3">
            <a:avLst>
              <a:gd name="adj1" fmla="val 240330"/>
            </a:avLst>
          </a:prstGeom>
          <a:ln w="76200">
            <a:solidFill>
              <a:schemeClr val="accent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/>
          <p:cNvCxnSpPr>
            <a:stCxn id="13" idx="0"/>
            <a:endCxn id="20" idx="2"/>
          </p:cNvCxnSpPr>
          <p:nvPr/>
        </p:nvCxnSpPr>
        <p:spPr bwMode="gray">
          <a:xfrm>
            <a:off x="5130696" y="2456888"/>
            <a:ext cx="407228" cy="12700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Snip Single Corner Rectangle 56"/>
          <p:cNvSpPr/>
          <p:nvPr/>
        </p:nvSpPr>
        <p:spPr bwMode="gray">
          <a:xfrm>
            <a:off x="7538167" y="2097735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/>
              <a:t>Authorization</a:t>
            </a:r>
          </a:p>
        </p:txBody>
      </p:sp>
      <p:cxnSp>
        <p:nvCxnSpPr>
          <p:cNvPr id="64" name="Elbow Connector 63"/>
          <p:cNvCxnSpPr>
            <a:stCxn id="20" idx="1"/>
            <a:endCxn id="22" idx="0"/>
          </p:cNvCxnSpPr>
          <p:nvPr/>
        </p:nvCxnSpPr>
        <p:spPr bwMode="gray">
          <a:xfrm rot="16200000" flipH="1">
            <a:off x="5955802" y="3017867"/>
            <a:ext cx="393143" cy="4763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Elbow Connector 69"/>
          <p:cNvCxnSpPr>
            <a:stCxn id="22" idx="2"/>
            <a:endCxn id="27" idx="3"/>
          </p:cNvCxnSpPr>
          <p:nvPr/>
        </p:nvCxnSpPr>
        <p:spPr bwMode="gray">
          <a:xfrm rot="16200000" flipH="1">
            <a:off x="5934222" y="4366943"/>
            <a:ext cx="447416" cy="6350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63406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8" name="Elbow Connector 57"/>
          <p:cNvCxnSpPr>
            <a:endCxn id="17" idx="0"/>
          </p:cNvCxnSpPr>
          <p:nvPr/>
        </p:nvCxnSpPr>
        <p:spPr bwMode="gray">
          <a:xfrm rot="5400000">
            <a:off x="5894263" y="4319189"/>
            <a:ext cx="774455" cy="589434"/>
          </a:xfrm>
          <a:prstGeom prst="bentConnector2">
            <a:avLst/>
          </a:prstGeom>
          <a:ln w="762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/>
          <p:nvPr/>
        </p:nvCxnSpPr>
        <p:spPr bwMode="gray">
          <a:xfrm rot="16200000" flipH="1">
            <a:off x="5346136" y="4653881"/>
            <a:ext cx="900000" cy="0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4">
                <a:lumMod val="7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stablish</a:t>
            </a:r>
            <a:r>
              <a:rPr lang="de-DE" dirty="0" smtClean="0"/>
              <a:t> </a:t>
            </a:r>
            <a:r>
              <a:rPr lang="de-DE" dirty="0" err="1" smtClean="0"/>
              <a:t>relationship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</a:t>
            </a:r>
            <a:r>
              <a:rPr lang="de-DE" dirty="0" err="1" smtClean="0"/>
              <a:t>hotel</a:t>
            </a:r>
            <a:r>
              <a:rPr lang="de-DE" dirty="0" smtClean="0"/>
              <a:t> </a:t>
            </a:r>
            <a:r>
              <a:rPr lang="de-DE" dirty="0" err="1" smtClean="0"/>
              <a:t>merchant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financial</a:t>
            </a:r>
            <a:r>
              <a:rPr lang="de-DE" dirty="0" smtClean="0"/>
              <a:t> </a:t>
            </a:r>
            <a:r>
              <a:rPr lang="de-DE" dirty="0" err="1" smtClean="0"/>
              <a:t>institutio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llow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ay-later</a:t>
            </a:r>
            <a:r>
              <a:rPr lang="de-DE" dirty="0" smtClean="0"/>
              <a:t> </a:t>
            </a:r>
            <a:r>
              <a:rPr lang="de-DE" dirty="0" err="1" smtClean="0"/>
              <a:t>capability</a:t>
            </a:r>
            <a:endParaRPr lang="en-US" dirty="0"/>
          </a:p>
        </p:txBody>
      </p:sp>
      <p:sp>
        <p:nvSpPr>
          <p:cNvPr id="9" name="Snip Single Corner Rectangle 8"/>
          <p:cNvSpPr/>
          <p:nvPr/>
        </p:nvSpPr>
        <p:spPr bwMode="gray">
          <a:xfrm>
            <a:off x="867075" y="3448864"/>
            <a:ext cx="1224136" cy="733580"/>
          </a:xfrm>
          <a:prstGeom prst="snip1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/>
              <a:t>Request Merchant agreement</a:t>
            </a:r>
          </a:p>
        </p:txBody>
      </p:sp>
      <p:sp>
        <p:nvSpPr>
          <p:cNvPr id="11" name="Flowchart: Internal Storage 10"/>
          <p:cNvSpPr/>
          <p:nvPr/>
        </p:nvSpPr>
        <p:spPr bwMode="gray">
          <a:xfrm>
            <a:off x="2191844" y="1560689"/>
            <a:ext cx="1293101" cy="746743"/>
          </a:xfrm>
          <a:prstGeom prst="flowChartInternalStorag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100" dirty="0"/>
              <a:t>Indice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100" dirty="0"/>
              <a:t>Register</a:t>
            </a:r>
            <a:endParaRPr lang="en-US" sz="1100" dirty="0" err="1"/>
          </a:p>
        </p:txBody>
      </p:sp>
      <p:sp>
        <p:nvSpPr>
          <p:cNvPr id="12" name="Snip Single Corner Rectangle 11"/>
          <p:cNvSpPr/>
          <p:nvPr/>
        </p:nvSpPr>
        <p:spPr bwMode="gray">
          <a:xfrm>
            <a:off x="2441378" y="3448467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/>
              <a:t>Request Merchant data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683568" y="3210106"/>
            <a:ext cx="1577676" cy="2954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100" b="1" dirty="0" smtClean="0"/>
              <a:t>Act: </a:t>
            </a:r>
            <a:r>
              <a:rPr lang="de-DE" sz="1100" b="1" dirty="0" smtClean="0"/>
              <a:t>Hotel </a:t>
            </a:r>
            <a:r>
              <a:rPr lang="de-DE" sz="1100" b="1" dirty="0" err="1" smtClean="0"/>
              <a:t>merchant</a:t>
            </a:r>
            <a:endParaRPr lang="en-US" sz="1100" b="1" dirty="0" err="1" smtClean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2249447" y="3210106"/>
            <a:ext cx="1489510" cy="2954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100" b="1" dirty="0" smtClean="0"/>
              <a:t>Act: </a:t>
            </a:r>
            <a:r>
              <a:rPr lang="de-DE" sz="1100" b="1" dirty="0" smtClean="0"/>
              <a:t>Financial </a:t>
            </a:r>
            <a:r>
              <a:rPr lang="de-DE" sz="1100" b="1" dirty="0" err="1"/>
              <a:t>Inst</a:t>
            </a:r>
            <a:r>
              <a:rPr lang="de-DE" sz="1100" b="1" dirty="0" smtClean="0"/>
              <a:t>.</a:t>
            </a:r>
          </a:p>
        </p:txBody>
      </p:sp>
      <p:sp>
        <p:nvSpPr>
          <p:cNvPr id="17" name="Cloud 16"/>
          <p:cNvSpPr/>
          <p:nvPr/>
        </p:nvSpPr>
        <p:spPr bwMode="gray">
          <a:xfrm>
            <a:off x="4810491" y="4691923"/>
            <a:ext cx="1177263" cy="618421"/>
          </a:xfrm>
          <a:prstGeom prst="cloud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100" dirty="0" smtClean="0"/>
              <a:t>SWARM</a:t>
            </a:r>
          </a:p>
        </p:txBody>
      </p:sp>
      <p:sp>
        <p:nvSpPr>
          <p:cNvPr id="19" name="Snip Single Corner Rectangle 18"/>
          <p:cNvSpPr/>
          <p:nvPr/>
        </p:nvSpPr>
        <p:spPr bwMode="gray">
          <a:xfrm>
            <a:off x="4015681" y="3448467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/>
              <a:t>Enable data access</a:t>
            </a:r>
          </a:p>
        </p:txBody>
      </p:sp>
      <p:sp>
        <p:nvSpPr>
          <p:cNvPr id="20" name="Snip Single Corner Rectangle 19"/>
          <p:cNvSpPr/>
          <p:nvPr/>
        </p:nvSpPr>
        <p:spPr bwMode="gray">
          <a:xfrm>
            <a:off x="5589984" y="3470301"/>
            <a:ext cx="1224136" cy="733580"/>
          </a:xfrm>
          <a:prstGeom prst="snip1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/>
              <a:t>Propose terms</a:t>
            </a:r>
          </a:p>
        </p:txBody>
      </p:sp>
      <p:sp>
        <p:nvSpPr>
          <p:cNvPr id="21" name="TextBox 20"/>
          <p:cNvSpPr txBox="1"/>
          <p:nvPr/>
        </p:nvSpPr>
        <p:spPr bwMode="gray">
          <a:xfrm>
            <a:off x="5406122" y="3210106"/>
            <a:ext cx="1489510" cy="2954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100" b="1" dirty="0" smtClean="0"/>
              <a:t>Act: </a:t>
            </a:r>
            <a:r>
              <a:rPr lang="de-DE" sz="1100" b="1" dirty="0" smtClean="0"/>
              <a:t>Financial </a:t>
            </a:r>
            <a:r>
              <a:rPr lang="de-DE" sz="1100" b="1" dirty="0" err="1"/>
              <a:t>Inst</a:t>
            </a:r>
            <a:r>
              <a:rPr lang="de-DE" sz="1100" b="1" dirty="0" smtClean="0"/>
              <a:t>.</a:t>
            </a:r>
          </a:p>
        </p:txBody>
      </p:sp>
      <p:sp>
        <p:nvSpPr>
          <p:cNvPr id="22" name="TextBox 21"/>
          <p:cNvSpPr txBox="1"/>
          <p:nvPr/>
        </p:nvSpPr>
        <p:spPr bwMode="gray">
          <a:xfrm>
            <a:off x="3779912" y="3210106"/>
            <a:ext cx="1577676" cy="2954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100" b="1" dirty="0" smtClean="0"/>
              <a:t>Act: </a:t>
            </a:r>
            <a:r>
              <a:rPr lang="de-DE" sz="1100" b="1" dirty="0" smtClean="0"/>
              <a:t>Hotel </a:t>
            </a:r>
            <a:r>
              <a:rPr lang="de-DE" sz="1100" b="1" dirty="0" err="1" smtClean="0"/>
              <a:t>merchant</a:t>
            </a:r>
            <a:endParaRPr lang="en-US" sz="1100" b="1" dirty="0" err="1" smtClean="0"/>
          </a:p>
        </p:txBody>
      </p:sp>
      <p:sp>
        <p:nvSpPr>
          <p:cNvPr id="44" name="Snip Single Corner Rectangle 43"/>
          <p:cNvSpPr/>
          <p:nvPr/>
        </p:nvSpPr>
        <p:spPr bwMode="gray">
          <a:xfrm>
            <a:off x="7164287" y="3470301"/>
            <a:ext cx="1224136" cy="733580"/>
          </a:xfrm>
          <a:prstGeom prst="snip1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/>
              <a:t>Sign agreement</a:t>
            </a:r>
          </a:p>
        </p:txBody>
      </p:sp>
      <p:sp>
        <p:nvSpPr>
          <p:cNvPr id="45" name="TextBox 44"/>
          <p:cNvSpPr txBox="1"/>
          <p:nvPr/>
        </p:nvSpPr>
        <p:spPr bwMode="gray">
          <a:xfrm>
            <a:off x="6980781" y="3228765"/>
            <a:ext cx="1577676" cy="2954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100" b="1" dirty="0" smtClean="0"/>
              <a:t>Act: </a:t>
            </a:r>
            <a:r>
              <a:rPr lang="de-DE" sz="1100" b="1" dirty="0" smtClean="0"/>
              <a:t>Hotel </a:t>
            </a:r>
            <a:r>
              <a:rPr lang="de-DE" sz="1100" b="1" dirty="0" err="1" smtClean="0"/>
              <a:t>merchant</a:t>
            </a:r>
            <a:endParaRPr lang="en-US" sz="1100" b="1" dirty="0" err="1" smtClean="0"/>
          </a:p>
        </p:txBody>
      </p:sp>
      <p:grpSp>
        <p:nvGrpSpPr>
          <p:cNvPr id="69" name="Group 68"/>
          <p:cNvGrpSpPr/>
          <p:nvPr/>
        </p:nvGrpSpPr>
        <p:grpSpPr>
          <a:xfrm>
            <a:off x="552564" y="2857500"/>
            <a:ext cx="8051884" cy="1627960"/>
            <a:chOff x="336541" y="3202240"/>
            <a:chExt cx="8051884" cy="1627960"/>
          </a:xfrm>
        </p:grpSpPr>
        <p:sp>
          <p:nvSpPr>
            <p:cNvPr id="49" name="Rectangle 48"/>
            <p:cNvSpPr/>
            <p:nvPr/>
          </p:nvSpPr>
          <p:spPr bwMode="gray">
            <a:xfrm>
              <a:off x="442405" y="3505572"/>
              <a:ext cx="7946020" cy="1324628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 err="1" smtClean="0"/>
            </a:p>
          </p:txBody>
        </p:sp>
        <p:sp>
          <p:nvSpPr>
            <p:cNvPr id="50" name="TextBox 49"/>
            <p:cNvSpPr txBox="1"/>
            <p:nvPr/>
          </p:nvSpPr>
          <p:spPr bwMode="gray">
            <a:xfrm>
              <a:off x="336541" y="3202240"/>
              <a:ext cx="2824812" cy="2954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 err="1" smtClean="0"/>
                <a:t>Merchant</a:t>
              </a:r>
              <a:r>
                <a:rPr lang="de-DE" sz="1100" dirty="0" smtClean="0"/>
                <a:t> </a:t>
              </a:r>
              <a:r>
                <a:rPr lang="de-DE" sz="1100" dirty="0" err="1" smtClean="0"/>
                <a:t>agreement</a:t>
              </a:r>
              <a:r>
                <a:rPr lang="de-DE" sz="1100" dirty="0" smtClean="0"/>
                <a:t> smart </a:t>
              </a:r>
              <a:r>
                <a:rPr lang="de-DE" sz="1100" dirty="0" err="1" smtClean="0"/>
                <a:t>contract</a:t>
              </a:r>
              <a:r>
                <a:rPr lang="de-DE" sz="1100" dirty="0" smtClean="0"/>
                <a:t> </a:t>
              </a:r>
              <a:r>
                <a:rPr lang="de-DE" sz="1100" dirty="0" err="1" smtClean="0"/>
                <a:t>states</a:t>
              </a:r>
              <a:endParaRPr lang="en-US" sz="1100" dirty="0" err="1" smtClean="0"/>
            </a:p>
          </p:txBody>
        </p:sp>
      </p:grpSp>
      <p:cxnSp>
        <p:nvCxnSpPr>
          <p:cNvPr id="55" name="Elbow Connector 54"/>
          <p:cNvCxnSpPr>
            <a:stCxn id="9" idx="1"/>
            <a:endCxn id="17" idx="2"/>
          </p:cNvCxnSpPr>
          <p:nvPr/>
        </p:nvCxnSpPr>
        <p:spPr bwMode="gray">
          <a:xfrm rot="16200000" flipH="1">
            <a:off x="2737298" y="2924289"/>
            <a:ext cx="818690" cy="3335000"/>
          </a:xfrm>
          <a:prstGeom prst="bentConnector2">
            <a:avLst/>
          </a:prstGeom>
          <a:ln w="762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Elbow Connector 62"/>
          <p:cNvCxnSpPr>
            <a:endCxn id="44" idx="1"/>
          </p:cNvCxnSpPr>
          <p:nvPr/>
        </p:nvCxnSpPr>
        <p:spPr bwMode="gray">
          <a:xfrm flipV="1">
            <a:off x="5856828" y="4203881"/>
            <a:ext cx="1919527" cy="973176"/>
          </a:xfrm>
          <a:prstGeom prst="bentConnector2">
            <a:avLst/>
          </a:prstGeom>
          <a:ln w="76200"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Elbow Connector 65"/>
          <p:cNvCxnSpPr/>
          <p:nvPr/>
        </p:nvCxnSpPr>
        <p:spPr bwMode="gray">
          <a:xfrm rot="16200000" flipH="1">
            <a:off x="5720745" y="4511308"/>
            <a:ext cx="554734" cy="1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loud 66"/>
          <p:cNvSpPr/>
          <p:nvPr/>
        </p:nvSpPr>
        <p:spPr bwMode="gray">
          <a:xfrm>
            <a:off x="651052" y="1201316"/>
            <a:ext cx="7737372" cy="1640884"/>
          </a:xfrm>
          <a:prstGeom prst="cloud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err="1" smtClean="0"/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2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35382" y="1612157"/>
            <a:ext cx="646741" cy="640338"/>
          </a:xfrm>
          <a:prstGeom prst="rect">
            <a:avLst/>
          </a:prstGeom>
        </p:spPr>
      </p:pic>
      <p:grpSp>
        <p:nvGrpSpPr>
          <p:cNvPr id="85" name="Group 84"/>
          <p:cNvGrpSpPr/>
          <p:nvPr/>
        </p:nvGrpSpPr>
        <p:grpSpPr>
          <a:xfrm>
            <a:off x="7811989" y="69455"/>
            <a:ext cx="1224507" cy="1298361"/>
            <a:chOff x="7811989" y="69455"/>
            <a:chExt cx="1224507" cy="1298361"/>
          </a:xfrm>
        </p:grpSpPr>
        <p:cxnSp>
          <p:nvCxnSpPr>
            <p:cNvPr id="70" name="Elbow Connector 69"/>
            <p:cNvCxnSpPr/>
            <p:nvPr/>
          </p:nvCxnSpPr>
          <p:spPr bwMode="gray">
            <a:xfrm>
              <a:off x="8724303" y="221445"/>
              <a:ext cx="312193" cy="7947"/>
            </a:xfrm>
            <a:prstGeom prst="bentConnector3">
              <a:avLst>
                <a:gd name="adj1" fmla="val 50000"/>
              </a:avLst>
            </a:prstGeom>
            <a:ln w="76200">
              <a:solidFill>
                <a:schemeClr val="accent6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Elbow Connector 72"/>
            <p:cNvCxnSpPr/>
            <p:nvPr/>
          </p:nvCxnSpPr>
          <p:spPr bwMode="gray">
            <a:xfrm>
              <a:off x="8724303" y="475308"/>
              <a:ext cx="312193" cy="7947"/>
            </a:xfrm>
            <a:prstGeom prst="bentConnector3">
              <a:avLst>
                <a:gd name="adj1" fmla="val 50000"/>
              </a:avLst>
            </a:prstGeom>
            <a:ln w="76200">
              <a:solidFill>
                <a:schemeClr val="accent5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Elbow Connector 73"/>
            <p:cNvCxnSpPr/>
            <p:nvPr/>
          </p:nvCxnSpPr>
          <p:spPr bwMode="gray">
            <a:xfrm>
              <a:off x="8724303" y="733144"/>
              <a:ext cx="312193" cy="7947"/>
            </a:xfrm>
            <a:prstGeom prst="bentConnector3">
              <a:avLst>
                <a:gd name="adj1" fmla="val 50000"/>
              </a:avLst>
            </a:prstGeom>
            <a:ln w="76200">
              <a:solidFill>
                <a:schemeClr val="accent4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tangle 74"/>
            <p:cNvSpPr/>
            <p:nvPr/>
          </p:nvSpPr>
          <p:spPr bwMode="gray">
            <a:xfrm>
              <a:off x="8724303" y="906642"/>
              <a:ext cx="312193" cy="201305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76" name="Rectangle 75"/>
            <p:cNvSpPr/>
            <p:nvPr/>
          </p:nvSpPr>
          <p:spPr bwMode="gray">
            <a:xfrm>
              <a:off x="8724303" y="1158902"/>
              <a:ext cx="312193" cy="20130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sp>
          <p:nvSpPr>
            <p:cNvPr id="80" name="TextBox 79"/>
            <p:cNvSpPr txBox="1"/>
            <p:nvPr/>
          </p:nvSpPr>
          <p:spPr bwMode="gray">
            <a:xfrm>
              <a:off x="7983222" y="69455"/>
              <a:ext cx="766555" cy="2600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1000" dirty="0" smtClean="0"/>
                <a:t>Write </a:t>
              </a:r>
              <a:r>
                <a:rPr lang="de-DE" sz="1000" dirty="0" err="1" smtClean="0"/>
                <a:t>data</a:t>
              </a:r>
              <a:endParaRPr lang="en-US" sz="1000" dirty="0" err="1" smtClean="0"/>
            </a:p>
          </p:txBody>
        </p:sp>
        <p:sp>
          <p:nvSpPr>
            <p:cNvPr id="81" name="TextBox 80"/>
            <p:cNvSpPr txBox="1"/>
            <p:nvPr/>
          </p:nvSpPr>
          <p:spPr bwMode="gray">
            <a:xfrm>
              <a:off x="7811989" y="325187"/>
              <a:ext cx="936475" cy="2600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1000" dirty="0" smtClean="0"/>
                <a:t>Grant </a:t>
              </a:r>
              <a:r>
                <a:rPr lang="de-DE" sz="1000" dirty="0" err="1" smtClean="0"/>
                <a:t>access</a:t>
              </a:r>
              <a:endParaRPr lang="en-US" sz="1000" dirty="0" err="1" smtClean="0"/>
            </a:p>
          </p:txBody>
        </p:sp>
        <p:sp>
          <p:nvSpPr>
            <p:cNvPr id="82" name="TextBox 81"/>
            <p:cNvSpPr txBox="1"/>
            <p:nvPr/>
          </p:nvSpPr>
          <p:spPr bwMode="gray">
            <a:xfrm>
              <a:off x="7989868" y="580136"/>
              <a:ext cx="77136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1000" dirty="0" smtClean="0"/>
                <a:t>Read </a:t>
              </a:r>
              <a:r>
                <a:rPr lang="de-DE" sz="1000" dirty="0" err="1" smtClean="0"/>
                <a:t>data</a:t>
              </a:r>
              <a:endParaRPr lang="en-US" sz="1000" dirty="0" err="1" smtClean="0"/>
            </a:p>
          </p:txBody>
        </p:sp>
        <p:sp>
          <p:nvSpPr>
            <p:cNvPr id="83" name="TextBox 82"/>
            <p:cNvSpPr txBox="1"/>
            <p:nvPr/>
          </p:nvSpPr>
          <p:spPr bwMode="gray">
            <a:xfrm>
              <a:off x="8082897" y="860453"/>
              <a:ext cx="665567" cy="2600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1000" dirty="0" smtClean="0"/>
                <a:t>In </a:t>
              </a:r>
              <a:r>
                <a:rPr lang="de-DE" sz="1000" dirty="0" err="1" smtClean="0"/>
                <a:t>scope</a:t>
              </a:r>
              <a:endParaRPr lang="en-US" sz="1000" dirty="0" err="1" smtClean="0"/>
            </a:p>
          </p:txBody>
        </p:sp>
        <p:sp>
          <p:nvSpPr>
            <p:cNvPr id="84" name="TextBox 83"/>
            <p:cNvSpPr txBox="1"/>
            <p:nvPr/>
          </p:nvSpPr>
          <p:spPr bwMode="gray">
            <a:xfrm>
              <a:off x="7842447" y="1090817"/>
              <a:ext cx="90601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e-DE" sz="1000" dirty="0" smtClean="0"/>
                <a:t>Out </a:t>
              </a:r>
              <a:r>
                <a:rPr lang="de-DE" sz="1000" dirty="0" err="1" smtClean="0"/>
                <a:t>of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scope</a:t>
              </a:r>
              <a:endParaRPr lang="en-US" sz="1000" dirty="0" err="1" smtClean="0"/>
            </a:p>
          </p:txBody>
        </p:sp>
      </p:grpSp>
      <p:sp>
        <p:nvSpPr>
          <p:cNvPr id="10" name="Flowchart: Multidocument 9"/>
          <p:cNvSpPr/>
          <p:nvPr/>
        </p:nvSpPr>
        <p:spPr bwMode="gray">
          <a:xfrm>
            <a:off x="6137713" y="1580134"/>
            <a:ext cx="1283327" cy="714642"/>
          </a:xfrm>
          <a:prstGeom prst="flowChartMultidocumen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smtClean="0"/>
              <a:t>Indices</a:t>
            </a:r>
            <a:endParaRPr lang="en-US" sz="1100" dirty="0" err="1" smtClean="0"/>
          </a:p>
        </p:txBody>
      </p:sp>
      <p:cxnSp>
        <p:nvCxnSpPr>
          <p:cNvPr id="86" name="Elbow Connector 85"/>
          <p:cNvCxnSpPr/>
          <p:nvPr/>
        </p:nvCxnSpPr>
        <p:spPr bwMode="gray">
          <a:xfrm rot="16200000" flipH="1">
            <a:off x="4727926" y="4469324"/>
            <a:ext cx="554734" cy="1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lowchart: Document 88"/>
          <p:cNvSpPr/>
          <p:nvPr/>
        </p:nvSpPr>
        <p:spPr bwMode="gray">
          <a:xfrm>
            <a:off x="6137712" y="1580134"/>
            <a:ext cx="1283327" cy="729765"/>
          </a:xfrm>
          <a:prstGeom prst="flowChartDocumen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err="1" smtClean="0"/>
              <a:t>Merchant</a:t>
            </a:r>
            <a:r>
              <a:rPr lang="de-DE" sz="1100" dirty="0" smtClean="0"/>
              <a:t> Agreement Index</a:t>
            </a:r>
            <a:endParaRPr lang="en-US" sz="1100" dirty="0" err="1" smtClean="0"/>
          </a:p>
        </p:txBody>
      </p:sp>
      <p:cxnSp>
        <p:nvCxnSpPr>
          <p:cNvPr id="90" name="Elbow Connector 89"/>
          <p:cNvCxnSpPr>
            <a:stCxn id="12" idx="1"/>
          </p:cNvCxnSpPr>
          <p:nvPr/>
        </p:nvCxnSpPr>
        <p:spPr bwMode="gray">
          <a:xfrm rot="16200000" flipH="1">
            <a:off x="3630480" y="3605012"/>
            <a:ext cx="606629" cy="1760697"/>
          </a:xfrm>
          <a:prstGeom prst="bentConnector2">
            <a:avLst/>
          </a:prstGeom>
          <a:ln w="762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709476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animBg="1"/>
      <p:bldP spid="13" grpId="0"/>
      <p:bldP spid="14" grpId="0"/>
      <p:bldP spid="17" grpId="0" animBg="1"/>
      <p:bldP spid="19" grpId="0" animBg="1"/>
      <p:bldP spid="20" grpId="0" animBg="1"/>
      <p:bldP spid="21" grpId="0"/>
      <p:bldP spid="22" grpId="0"/>
      <p:bldP spid="44" grpId="0" animBg="1"/>
      <p:bldP spid="45" grpId="0"/>
      <p:bldP spid="10" grpId="0" animBg="1"/>
      <p:bldP spid="8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nip Single Corner Rectangle 27"/>
          <p:cNvSpPr/>
          <p:nvPr/>
        </p:nvSpPr>
        <p:spPr bwMode="gray">
          <a:xfrm>
            <a:off x="2410429" y="3411469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/>
              <a:t>FI SC</a:t>
            </a:r>
          </a:p>
        </p:txBody>
      </p:sp>
      <p:sp>
        <p:nvSpPr>
          <p:cNvPr id="29" name="Snip Single Corner Rectangle 28"/>
          <p:cNvSpPr/>
          <p:nvPr/>
        </p:nvSpPr>
        <p:spPr bwMode="gray">
          <a:xfrm>
            <a:off x="4125350" y="3449111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/>
              <a:t>FI SC</a:t>
            </a:r>
          </a:p>
        </p:txBody>
      </p:sp>
      <p:sp>
        <p:nvSpPr>
          <p:cNvPr id="30" name="Snip Single Corner Rectangle 29"/>
          <p:cNvSpPr/>
          <p:nvPr/>
        </p:nvSpPr>
        <p:spPr bwMode="gray">
          <a:xfrm>
            <a:off x="5936243" y="3467111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/>
              <a:t>FI SC</a:t>
            </a:r>
          </a:p>
        </p:txBody>
      </p:sp>
      <p:sp>
        <p:nvSpPr>
          <p:cNvPr id="27" name="Snip Single Corner Rectangle 26"/>
          <p:cNvSpPr/>
          <p:nvPr/>
        </p:nvSpPr>
        <p:spPr bwMode="gray">
          <a:xfrm>
            <a:off x="2306155" y="3490075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/>
              <a:t>FI SC</a:t>
            </a:r>
          </a:p>
        </p:txBody>
      </p:sp>
      <p:sp>
        <p:nvSpPr>
          <p:cNvPr id="26" name="Snip Single Corner Rectangle 25"/>
          <p:cNvSpPr/>
          <p:nvPr/>
        </p:nvSpPr>
        <p:spPr bwMode="gray">
          <a:xfrm>
            <a:off x="4021076" y="3527717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/>
              <a:t>FI SC</a:t>
            </a:r>
          </a:p>
        </p:txBody>
      </p:sp>
      <p:sp>
        <p:nvSpPr>
          <p:cNvPr id="25" name="Snip Single Corner Rectangle 24"/>
          <p:cNvSpPr/>
          <p:nvPr/>
        </p:nvSpPr>
        <p:spPr bwMode="gray">
          <a:xfrm>
            <a:off x="5831969" y="3545717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/>
              <a:t>FI S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gister </a:t>
            </a:r>
            <a:r>
              <a:rPr lang="de-DE" dirty="0" smtClean="0">
                <a:sym typeface="Wingdings" panose="05000000000000000000" pitchFamily="2" charset="2"/>
              </a:rPr>
              <a:t> Indices  Smart </a:t>
            </a:r>
            <a:r>
              <a:rPr lang="de-DE" dirty="0" err="1" smtClean="0">
                <a:sym typeface="Wingdings" panose="05000000000000000000" pitchFamily="2" charset="2"/>
              </a:rPr>
              <a:t>Contracts</a:t>
            </a:r>
            <a:endParaRPr lang="en-US" dirty="0"/>
          </a:p>
        </p:txBody>
      </p:sp>
      <p:sp>
        <p:nvSpPr>
          <p:cNvPr id="6" name="Flowchart: Internal Storage 5"/>
          <p:cNvSpPr/>
          <p:nvPr/>
        </p:nvSpPr>
        <p:spPr bwMode="gray">
          <a:xfrm>
            <a:off x="467544" y="1526161"/>
            <a:ext cx="1293101" cy="746743"/>
          </a:xfrm>
          <a:prstGeom prst="flowChartInternalStorag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100" dirty="0" smtClean="0"/>
              <a:t>Indices</a:t>
            </a:r>
          </a:p>
          <a:p>
            <a:r>
              <a:rPr lang="de-DE" sz="1100" dirty="0" smtClean="0"/>
              <a:t>Register</a:t>
            </a:r>
            <a:endParaRPr lang="en-US" sz="1100" dirty="0" err="1" smtClean="0"/>
          </a:p>
        </p:txBody>
      </p:sp>
      <p:sp>
        <p:nvSpPr>
          <p:cNvPr id="7" name="Flowchart: Document 6"/>
          <p:cNvSpPr/>
          <p:nvPr/>
        </p:nvSpPr>
        <p:spPr bwMode="gray">
          <a:xfrm>
            <a:off x="2180589" y="1509060"/>
            <a:ext cx="1283327" cy="729765"/>
          </a:xfrm>
          <a:prstGeom prst="flowChartDocumen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err="1" smtClean="0"/>
              <a:t>Merchant</a:t>
            </a:r>
            <a:r>
              <a:rPr lang="de-DE" sz="1100" dirty="0" smtClean="0"/>
              <a:t> Agreement Index</a:t>
            </a:r>
            <a:endParaRPr lang="en-US" sz="1100" dirty="0" err="1" smtClean="0"/>
          </a:p>
        </p:txBody>
      </p:sp>
      <p:sp>
        <p:nvSpPr>
          <p:cNvPr id="10" name="Flowchart: Document 9"/>
          <p:cNvSpPr/>
          <p:nvPr/>
        </p:nvSpPr>
        <p:spPr bwMode="gray">
          <a:xfrm>
            <a:off x="3930527" y="1509059"/>
            <a:ext cx="1283327" cy="729765"/>
          </a:xfrm>
          <a:prstGeom prst="flowChartDocumen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err="1" smtClean="0"/>
              <a:t>Merchant</a:t>
            </a:r>
            <a:r>
              <a:rPr lang="de-DE" sz="1100" dirty="0" smtClean="0"/>
              <a:t> Index</a:t>
            </a:r>
            <a:endParaRPr lang="en-US" sz="1100" dirty="0" err="1" smtClean="0"/>
          </a:p>
        </p:txBody>
      </p:sp>
      <p:sp>
        <p:nvSpPr>
          <p:cNvPr id="11" name="Flowchart: Document 10"/>
          <p:cNvSpPr/>
          <p:nvPr/>
        </p:nvSpPr>
        <p:spPr bwMode="gray">
          <a:xfrm>
            <a:off x="5664937" y="1489348"/>
            <a:ext cx="1283327" cy="729765"/>
          </a:xfrm>
          <a:prstGeom prst="flowChartDocumen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smtClean="0"/>
              <a:t>FI Index</a:t>
            </a:r>
            <a:endParaRPr lang="en-US" sz="1100" dirty="0" err="1" smtClean="0"/>
          </a:p>
        </p:txBody>
      </p:sp>
      <p:sp>
        <p:nvSpPr>
          <p:cNvPr id="12" name="TextBox 11"/>
          <p:cNvSpPr txBox="1"/>
          <p:nvPr/>
        </p:nvSpPr>
        <p:spPr bwMode="gray">
          <a:xfrm>
            <a:off x="387421" y="2278152"/>
            <a:ext cx="1439818" cy="13203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+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Merchant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 Index</a:t>
            </a:r>
          </a:p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+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Merchant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Agr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 Index</a:t>
            </a:r>
          </a:p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+FI Index</a:t>
            </a:r>
          </a:p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+WT Index (Hotel)</a:t>
            </a:r>
          </a:p>
          <a:p>
            <a:pPr algn="l"/>
            <a:r>
              <a:rPr lang="de-DE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+ ? Index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2102343" y="2289010"/>
            <a:ext cx="1604927" cy="5447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+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Merchant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Agr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SC.addr</a:t>
            </a:r>
            <a:endParaRPr lang="de-DE" sz="105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algn="l"/>
            <a:r>
              <a:rPr lang="de-DE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+…</a:t>
            </a:r>
          </a:p>
        </p:txBody>
      </p:sp>
      <p:sp>
        <p:nvSpPr>
          <p:cNvPr id="14" name="TextBox 13"/>
          <p:cNvSpPr txBox="1"/>
          <p:nvPr/>
        </p:nvSpPr>
        <p:spPr bwMode="gray">
          <a:xfrm>
            <a:off x="3788161" y="2301314"/>
            <a:ext cx="1358064" cy="5447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+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Merchant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SC.addr</a:t>
            </a:r>
            <a:endParaRPr lang="de-DE" sz="105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algn="l"/>
            <a:r>
              <a:rPr lang="de-DE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+…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5522571" y="2303928"/>
            <a:ext cx="914033" cy="5447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+FI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SC.addr</a:t>
            </a:r>
            <a:endParaRPr lang="de-DE" sz="105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algn="l"/>
            <a:r>
              <a:rPr lang="de-DE" sz="105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+…</a:t>
            </a:r>
          </a:p>
        </p:txBody>
      </p:sp>
      <p:sp>
        <p:nvSpPr>
          <p:cNvPr id="16" name="Flowchart: Document 15"/>
          <p:cNvSpPr/>
          <p:nvPr/>
        </p:nvSpPr>
        <p:spPr bwMode="gray">
          <a:xfrm>
            <a:off x="7399347" y="1484536"/>
            <a:ext cx="1283327" cy="729765"/>
          </a:xfrm>
          <a:prstGeom prst="flowChartDocumen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?</a:t>
            </a:r>
            <a:endParaRPr lang="en-US" sz="3600" dirty="0" err="1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Snip Single Corner Rectangle 16"/>
          <p:cNvSpPr/>
          <p:nvPr/>
        </p:nvSpPr>
        <p:spPr bwMode="gray">
          <a:xfrm>
            <a:off x="2210184" y="3577580"/>
            <a:ext cx="1224136" cy="733580"/>
          </a:xfrm>
          <a:prstGeom prst="snip1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/>
              <a:t>Merchant Agreement SC</a:t>
            </a:r>
          </a:p>
        </p:txBody>
      </p:sp>
      <p:sp>
        <p:nvSpPr>
          <p:cNvPr id="18" name="TextBox 17"/>
          <p:cNvSpPr txBox="1"/>
          <p:nvPr/>
        </p:nvSpPr>
        <p:spPr bwMode="gray">
          <a:xfrm>
            <a:off x="2102343" y="4297660"/>
            <a:ext cx="1358064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+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Merchant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SC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addr</a:t>
            </a:r>
            <a:endParaRPr lang="de-DE" sz="105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algn="l"/>
            <a:r>
              <a:rPr lang="de-DE" sz="1050" dirty="0">
                <a:solidFill>
                  <a:schemeClr val="accent3">
                    <a:lumMod val="50000"/>
                  </a:schemeClr>
                </a:solidFill>
              </a:rPr>
              <a:t>+FI 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SC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addr</a:t>
            </a:r>
            <a:endParaRPr lang="de-DE" sz="105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algn="l"/>
            <a:r>
              <a:rPr lang="de-DE" sz="1050" dirty="0">
                <a:solidFill>
                  <a:schemeClr val="accent3">
                    <a:lumMod val="50000"/>
                  </a:schemeClr>
                </a:solidFill>
              </a:rPr>
              <a:t>Hotel </a:t>
            </a:r>
            <a:r>
              <a:rPr lang="de-DE" sz="1050" dirty="0" err="1">
                <a:solidFill>
                  <a:schemeClr val="accent3">
                    <a:lumMod val="50000"/>
                  </a:schemeClr>
                </a:solidFill>
              </a:rPr>
              <a:t>merchant</a:t>
            </a:r>
            <a:r>
              <a:rPr lang="de-DE" sz="105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fee</a:t>
            </a:r>
            <a:endParaRPr lang="de-DE" sz="1050" dirty="0">
              <a:solidFill>
                <a:schemeClr val="accent3">
                  <a:lumMod val="50000"/>
                </a:schemeClr>
              </a:solidFill>
            </a:endParaRPr>
          </a:p>
          <a:p>
            <a:pPr algn="l"/>
            <a:endParaRPr lang="de-DE" sz="105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9" name="Snip Single Corner Rectangle 18"/>
          <p:cNvSpPr/>
          <p:nvPr/>
        </p:nvSpPr>
        <p:spPr bwMode="gray">
          <a:xfrm>
            <a:off x="3930527" y="3598513"/>
            <a:ext cx="1224136" cy="733580"/>
          </a:xfrm>
          <a:prstGeom prst="snip1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/>
              <a:t>Merchant SC</a:t>
            </a:r>
          </a:p>
        </p:txBody>
      </p:sp>
      <p:sp>
        <p:nvSpPr>
          <p:cNvPr id="20" name="TextBox 19"/>
          <p:cNvSpPr txBox="1"/>
          <p:nvPr/>
        </p:nvSpPr>
        <p:spPr bwMode="gray">
          <a:xfrm>
            <a:off x="3822686" y="4318593"/>
            <a:ext cx="1643399" cy="8032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+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Merchant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W.addr</a:t>
            </a:r>
            <a:endParaRPr lang="de-DE" sz="105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+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Merchant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 Name</a:t>
            </a:r>
          </a:p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+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Merchant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registration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 #</a:t>
            </a:r>
            <a:endParaRPr lang="de-DE" sz="105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1" name="Snip Single Corner Rectangle 20"/>
          <p:cNvSpPr/>
          <p:nvPr/>
        </p:nvSpPr>
        <p:spPr bwMode="gray">
          <a:xfrm>
            <a:off x="5724128" y="3598513"/>
            <a:ext cx="1224136" cy="733580"/>
          </a:xfrm>
          <a:prstGeom prst="snip1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/>
              <a:t>FI SC</a:t>
            </a:r>
          </a:p>
        </p:txBody>
      </p:sp>
      <p:sp>
        <p:nvSpPr>
          <p:cNvPr id="22" name="TextBox 21"/>
          <p:cNvSpPr txBox="1"/>
          <p:nvPr/>
        </p:nvSpPr>
        <p:spPr bwMode="gray">
          <a:xfrm>
            <a:off x="5616287" y="4318593"/>
            <a:ext cx="1199367" cy="8032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+FI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W.addr</a:t>
            </a:r>
            <a:endParaRPr lang="de-DE" sz="105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+FI Name</a:t>
            </a:r>
          </a:p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+FI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registration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 #</a:t>
            </a:r>
            <a:endParaRPr lang="de-DE" sz="105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2072660" y="3209972"/>
            <a:ext cx="1685818" cy="201622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2" name="Up Arrow 31"/>
          <p:cNvSpPr/>
          <p:nvPr/>
        </p:nvSpPr>
        <p:spPr bwMode="gray">
          <a:xfrm>
            <a:off x="2822252" y="2846079"/>
            <a:ext cx="237580" cy="227445"/>
          </a:xfrm>
          <a:prstGeom prst="up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3" name="Up Arrow 32"/>
          <p:cNvSpPr/>
          <p:nvPr/>
        </p:nvSpPr>
        <p:spPr bwMode="gray">
          <a:xfrm>
            <a:off x="4453400" y="2894358"/>
            <a:ext cx="237580" cy="227445"/>
          </a:xfrm>
          <a:prstGeom prst="up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4" name="Up Arrow 33"/>
          <p:cNvSpPr/>
          <p:nvPr/>
        </p:nvSpPr>
        <p:spPr bwMode="gray">
          <a:xfrm>
            <a:off x="6187810" y="2887989"/>
            <a:ext cx="237580" cy="227445"/>
          </a:xfrm>
          <a:prstGeom prst="up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5" name="Up Arrow 34"/>
          <p:cNvSpPr/>
          <p:nvPr/>
        </p:nvSpPr>
        <p:spPr bwMode="gray">
          <a:xfrm rot="16200000">
            <a:off x="1819943" y="1735695"/>
            <a:ext cx="237580" cy="227445"/>
          </a:xfrm>
          <a:prstGeom prst="up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6" name="TextBox 35"/>
          <p:cNvSpPr txBox="1"/>
          <p:nvPr/>
        </p:nvSpPr>
        <p:spPr bwMode="gray">
          <a:xfrm>
            <a:off x="3401207" y="1317863"/>
            <a:ext cx="588623" cy="9979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5400" dirty="0" smtClean="0">
                <a:solidFill>
                  <a:schemeClr val="accent3">
                    <a:lumMod val="50000"/>
                  </a:schemeClr>
                </a:solidFill>
              </a:rPr>
              <a:t>+</a:t>
            </a:r>
            <a:endParaRPr lang="en-US" sz="5400" dirty="0" err="1" smtClean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 bwMode="gray">
          <a:xfrm>
            <a:off x="5146225" y="1295080"/>
            <a:ext cx="588623" cy="9979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5400" dirty="0" smtClean="0">
                <a:solidFill>
                  <a:schemeClr val="accent3">
                    <a:lumMod val="50000"/>
                  </a:schemeClr>
                </a:solidFill>
              </a:rPr>
              <a:t>+</a:t>
            </a:r>
            <a:endParaRPr lang="en-US" sz="5400" dirty="0" err="1" smtClean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" name="Textfeld 2"/>
          <p:cNvSpPr txBox="1"/>
          <p:nvPr/>
        </p:nvSpPr>
        <p:spPr bwMode="gray">
          <a:xfrm>
            <a:off x="7524328" y="139760"/>
            <a:ext cx="1521495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900" dirty="0" smtClean="0"/>
              <a:t>SC=Smart Contract</a:t>
            </a:r>
            <a:br>
              <a:rPr lang="de-DE" sz="900" dirty="0" smtClean="0"/>
            </a:br>
            <a:r>
              <a:rPr lang="de-DE" sz="900" dirty="0" smtClean="0"/>
              <a:t>FI= Financial Institution</a:t>
            </a:r>
            <a:endParaRPr lang="de-DE" sz="900" dirty="0" smtClean="0"/>
          </a:p>
        </p:txBody>
      </p:sp>
    </p:spTree>
    <p:extLst>
      <p:ext uri="{BB962C8B-B14F-4D97-AF65-F5344CB8AC3E}">
        <p14:creationId xmlns:p14="http://schemas.microsoft.com/office/powerpoint/2010/main" val="14542586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nip Single Corner Rectangle 5"/>
          <p:cNvSpPr/>
          <p:nvPr/>
        </p:nvSpPr>
        <p:spPr bwMode="gray">
          <a:xfrm>
            <a:off x="899592" y="1522640"/>
            <a:ext cx="1224136" cy="733580"/>
          </a:xfrm>
          <a:prstGeom prst="snip1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/>
              <a:t>Request Merchant agreement</a:t>
            </a:r>
          </a:p>
        </p:txBody>
      </p:sp>
      <p:sp>
        <p:nvSpPr>
          <p:cNvPr id="7" name="TextBox 6"/>
          <p:cNvSpPr txBox="1"/>
          <p:nvPr/>
        </p:nvSpPr>
        <p:spPr bwMode="gray">
          <a:xfrm>
            <a:off x="798397" y="2345937"/>
            <a:ext cx="1606530" cy="28715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+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Merchant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SC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addr</a:t>
            </a:r>
            <a:endParaRPr lang="de-DE" sz="105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algn="l"/>
            <a:r>
              <a:rPr lang="de-DE" sz="1050" dirty="0" smtClean="0"/>
              <a:t>+</a:t>
            </a:r>
            <a:r>
              <a:rPr lang="de-DE" sz="1050" dirty="0" err="1" smtClean="0"/>
              <a:t>Merchant</a:t>
            </a:r>
            <a:r>
              <a:rPr lang="de-DE" sz="1050" dirty="0" smtClean="0"/>
              <a:t> </a:t>
            </a:r>
            <a:r>
              <a:rPr lang="de-DE" sz="1050" dirty="0" err="1" smtClean="0"/>
              <a:t>pub.key</a:t>
            </a:r>
            <a:endParaRPr lang="de-DE" sz="1050" dirty="0" smtClean="0"/>
          </a:p>
          <a:p>
            <a:pPr algn="l"/>
            <a:r>
              <a:rPr lang="de-DE" sz="1050" dirty="0" smtClean="0"/>
              <a:t>~Payment type: CCR</a:t>
            </a:r>
          </a:p>
          <a:p>
            <a:pPr algn="l"/>
            <a:r>
              <a:rPr lang="de-DE" sz="1050" dirty="0">
                <a:solidFill>
                  <a:schemeClr val="accent3">
                    <a:lumMod val="50000"/>
                  </a:schemeClr>
                </a:solidFill>
              </a:rPr>
              <a:t>~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Contract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state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: REQ</a:t>
            </a:r>
          </a:p>
          <a:p>
            <a:pPr algn="l"/>
            <a:r>
              <a:rPr lang="de-DE" sz="1050" dirty="0" smtClean="0"/>
              <a:t>+SWARM </a:t>
            </a:r>
            <a:r>
              <a:rPr lang="de-DE" sz="1050" dirty="0" err="1" smtClean="0"/>
              <a:t>hash</a:t>
            </a:r>
            <a:r>
              <a:rPr lang="de-DE" sz="1050" dirty="0" smtClean="0"/>
              <a:t> X</a:t>
            </a:r>
          </a:p>
          <a:p>
            <a:pPr algn="l"/>
            <a:endParaRPr lang="de-DE" sz="1050" dirty="0" smtClean="0"/>
          </a:p>
          <a:p>
            <a:pPr algn="l"/>
            <a:r>
              <a:rPr lang="de-DE" sz="1050" dirty="0" smtClean="0"/>
              <a:t>In SWARM</a:t>
            </a:r>
          </a:p>
          <a:p>
            <a:pPr marL="171450" indent="-171450" algn="l">
              <a:buFontTx/>
              <a:buChar char="-"/>
            </a:pPr>
            <a:r>
              <a:rPr lang="de-DE" sz="1050" dirty="0" smtClean="0"/>
              <a:t>Company </a:t>
            </a:r>
            <a:r>
              <a:rPr lang="de-DE" sz="1050" dirty="0" err="1" smtClean="0"/>
              <a:t>profile</a:t>
            </a:r>
            <a:endParaRPr lang="de-DE" sz="1050" dirty="0" smtClean="0"/>
          </a:p>
          <a:p>
            <a:pPr marL="171450" indent="-171450" algn="l">
              <a:buFontTx/>
              <a:buChar char="-"/>
            </a:pPr>
            <a:r>
              <a:rPr lang="de-DE" sz="1050" dirty="0" err="1" smtClean="0"/>
              <a:t>Beneficial</a:t>
            </a:r>
            <a:r>
              <a:rPr lang="de-DE" sz="1050" dirty="0" smtClean="0"/>
              <a:t> </a:t>
            </a:r>
            <a:r>
              <a:rPr lang="de-DE" sz="1050" dirty="0" err="1" smtClean="0"/>
              <a:t>owner</a:t>
            </a:r>
            <a:endParaRPr lang="de-DE" sz="1050" dirty="0" smtClean="0"/>
          </a:p>
          <a:p>
            <a:pPr marL="171450" indent="-171450" algn="l">
              <a:buFontTx/>
              <a:buChar char="-"/>
            </a:pPr>
            <a:r>
              <a:rPr lang="de-DE" sz="1050" dirty="0" smtClean="0"/>
              <a:t>Bank </a:t>
            </a:r>
            <a:r>
              <a:rPr lang="de-DE" sz="1050" dirty="0" err="1" smtClean="0"/>
              <a:t>details</a:t>
            </a:r>
            <a:endParaRPr lang="de-DE" sz="1050" dirty="0" smtClean="0"/>
          </a:p>
          <a:p>
            <a:pPr marL="171450" indent="-171450" algn="l">
              <a:buFontTx/>
              <a:buChar char="-"/>
            </a:pPr>
            <a:r>
              <a:rPr lang="de-DE" sz="1050" dirty="0" smtClean="0"/>
              <a:t>Bus. Reg. </a:t>
            </a:r>
            <a:r>
              <a:rPr lang="de-DE" sz="1050" dirty="0" err="1" smtClean="0"/>
              <a:t>certificate</a:t>
            </a:r>
            <a:endParaRPr lang="en-US" sz="1050" dirty="0" err="1" smtClean="0"/>
          </a:p>
        </p:txBody>
      </p:sp>
      <p:sp>
        <p:nvSpPr>
          <p:cNvPr id="8" name="Snip Single Corner Rectangle 7"/>
          <p:cNvSpPr/>
          <p:nvPr/>
        </p:nvSpPr>
        <p:spPr bwMode="gray">
          <a:xfrm>
            <a:off x="2448404" y="1538912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/>
              <a:t>Request Merchant Data</a:t>
            </a:r>
          </a:p>
        </p:txBody>
      </p:sp>
      <p:sp>
        <p:nvSpPr>
          <p:cNvPr id="9" name="TextBox 8"/>
          <p:cNvSpPr txBox="1"/>
          <p:nvPr/>
        </p:nvSpPr>
        <p:spPr bwMode="gray">
          <a:xfrm>
            <a:off x="2347209" y="2362209"/>
            <a:ext cx="1563248" cy="28715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050" dirty="0" smtClean="0"/>
              <a:t>+FI </a:t>
            </a:r>
            <a:r>
              <a:rPr lang="de-DE" sz="1050" dirty="0" smtClean="0"/>
              <a:t>SC </a:t>
            </a:r>
            <a:r>
              <a:rPr lang="de-DE" sz="1050" dirty="0" err="1" smtClean="0"/>
              <a:t>addr</a:t>
            </a:r>
            <a:endParaRPr lang="de-DE" sz="1050" dirty="0" smtClean="0"/>
          </a:p>
          <a:p>
            <a:pPr algn="l"/>
            <a:r>
              <a:rPr lang="de-DE" sz="1050" dirty="0" smtClean="0"/>
              <a:t>+FI </a:t>
            </a:r>
            <a:r>
              <a:rPr lang="de-DE" sz="1050" dirty="0" err="1" smtClean="0"/>
              <a:t>pub.key</a:t>
            </a:r>
            <a:endParaRPr lang="de-DE" sz="1050" dirty="0" smtClean="0"/>
          </a:p>
          <a:p>
            <a:pPr algn="l"/>
            <a:r>
              <a:rPr lang="de-DE" sz="1050" dirty="0"/>
              <a:t>~</a:t>
            </a:r>
            <a:r>
              <a:rPr lang="de-DE" sz="1050" dirty="0" smtClean="0"/>
              <a:t>Contract </a:t>
            </a:r>
            <a:r>
              <a:rPr lang="de-DE" sz="1050" dirty="0" err="1" smtClean="0"/>
              <a:t>state</a:t>
            </a:r>
            <a:r>
              <a:rPr lang="de-DE" sz="1050" dirty="0" smtClean="0"/>
              <a:t>: SEL</a:t>
            </a:r>
          </a:p>
          <a:p>
            <a:pPr algn="l"/>
            <a:r>
              <a:rPr lang="de-DE" sz="1050" dirty="0" smtClean="0"/>
              <a:t>+SWARM </a:t>
            </a:r>
            <a:r>
              <a:rPr lang="de-DE" sz="1050" dirty="0" err="1" smtClean="0"/>
              <a:t>hash</a:t>
            </a:r>
            <a:r>
              <a:rPr lang="de-DE" sz="1050" dirty="0" smtClean="0"/>
              <a:t> Y</a:t>
            </a:r>
          </a:p>
          <a:p>
            <a:pPr algn="l"/>
            <a:endParaRPr lang="de-DE" sz="1050" dirty="0" smtClean="0"/>
          </a:p>
          <a:p>
            <a:pPr algn="l"/>
            <a:endParaRPr lang="de-DE" sz="1050" dirty="0" smtClean="0"/>
          </a:p>
          <a:p>
            <a:pPr algn="l"/>
            <a:r>
              <a:rPr lang="de-DE" sz="1050" dirty="0" smtClean="0"/>
              <a:t>In SWARM</a:t>
            </a:r>
          </a:p>
          <a:p>
            <a:pPr marL="171450" indent="-171450" algn="l">
              <a:buFontTx/>
              <a:buChar char="-"/>
            </a:pPr>
            <a:r>
              <a:rPr lang="de-DE" sz="1050" dirty="0" smtClean="0"/>
              <a:t>Company </a:t>
            </a:r>
            <a:r>
              <a:rPr lang="de-DE" sz="1050" dirty="0" err="1" smtClean="0"/>
              <a:t>profile</a:t>
            </a:r>
            <a:endParaRPr lang="de-DE" sz="1050" dirty="0" smtClean="0"/>
          </a:p>
          <a:p>
            <a:pPr marL="171450" indent="-171450" algn="l">
              <a:buFontTx/>
              <a:buChar char="-"/>
            </a:pPr>
            <a:r>
              <a:rPr lang="de-DE" sz="1050" dirty="0" smtClean="0"/>
              <a:t>Bank </a:t>
            </a:r>
            <a:r>
              <a:rPr lang="de-DE" sz="1050" dirty="0" err="1" smtClean="0"/>
              <a:t>details</a:t>
            </a:r>
            <a:endParaRPr lang="de-DE" sz="1050" dirty="0" smtClean="0"/>
          </a:p>
          <a:p>
            <a:pPr marL="171450" indent="-171450" algn="l">
              <a:buFontTx/>
              <a:buChar char="-"/>
            </a:pPr>
            <a:r>
              <a:rPr lang="de-DE" sz="1050" dirty="0" smtClean="0"/>
              <a:t>FI </a:t>
            </a:r>
            <a:r>
              <a:rPr lang="de-DE" sz="1050" dirty="0" err="1" smtClean="0"/>
              <a:t>License</a:t>
            </a:r>
            <a:r>
              <a:rPr lang="de-DE" sz="1050" dirty="0" smtClean="0"/>
              <a:t> ID</a:t>
            </a:r>
          </a:p>
          <a:p>
            <a:pPr marL="171450" indent="-171450" algn="l">
              <a:buFontTx/>
              <a:buChar char="-"/>
            </a:pPr>
            <a:r>
              <a:rPr lang="de-DE" sz="1050" dirty="0" smtClean="0"/>
              <a:t>Bus. Reg. </a:t>
            </a:r>
            <a:r>
              <a:rPr lang="de-DE" sz="1050" dirty="0" err="1" smtClean="0"/>
              <a:t>certificate</a:t>
            </a:r>
            <a:endParaRPr lang="en-US" sz="1050" dirty="0" err="1" smtClean="0"/>
          </a:p>
        </p:txBody>
      </p:sp>
      <p:sp>
        <p:nvSpPr>
          <p:cNvPr id="10" name="Snip Single Corner Rectangle 9"/>
          <p:cNvSpPr/>
          <p:nvPr/>
        </p:nvSpPr>
        <p:spPr bwMode="gray">
          <a:xfrm>
            <a:off x="4006468" y="1538912"/>
            <a:ext cx="1224136" cy="733580"/>
          </a:xfrm>
          <a:prstGeom prst="snip1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/>
              <a:t>Enable data access</a:t>
            </a:r>
          </a:p>
        </p:txBody>
      </p:sp>
      <p:sp>
        <p:nvSpPr>
          <p:cNvPr id="11" name="TextBox 10"/>
          <p:cNvSpPr txBox="1"/>
          <p:nvPr/>
        </p:nvSpPr>
        <p:spPr bwMode="gray">
          <a:xfrm>
            <a:off x="3905273" y="2362209"/>
            <a:ext cx="1460656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050" dirty="0"/>
              <a:t>~</a:t>
            </a:r>
            <a:r>
              <a:rPr lang="de-DE" sz="1050" dirty="0" smtClean="0"/>
              <a:t>Contract </a:t>
            </a:r>
            <a:r>
              <a:rPr lang="de-DE" sz="1050" dirty="0" err="1" smtClean="0"/>
              <a:t>state</a:t>
            </a:r>
            <a:r>
              <a:rPr lang="de-DE" sz="1050" dirty="0" smtClean="0"/>
              <a:t>: ACC</a:t>
            </a:r>
          </a:p>
        </p:txBody>
      </p:sp>
      <p:sp>
        <p:nvSpPr>
          <p:cNvPr id="12" name="Snip Single Corner Rectangle 11"/>
          <p:cNvSpPr/>
          <p:nvPr/>
        </p:nvSpPr>
        <p:spPr bwMode="gray">
          <a:xfrm>
            <a:off x="5564532" y="1522640"/>
            <a:ext cx="1224136" cy="733580"/>
          </a:xfrm>
          <a:prstGeom prst="snip1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/>
              <a:t>Propose terms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5463337" y="2345937"/>
            <a:ext cx="1497526" cy="23544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~Contract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state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:</a:t>
            </a:r>
          </a:p>
          <a:p>
            <a:pPr algn="l"/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Propose</a:t>
            </a:r>
            <a:endParaRPr lang="de-DE" sz="105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algn="l"/>
            <a:r>
              <a:rPr lang="de-DE" sz="1050" dirty="0" smtClean="0"/>
              <a:t>+SWARM </a:t>
            </a:r>
            <a:r>
              <a:rPr lang="de-DE" sz="1050" dirty="0" err="1" smtClean="0"/>
              <a:t>hash</a:t>
            </a:r>
            <a:r>
              <a:rPr lang="de-DE" sz="1050" dirty="0" smtClean="0"/>
              <a:t> Z</a:t>
            </a:r>
          </a:p>
          <a:p>
            <a:pPr algn="l"/>
            <a:endParaRPr lang="de-DE" sz="1050" dirty="0" smtClean="0"/>
          </a:p>
          <a:p>
            <a:pPr algn="l"/>
            <a:endParaRPr lang="de-DE" sz="1050" dirty="0" smtClean="0"/>
          </a:p>
          <a:p>
            <a:pPr algn="l"/>
            <a:endParaRPr lang="de-DE" sz="1050" dirty="0"/>
          </a:p>
          <a:p>
            <a:pPr algn="l"/>
            <a:r>
              <a:rPr lang="de-DE" sz="1050" dirty="0" smtClean="0"/>
              <a:t>In SWARM</a:t>
            </a:r>
          </a:p>
          <a:p>
            <a:pPr marL="171450" indent="-171450" algn="l">
              <a:buFontTx/>
              <a:buChar char="-"/>
            </a:pP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Hotel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merchant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fee</a:t>
            </a:r>
            <a:endParaRPr lang="de-DE" sz="1050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marL="171450" indent="-171450" algn="l">
              <a:buFontTx/>
              <a:buChar char="-"/>
            </a:pPr>
            <a:r>
              <a:rPr lang="de-DE" sz="1050" dirty="0" smtClean="0"/>
              <a:t>Payment </a:t>
            </a:r>
            <a:r>
              <a:rPr lang="de-DE" sz="1050" dirty="0" err="1" smtClean="0"/>
              <a:t>terms</a:t>
            </a:r>
            <a:endParaRPr lang="de-DE" sz="1050" dirty="0" smtClean="0"/>
          </a:p>
        </p:txBody>
      </p:sp>
      <p:sp>
        <p:nvSpPr>
          <p:cNvPr id="14" name="Snip Single Corner Rectangle 13"/>
          <p:cNvSpPr/>
          <p:nvPr/>
        </p:nvSpPr>
        <p:spPr bwMode="gray">
          <a:xfrm>
            <a:off x="7046994" y="1538912"/>
            <a:ext cx="1224136" cy="733580"/>
          </a:xfrm>
          <a:prstGeom prst="snip1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/>
              <a:t>Sign agreement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6945799" y="2362209"/>
            <a:ext cx="1399742" cy="2684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~Contract </a:t>
            </a:r>
            <a:r>
              <a:rPr lang="de-DE" sz="1050" dirty="0" err="1" smtClean="0">
                <a:solidFill>
                  <a:schemeClr val="accent3">
                    <a:lumMod val="50000"/>
                  </a:schemeClr>
                </a:solidFill>
              </a:rPr>
              <a:t>state</a:t>
            </a:r>
            <a:r>
              <a:rPr lang="de-DE" sz="1050" dirty="0" smtClean="0">
                <a:solidFill>
                  <a:schemeClr val="accent3">
                    <a:lumMod val="50000"/>
                  </a:schemeClr>
                </a:solidFill>
              </a:rPr>
              <a:t>: SIN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755576" y="1378624"/>
            <a:ext cx="7704856" cy="9835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7524328" y="139760"/>
            <a:ext cx="1521495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900" dirty="0" smtClean="0"/>
              <a:t>SC=Smart Contract</a:t>
            </a:r>
            <a:br>
              <a:rPr lang="de-DE" sz="900" dirty="0" smtClean="0"/>
            </a:br>
            <a:r>
              <a:rPr lang="de-DE" sz="900" dirty="0" smtClean="0"/>
              <a:t>FI= Financial Institution</a:t>
            </a:r>
            <a:endParaRPr lang="de-DE" sz="900" dirty="0" smtClean="0"/>
          </a:p>
        </p:txBody>
      </p:sp>
    </p:spTree>
    <p:extLst>
      <p:ext uri="{BB962C8B-B14F-4D97-AF65-F5344CB8AC3E}">
        <p14:creationId xmlns:p14="http://schemas.microsoft.com/office/powerpoint/2010/main" val="13414980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xZ4XB1rU.WHqE_D7.i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xZ4XB1rU.WHqE_D7.i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irPlus_Template_2017">
  <a:themeElements>
    <a:clrScheme name="Benutzerdefiniert 27">
      <a:dk1>
        <a:srgbClr val="000000"/>
      </a:dk1>
      <a:lt1>
        <a:sysClr val="window" lastClr="FFFFFF"/>
      </a:lt1>
      <a:dk2>
        <a:srgbClr val="004687"/>
      </a:dk2>
      <a:lt2>
        <a:srgbClr val="999999"/>
      </a:lt2>
      <a:accent1>
        <a:srgbClr val="F7A724"/>
      </a:accent1>
      <a:accent2>
        <a:srgbClr val="B9CF35"/>
      </a:accent2>
      <a:accent3>
        <a:srgbClr val="E7344E"/>
      </a:accent3>
      <a:accent4>
        <a:srgbClr val="00C3AA"/>
      </a:accent4>
      <a:accent5>
        <a:srgbClr val="AC85BB"/>
      </a:accent5>
      <a:accent6>
        <a:srgbClr val="66BC29"/>
      </a:accent6>
      <a:hlink>
        <a:srgbClr val="000000"/>
      </a:hlink>
      <a:folHlink>
        <a:srgbClr val="000000"/>
      </a:folHlink>
    </a:clrScheme>
    <a:fontScheme name="AirPlus 2009-08-2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>
    <a:extraClrScheme>
      <a:clrScheme name="AIRPLUS_Master_dt 1">
        <a:dk1>
          <a:srgbClr val="000000"/>
        </a:dk1>
        <a:lt1>
          <a:srgbClr val="FFFFFF"/>
        </a:lt1>
        <a:dk2>
          <a:srgbClr val="004687"/>
        </a:dk2>
        <a:lt2>
          <a:srgbClr val="9B9189"/>
        </a:lt2>
        <a:accent1>
          <a:srgbClr val="97BE0D"/>
        </a:accent1>
        <a:accent2>
          <a:srgbClr val="00957E"/>
        </a:accent2>
        <a:accent3>
          <a:srgbClr val="FFFFFF"/>
        </a:accent3>
        <a:accent4>
          <a:srgbClr val="000000"/>
        </a:accent4>
        <a:accent5>
          <a:srgbClr val="C9DBAA"/>
        </a:accent5>
        <a:accent6>
          <a:srgbClr val="008772"/>
        </a:accent6>
        <a:hlink>
          <a:srgbClr val="E20045"/>
        </a:hlink>
        <a:folHlink>
          <a:srgbClr val="F29B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irPlus_Powerpoint.potx" id="{AADC68A5-781E-493F-8DB4-FF31DE9678A7}" vid="{6B30EFFC-92B9-4CD7-9AC7-7CB2E66D318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-Design">
  <a:themeElements>
    <a:clrScheme name="Benutzerdefiniert 25">
      <a:dk1>
        <a:srgbClr val="000000"/>
      </a:dk1>
      <a:lt1>
        <a:sysClr val="window" lastClr="FFFFFF"/>
      </a:lt1>
      <a:dk2>
        <a:srgbClr val="004687"/>
      </a:dk2>
      <a:lt2>
        <a:srgbClr val="999987"/>
      </a:lt2>
      <a:accent1>
        <a:srgbClr val="F7A724"/>
      </a:accent1>
      <a:accent2>
        <a:srgbClr val="B9CF35"/>
      </a:accent2>
      <a:accent3>
        <a:srgbClr val="E7344E"/>
      </a:accent3>
      <a:accent4>
        <a:srgbClr val="00C3AA"/>
      </a:accent4>
      <a:accent5>
        <a:srgbClr val="AC85BB"/>
      </a:accent5>
      <a:accent6>
        <a:srgbClr val="66BC29"/>
      </a:accent6>
      <a:hlink>
        <a:srgbClr val="000000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Benutzerdefiniert 25">
      <a:dk1>
        <a:srgbClr val="000000"/>
      </a:dk1>
      <a:lt1>
        <a:sysClr val="window" lastClr="FFFFFF"/>
      </a:lt1>
      <a:dk2>
        <a:srgbClr val="004687"/>
      </a:dk2>
      <a:lt2>
        <a:srgbClr val="999987"/>
      </a:lt2>
      <a:accent1>
        <a:srgbClr val="F7A724"/>
      </a:accent1>
      <a:accent2>
        <a:srgbClr val="B9CF35"/>
      </a:accent2>
      <a:accent3>
        <a:srgbClr val="E7344E"/>
      </a:accent3>
      <a:accent4>
        <a:srgbClr val="00C3AA"/>
      </a:accent4>
      <a:accent5>
        <a:srgbClr val="AC85BB"/>
      </a:accent5>
      <a:accent6>
        <a:srgbClr val="66BC29"/>
      </a:accent6>
      <a:hlink>
        <a:srgbClr val="000000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irPlus_Powerpoint</Template>
  <TotalTime>0</TotalTime>
  <Words>427</Words>
  <Application>Microsoft Office PowerPoint</Application>
  <PresentationFormat>Bildschirmpräsentation (16:10)</PresentationFormat>
  <Paragraphs>165</Paragraphs>
  <Slides>10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20" baseType="lpstr">
      <vt:lpstr>ＭＳ Ｐゴシック</vt:lpstr>
      <vt:lpstr>Arial</vt:lpstr>
      <vt:lpstr>Arial Narrow</vt:lpstr>
      <vt:lpstr>Calibri</vt:lpstr>
      <vt:lpstr>Calibri Light</vt:lpstr>
      <vt:lpstr>Wingdings</vt:lpstr>
      <vt:lpstr>Wingdings 2</vt:lpstr>
      <vt:lpstr>AirPlus_Template_2017</vt:lpstr>
      <vt:lpstr>Office Theme</vt:lpstr>
      <vt:lpstr>think-cell Slide</vt:lpstr>
      <vt:lpstr>Merchant agreements for payment acceptance on the Blockchain </vt:lpstr>
      <vt:lpstr>Who is AirPlus?</vt:lpstr>
      <vt:lpstr>PowerPoint-Präsentation</vt:lpstr>
      <vt:lpstr>Enabling payment guarantees, within the WindingTree  eco-system </vt:lpstr>
      <vt:lpstr>PowerPoint-Präsentation</vt:lpstr>
      <vt:lpstr>Removing complexity to enable solution adoption by bridging innovative distribution with current payment &amp; billing solutions</vt:lpstr>
      <vt:lpstr>Establish relationship between hotel merchant and  financial institution to allow for pay-later capability</vt:lpstr>
      <vt:lpstr>Register  Indices  Smart Contracts</vt:lpstr>
      <vt:lpstr>PowerPoint-Präsentation</vt:lpstr>
      <vt:lpstr>PowerPoint-Präsentation</vt:lpstr>
    </vt:vector>
  </TitlesOfParts>
  <Company>AirPlus Internation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llkommen zum AirPlus Jahrespressegespräch 2018</dc:title>
  <dc:subject>Subject</dc:subject>
  <dc:creator>Dreesen, Anne</dc:creator>
  <cp:lastModifiedBy>Oehme, Marcel</cp:lastModifiedBy>
  <cp:revision>806</cp:revision>
  <cp:lastPrinted>2018-10-23T12:35:04Z</cp:lastPrinted>
  <dcterms:created xsi:type="dcterms:W3CDTF">2018-03-16T08:21:19Z</dcterms:created>
  <dcterms:modified xsi:type="dcterms:W3CDTF">2018-10-25T10:57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286014</vt:lpwstr>
  </property>
  <property fmtid="{D5CDD505-2E9C-101B-9397-08002B2CF9AE}" pid="3" name="NXPowerLiteVersion">
    <vt:lpwstr>D3.7.2</vt:lpwstr>
  </property>
</Properties>
</file>